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heme/theme2.xml" ContentType="application/vnd.openxmlformats-officedocument.theme+xml"/>
  <Override PartName="/ppt/slideLayouts/slideLayout9.xml" ContentType="application/vnd.openxmlformats-officedocument.presentationml.slideLayout+xml"/>
  <Override PartName="/ppt/theme/theme3.xml" ContentType="application/vnd.openxmlformats-officedocument.theme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theme/themeOverride1.xml" ContentType="application/vnd.openxmlformats-officedocument.themeOverride+xml"/>
  <Override PartName="/ppt/notesSlides/notesSlide34.xml" ContentType="application/vnd.openxmlformats-officedocument.presentationml.notesSlide+xml"/>
  <Override PartName="/ppt/notesSlides/notesSlide35.xml" ContentType="application/vnd.openxmlformats-officedocument.presentationml.notesSlid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4966" r:id="rId1"/>
    <p:sldMasterId id="2147484949" r:id="rId2"/>
    <p:sldMasterId id="2147484957" r:id="rId3"/>
    <p:sldMasterId id="2147484968" r:id="rId4"/>
  </p:sldMasterIdLst>
  <p:notesMasterIdLst>
    <p:notesMasterId r:id="rId48"/>
  </p:notesMasterIdLst>
  <p:sldIdLst>
    <p:sldId id="256" r:id="rId5"/>
    <p:sldId id="257" r:id="rId6"/>
    <p:sldId id="258" r:id="rId7"/>
    <p:sldId id="259" r:id="rId8"/>
    <p:sldId id="260" r:id="rId9"/>
    <p:sldId id="261" r:id="rId10"/>
    <p:sldId id="2076137925" r:id="rId11"/>
    <p:sldId id="2076137926" r:id="rId12"/>
    <p:sldId id="2076137863" r:id="rId13"/>
    <p:sldId id="2076137865" r:id="rId14"/>
    <p:sldId id="2076137924" r:id="rId15"/>
    <p:sldId id="2076137868" r:id="rId16"/>
    <p:sldId id="2076137927" r:id="rId17"/>
    <p:sldId id="2076137839" r:id="rId18"/>
    <p:sldId id="2147307668" r:id="rId19"/>
    <p:sldId id="2076137843" r:id="rId20"/>
    <p:sldId id="2147307658" r:id="rId21"/>
    <p:sldId id="2147307659" r:id="rId22"/>
    <p:sldId id="2147307669" r:id="rId23"/>
    <p:sldId id="2147307667" r:id="rId24"/>
    <p:sldId id="2076137899" r:id="rId25"/>
    <p:sldId id="2076137928" r:id="rId26"/>
    <p:sldId id="2147307663" r:id="rId27"/>
    <p:sldId id="2147307664" r:id="rId28"/>
    <p:sldId id="2147307666" r:id="rId29"/>
    <p:sldId id="2076137791" r:id="rId30"/>
    <p:sldId id="2076137929" r:id="rId31"/>
    <p:sldId id="2147307661" r:id="rId32"/>
    <p:sldId id="2076137906" r:id="rId33"/>
    <p:sldId id="2147307662" r:id="rId34"/>
    <p:sldId id="2076137888" r:id="rId35"/>
    <p:sldId id="2076137887" r:id="rId36"/>
    <p:sldId id="2076137882" r:id="rId37"/>
    <p:sldId id="2076137915" r:id="rId38"/>
    <p:sldId id="2076137930" r:id="rId39"/>
    <p:sldId id="2147307665" r:id="rId40"/>
    <p:sldId id="2076138059" r:id="rId41"/>
    <p:sldId id="262" r:id="rId42"/>
    <p:sldId id="263" r:id="rId43"/>
    <p:sldId id="265" r:id="rId44"/>
    <p:sldId id="266" r:id="rId45"/>
    <p:sldId id="2076136223" r:id="rId46"/>
    <p:sldId id="267" r:id="rId47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Introduction" id="{2DB82FFF-BE67-4204-AC77-C7EBB8B0D34C}">
          <p14:sldIdLst>
            <p14:sldId id="256"/>
            <p14:sldId id="257"/>
            <p14:sldId id="258"/>
            <p14:sldId id="259"/>
            <p14:sldId id="260"/>
            <p14:sldId id="261"/>
          </p14:sldIdLst>
        </p14:section>
        <p14:section name="Discovery" id="{1EF139E9-BB82-4329-A9D3-05FB461BBE5B}">
          <p14:sldIdLst>
            <p14:sldId id="2076137925"/>
            <p14:sldId id="2076137926"/>
            <p14:sldId id="2076137863"/>
            <p14:sldId id="2076137865"/>
            <p14:sldId id="2076137924"/>
            <p14:sldId id="2076137868"/>
            <p14:sldId id="2076137927"/>
            <p14:sldId id="2076137839"/>
            <p14:sldId id="2147307668"/>
            <p14:sldId id="2076137843"/>
            <p14:sldId id="2147307658"/>
            <p14:sldId id="2147307659"/>
            <p14:sldId id="2147307669"/>
            <p14:sldId id="2147307667"/>
            <p14:sldId id="2076137899"/>
          </p14:sldIdLst>
        </p14:section>
        <p14:section name="Assessment" id="{1179BF5E-E19D-4DE4-9167-2E35E385AA4A}">
          <p14:sldIdLst>
            <p14:sldId id="2076137928"/>
            <p14:sldId id="2147307663"/>
            <p14:sldId id="2147307664"/>
            <p14:sldId id="2147307666"/>
            <p14:sldId id="2076137791"/>
          </p14:sldIdLst>
        </p14:section>
        <p14:section name="Migrate" id="{652E34A3-8117-40E1-9CC2-0FC4954120C3}">
          <p14:sldIdLst>
            <p14:sldId id="2076137929"/>
            <p14:sldId id="2147307661"/>
            <p14:sldId id="2076137906"/>
            <p14:sldId id="2147307662"/>
            <p14:sldId id="2076137888"/>
            <p14:sldId id="2076137887"/>
            <p14:sldId id="2076137882"/>
            <p14:sldId id="2076137915"/>
          </p14:sldIdLst>
        </p14:section>
        <p14:section name="Optimise and Manage" id="{37D64E92-AFB2-446D-B1DB-9855784FB8E9}">
          <p14:sldIdLst>
            <p14:sldId id="2076137930"/>
            <p14:sldId id="2147307665"/>
            <p14:sldId id="2076138059"/>
          </p14:sldIdLst>
        </p14:section>
        <p14:section name="Ending" id="{4A1A770C-EF31-4AE7-B3ED-1904E06824C1}">
          <p14:sldIdLst>
            <p14:sldId id="262"/>
            <p14:sldId id="263"/>
            <p14:sldId id="265"/>
            <p14:sldId id="266"/>
            <p14:sldId id="2076136223"/>
            <p14:sldId id="267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78D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81461" autoAdjust="0"/>
  </p:normalViewPr>
  <p:slideViewPr>
    <p:cSldViewPr snapToGrid="0">
      <p:cViewPr varScale="1">
        <p:scale>
          <a:sx n="134" d="100"/>
          <a:sy n="134" d="100"/>
        </p:scale>
        <p:origin x="1300" y="6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slide" Target="slides/slide35.xml"/><Relationship Id="rId21" Type="http://schemas.openxmlformats.org/officeDocument/2006/relationships/slide" Target="slides/slide17.xml"/><Relationship Id="rId34" Type="http://schemas.openxmlformats.org/officeDocument/2006/relationships/slide" Target="slides/slide30.xml"/><Relationship Id="rId42" Type="http://schemas.openxmlformats.org/officeDocument/2006/relationships/slide" Target="slides/slide38.xml"/><Relationship Id="rId47" Type="http://schemas.openxmlformats.org/officeDocument/2006/relationships/slide" Target="slides/slide43.xml"/><Relationship Id="rId50" Type="http://schemas.openxmlformats.org/officeDocument/2006/relationships/viewProps" Target="viewProps.xml"/><Relationship Id="rId7" Type="http://schemas.openxmlformats.org/officeDocument/2006/relationships/slide" Target="slides/slide3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2.xml"/><Relationship Id="rId29" Type="http://schemas.openxmlformats.org/officeDocument/2006/relationships/slide" Target="slides/slide25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slide" Target="slides/slide33.xml"/><Relationship Id="rId40" Type="http://schemas.openxmlformats.org/officeDocument/2006/relationships/slide" Target="slides/slide36.xml"/><Relationship Id="rId45" Type="http://schemas.openxmlformats.org/officeDocument/2006/relationships/slide" Target="slides/slide41.xml"/><Relationship Id="rId53" Type="http://schemas.microsoft.com/office/2016/11/relationships/changesInfo" Target="changesInfos/changesInfo1.xml"/><Relationship Id="rId5" Type="http://schemas.openxmlformats.org/officeDocument/2006/relationships/slide" Target="slides/slide1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4" Type="http://schemas.openxmlformats.org/officeDocument/2006/relationships/slide" Target="slides/slide40.xml"/><Relationship Id="rId52" Type="http://schemas.openxmlformats.org/officeDocument/2006/relationships/tableStyles" Target="tableStyles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slide" Target="slides/slide31.xml"/><Relationship Id="rId43" Type="http://schemas.openxmlformats.org/officeDocument/2006/relationships/slide" Target="slides/slide39.xml"/><Relationship Id="rId48" Type="http://schemas.openxmlformats.org/officeDocument/2006/relationships/notesMaster" Target="notesMasters/notesMaster1.xml"/><Relationship Id="rId8" Type="http://schemas.openxmlformats.org/officeDocument/2006/relationships/slide" Target="slides/slide4.xml"/><Relationship Id="rId51" Type="http://schemas.openxmlformats.org/officeDocument/2006/relationships/theme" Target="theme/theme1.xml"/><Relationship Id="rId3" Type="http://schemas.openxmlformats.org/officeDocument/2006/relationships/slideMaster" Target="slideMasters/slideMaster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slide" Target="slides/slide34.xml"/><Relationship Id="rId46" Type="http://schemas.openxmlformats.org/officeDocument/2006/relationships/slide" Target="slides/slide42.xml"/><Relationship Id="rId20" Type="http://schemas.openxmlformats.org/officeDocument/2006/relationships/slide" Target="slides/slide16.xml"/><Relationship Id="rId41" Type="http://schemas.openxmlformats.org/officeDocument/2006/relationships/slide" Target="slides/slide37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slide" Target="slides/slide32.xml"/><Relationship Id="rId49" Type="http://schemas.openxmlformats.org/officeDocument/2006/relationships/presProps" Target="pres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Sarah Lean" userId="60efe49c-fdb2-479d-bd36-260f4732f51a" providerId="ADAL" clId="{C81027D8-B084-4AD0-B2BB-161D129A9BEB}"/>
    <pc:docChg chg="custSel modSld">
      <pc:chgData name="Sarah Lean" userId="60efe49c-fdb2-479d-bd36-260f4732f51a" providerId="ADAL" clId="{C81027D8-B084-4AD0-B2BB-161D129A9BEB}" dt="2021-04-13T07:36:54.323" v="41" actId="368"/>
      <pc:docMkLst>
        <pc:docMk/>
      </pc:docMkLst>
      <pc:sldChg chg="modNotes">
        <pc:chgData name="Sarah Lean" userId="60efe49c-fdb2-479d-bd36-260f4732f51a" providerId="ADAL" clId="{C81027D8-B084-4AD0-B2BB-161D129A9BEB}" dt="2021-04-13T07:36:54.081" v="1" actId="368"/>
        <pc:sldMkLst>
          <pc:docMk/>
          <pc:sldMk cId="2427228458" sldId="260"/>
        </pc:sldMkLst>
      </pc:sldChg>
      <pc:sldChg chg="modNotes">
        <pc:chgData name="Sarah Lean" userId="60efe49c-fdb2-479d-bd36-260f4732f51a" providerId="ADAL" clId="{C81027D8-B084-4AD0-B2BB-161D129A9BEB}" dt="2021-04-13T07:36:54.097" v="3" actId="368"/>
        <pc:sldMkLst>
          <pc:docMk/>
          <pc:sldMk cId="1369184431" sldId="261"/>
        </pc:sldMkLst>
      </pc:sldChg>
      <pc:sldChg chg="modNotes">
        <pc:chgData name="Sarah Lean" userId="60efe49c-fdb2-479d-bd36-260f4732f51a" providerId="ADAL" clId="{C81027D8-B084-4AD0-B2BB-161D129A9BEB}" dt="2021-04-13T07:36:54.307" v="39" actId="368"/>
        <pc:sldMkLst>
          <pc:docMk/>
          <pc:sldMk cId="331727587" sldId="262"/>
        </pc:sldMkLst>
      </pc:sldChg>
      <pc:sldChg chg="modNotes">
        <pc:chgData name="Sarah Lean" userId="60efe49c-fdb2-479d-bd36-260f4732f51a" providerId="ADAL" clId="{C81027D8-B084-4AD0-B2BB-161D129A9BEB}" dt="2021-04-13T07:36:54.323" v="41" actId="368"/>
        <pc:sldMkLst>
          <pc:docMk/>
          <pc:sldMk cId="1781449037" sldId="2076136223"/>
        </pc:sldMkLst>
      </pc:sldChg>
      <pc:sldChg chg="modNotes">
        <pc:chgData name="Sarah Lean" userId="60efe49c-fdb2-479d-bd36-260f4732f51a" providerId="ADAL" clId="{C81027D8-B084-4AD0-B2BB-161D129A9BEB}" dt="2021-04-13T07:36:54.165" v="15" actId="368"/>
        <pc:sldMkLst>
          <pc:docMk/>
          <pc:sldMk cId="3609611111" sldId="2076137839"/>
        </pc:sldMkLst>
      </pc:sldChg>
      <pc:sldChg chg="modNotes">
        <pc:chgData name="Sarah Lean" userId="60efe49c-fdb2-479d-bd36-260f4732f51a" providerId="ADAL" clId="{C81027D8-B084-4AD0-B2BB-161D129A9BEB}" dt="2021-04-13T07:36:54.174" v="17" actId="368"/>
        <pc:sldMkLst>
          <pc:docMk/>
          <pc:sldMk cId="2271140424" sldId="2076137843"/>
        </pc:sldMkLst>
      </pc:sldChg>
      <pc:sldChg chg="modNotes">
        <pc:chgData name="Sarah Lean" userId="60efe49c-fdb2-479d-bd36-260f4732f51a" providerId="ADAL" clId="{C81027D8-B084-4AD0-B2BB-161D129A9BEB}" dt="2021-04-13T07:36:54.123" v="5" actId="368"/>
        <pc:sldMkLst>
          <pc:docMk/>
          <pc:sldMk cId="3213071583" sldId="2076137863"/>
        </pc:sldMkLst>
      </pc:sldChg>
      <pc:sldChg chg="modNotes">
        <pc:chgData name="Sarah Lean" userId="60efe49c-fdb2-479d-bd36-260f4732f51a" providerId="ADAL" clId="{C81027D8-B084-4AD0-B2BB-161D129A9BEB}" dt="2021-04-13T07:36:54.132" v="7" actId="368"/>
        <pc:sldMkLst>
          <pc:docMk/>
          <pc:sldMk cId="153795644" sldId="2076137865"/>
        </pc:sldMkLst>
      </pc:sldChg>
      <pc:sldChg chg="modNotes">
        <pc:chgData name="Sarah Lean" userId="60efe49c-fdb2-479d-bd36-260f4732f51a" providerId="ADAL" clId="{C81027D8-B084-4AD0-B2BB-161D129A9BEB}" dt="2021-04-13T07:36:54.149" v="11" actId="368"/>
        <pc:sldMkLst>
          <pc:docMk/>
          <pc:sldMk cId="3120189588" sldId="2076137868"/>
        </pc:sldMkLst>
      </pc:sldChg>
      <pc:sldChg chg="modNotes">
        <pc:chgData name="Sarah Lean" userId="60efe49c-fdb2-479d-bd36-260f4732f51a" providerId="ADAL" clId="{C81027D8-B084-4AD0-B2BB-161D129A9BEB}" dt="2021-04-13T07:36:54.278" v="37" actId="368"/>
        <pc:sldMkLst>
          <pc:docMk/>
          <pc:sldMk cId="2582058600" sldId="2076137882"/>
        </pc:sldMkLst>
      </pc:sldChg>
      <pc:sldChg chg="modNotes">
        <pc:chgData name="Sarah Lean" userId="60efe49c-fdb2-479d-bd36-260f4732f51a" providerId="ADAL" clId="{C81027D8-B084-4AD0-B2BB-161D129A9BEB}" dt="2021-04-13T07:36:54.270" v="35" actId="368"/>
        <pc:sldMkLst>
          <pc:docMk/>
          <pc:sldMk cId="3157392699" sldId="2076137887"/>
        </pc:sldMkLst>
      </pc:sldChg>
      <pc:sldChg chg="modNotes">
        <pc:chgData name="Sarah Lean" userId="60efe49c-fdb2-479d-bd36-260f4732f51a" providerId="ADAL" clId="{C81027D8-B084-4AD0-B2BB-161D129A9BEB}" dt="2021-04-13T07:36:54.263" v="33" actId="368"/>
        <pc:sldMkLst>
          <pc:docMk/>
          <pc:sldMk cId="580066367" sldId="2076137888"/>
        </pc:sldMkLst>
      </pc:sldChg>
      <pc:sldChg chg="modNotes">
        <pc:chgData name="Sarah Lean" userId="60efe49c-fdb2-479d-bd36-260f4732f51a" providerId="ADAL" clId="{C81027D8-B084-4AD0-B2BB-161D129A9BEB}" dt="2021-04-13T07:36:54.206" v="25" actId="368"/>
        <pc:sldMkLst>
          <pc:docMk/>
          <pc:sldMk cId="251003347" sldId="2076137899"/>
        </pc:sldMkLst>
      </pc:sldChg>
      <pc:sldChg chg="modNotes">
        <pc:chgData name="Sarah Lean" userId="60efe49c-fdb2-479d-bd36-260f4732f51a" providerId="ADAL" clId="{C81027D8-B084-4AD0-B2BB-161D129A9BEB}" dt="2021-04-13T07:36:54.250" v="29" actId="368"/>
        <pc:sldMkLst>
          <pc:docMk/>
          <pc:sldMk cId="2215750958" sldId="2076137906"/>
        </pc:sldMkLst>
      </pc:sldChg>
      <pc:sldChg chg="modNotes">
        <pc:chgData name="Sarah Lean" userId="60efe49c-fdb2-479d-bd36-260f4732f51a" providerId="ADAL" clId="{C81027D8-B084-4AD0-B2BB-161D129A9BEB}" dt="2021-04-13T07:36:54.140" v="9" actId="368"/>
        <pc:sldMkLst>
          <pc:docMk/>
          <pc:sldMk cId="3364833023" sldId="2076137924"/>
        </pc:sldMkLst>
      </pc:sldChg>
      <pc:sldChg chg="modNotes">
        <pc:chgData name="Sarah Lean" userId="60efe49c-fdb2-479d-bd36-260f4732f51a" providerId="ADAL" clId="{C81027D8-B084-4AD0-B2BB-161D129A9BEB}" dt="2021-04-13T07:36:54.158" v="13" actId="368"/>
        <pc:sldMkLst>
          <pc:docMk/>
          <pc:sldMk cId="1680728339" sldId="2076137927"/>
        </pc:sldMkLst>
      </pc:sldChg>
      <pc:sldChg chg="modNotes">
        <pc:chgData name="Sarah Lean" userId="60efe49c-fdb2-479d-bd36-260f4732f51a" providerId="ADAL" clId="{C81027D8-B084-4AD0-B2BB-161D129A9BEB}" dt="2021-04-13T07:36:54.184" v="19" actId="368"/>
        <pc:sldMkLst>
          <pc:docMk/>
          <pc:sldMk cId="3301598703" sldId="2147307658"/>
        </pc:sldMkLst>
      </pc:sldChg>
      <pc:sldChg chg="modNotes">
        <pc:chgData name="Sarah Lean" userId="60efe49c-fdb2-479d-bd36-260f4732f51a" providerId="ADAL" clId="{C81027D8-B084-4AD0-B2BB-161D129A9BEB}" dt="2021-04-13T07:36:54.191" v="21" actId="368"/>
        <pc:sldMkLst>
          <pc:docMk/>
          <pc:sldMk cId="75864961" sldId="2147307659"/>
        </pc:sldMkLst>
      </pc:sldChg>
      <pc:sldChg chg="modNotes">
        <pc:chgData name="Sarah Lean" userId="60efe49c-fdb2-479d-bd36-260f4732f51a" providerId="ADAL" clId="{C81027D8-B084-4AD0-B2BB-161D129A9BEB}" dt="2021-04-13T07:36:54.243" v="27" actId="368"/>
        <pc:sldMkLst>
          <pc:docMk/>
          <pc:sldMk cId="3749939187" sldId="2147307661"/>
        </pc:sldMkLst>
      </pc:sldChg>
      <pc:sldChg chg="modNotes">
        <pc:chgData name="Sarah Lean" userId="60efe49c-fdb2-479d-bd36-260f4732f51a" providerId="ADAL" clId="{C81027D8-B084-4AD0-B2BB-161D129A9BEB}" dt="2021-04-13T07:36:54.256" v="31" actId="368"/>
        <pc:sldMkLst>
          <pc:docMk/>
          <pc:sldMk cId="2107462592" sldId="2147307662"/>
        </pc:sldMkLst>
      </pc:sldChg>
      <pc:sldChg chg="modNotes">
        <pc:chgData name="Sarah Lean" userId="60efe49c-fdb2-479d-bd36-260f4732f51a" providerId="ADAL" clId="{C81027D8-B084-4AD0-B2BB-161D129A9BEB}" dt="2021-04-13T07:36:54.199" v="23" actId="368"/>
        <pc:sldMkLst>
          <pc:docMk/>
          <pc:sldMk cId="2569445914" sldId="2147307667"/>
        </pc:sldMkLst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08FC2A6-ED6E-42CC-ADCC-F2B2ACB16B1F}" type="datetimeFigureOut">
              <a:rPr lang="en-GB" smtClean="0"/>
              <a:t>13/04/2021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467D762-C826-4F6D-945D-666E2ED7E9C2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8187139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E27B5E5-D2EF-4EBF-8CD9-56E0500F1F49}" type="slidenum">
              <a:rPr lang="en-GB" smtClean="0"/>
              <a:t>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02131545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BD8E059-FD59-1748-AC0F-24EAF7F72BC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29625383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marL="0" marR="0" lvl="0" indent="0" algn="l" defTabSz="914099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89053681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marL="0" marR="0" lvl="0" indent="0" algn="l" defTabSz="914099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89053681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932597"/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48130592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41724581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BD8E059-FD59-1748-AC0F-24EAF7F72BC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38893982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marL="0" marR="0" lvl="0" indent="0" algn="l" defTabSz="914099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89053681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marL="571500" marR="0" lvl="0" indent="0" algn="l" defTabSz="914099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327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82647122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marL="571500" marR="0" lvl="0" indent="0" algn="l" defTabSz="914099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327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92435482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marL="571500" marR="0" lvl="0" indent="0" algn="l" defTabSz="914099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327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3023236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ED3C565-F0A3-4D69-80B4-5AD40B8AC0B4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E5F68A48-6E3D-4128-B8E2-E53DBDB6C7F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29106928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marL="571500" marR="0" lvl="0" indent="0" algn="l" defTabSz="914099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327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3107784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marL="571500" marR="0" lvl="0" indent="0" algn="l" defTabSz="914099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327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7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76234546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2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94791574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D5C11E-0F70-4447-B7AA-971B4076F60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9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55204807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D5C11E-0F70-4447-B7AA-971B4076F60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0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87767762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932597"/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marL="0" marR="0" lvl="0" indent="0" algn="l" defTabSz="914099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89053681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marL="0" marR="0" lvl="0" indent="0" algn="l" defTabSz="914099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89053681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marL="0" marR="0" lvl="0" indent="0" algn="l" defTabSz="914099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89053681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marL="0" marR="0" lvl="0" indent="0" algn="l" defTabSz="914099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89053681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marL="571500" marR="0" lvl="0" indent="0" algn="l" defTabSz="914099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327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0102641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marL="571500" marR="0" lvl="0" indent="0" algn="l" defTabSz="914099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pPr marL="0" marR="0" lvl="0" indent="0" algn="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86CE63F-9E7F-4C04-9D0D-FCA25A8E9E86}" type="datetime8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/13/2021 8:31 AM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F50FCBB4-B013-4FA3-92E2-78DB18114F5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7773217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marL="571500" marR="0" lvl="0" indent="0" algn="l" defTabSz="914099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327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19953912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A36C0B6-C18A-46E8-89E6-51CDBB0A72D9}" type="slidenum">
              <a:rPr lang="en-GB" smtClean="0"/>
              <a:t>37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75618989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76A02FF-58B3-4B39-ADFF-946B5075250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28021194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1C09284-A661-4E35-A04B-AEE8656FDB7B}" type="slidenum">
              <a:rPr lang="en-GB" smtClean="0"/>
              <a:t>39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75437337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marL="571500" marR="0" lvl="0" indent="0" algn="l" defTabSz="914099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pPr marL="0" marR="0" lvl="0" indent="0" algn="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86CE63F-9E7F-4C04-9D0D-FCA25A8E9E86}" type="datetime8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/13/2021 8:31 AM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57070089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marL="582359" marR="0" lvl="0" indent="0" algn="l" defTabSz="1786424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pPr marL="0" marR="0" lvl="0" indent="0" algn="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86CE63F-9E7F-4C04-9D0D-FCA25A8E9E86}" type="datetime8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/13/2021 8:31 AM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5833677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marL="571500" marR="0" lvl="0" indent="0" algn="l" defTabSz="914099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327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3297572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marL="571500" marR="0" lvl="0" indent="0" algn="l" defTabSz="914099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327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30585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marL="571500" marR="0" lvl="0" indent="0" algn="l" defTabSz="914099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327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2812648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marL="571500" marR="0" lvl="0" indent="0" algn="l" defTabSz="914099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327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8121118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marL="571500" marR="0" lvl="0" indent="0" algn="l" defTabSz="914099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pPr marL="0" marR="0" lvl="0" indent="0" algn="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86CE63F-9E7F-4C04-9D0D-FCA25A8E9E86}" type="datetime8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/13/2021 8:31 AM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0410209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marL="0" marR="0" lvl="0" indent="0" algn="l" defTabSz="914099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8059796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4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4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7.jpeg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7" Type="http://schemas.openxmlformats.org/officeDocument/2006/relationships/image" Target="../media/image13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12.png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4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4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eg"/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18.jpeg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4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4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4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emf"/><Relationship Id="rId1" Type="http://schemas.openxmlformats.org/officeDocument/2006/relationships/slideMaster" Target="../slideMasters/slideMaster4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emf"/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76B5588-14E2-424C-BFB8-1D79EDB1169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D1138DC4-192D-477E-BFAC-E4A58752B7D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E2DB96B-9D46-407E-9B8C-3B64B6CB097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D166CC3-2FA3-4A9F-B81C-05C6AF79D458}" type="datetimeFigureOut">
              <a:rPr lang="en-GB" smtClean="0"/>
              <a:t>13/04/2021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57184BF-5DA6-44D0-9B7B-CC34F331E15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82542F2-3E52-43EA-9417-1A73A354405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2A695C-8393-4B06-A8D5-00C7959ABC09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4857659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FF83EBA8-9428-5042-A6AB-BA1563CB953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8681" y="472516"/>
            <a:ext cx="1335673" cy="190278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B0419340-DB0C-B34E-84FE-2AA1A19A58C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57617" y="0"/>
            <a:ext cx="5973790" cy="6858000"/>
          </a:xfrm>
          <a:prstGeom prst="rect">
            <a:avLst/>
          </a:prstGeom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1D09A9D1-6212-8B49-96D7-B3E9D17D4BA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28681" y="2532448"/>
            <a:ext cx="5428936" cy="1793104"/>
          </a:xfrm>
          <a:prstGeom prst="rect">
            <a:avLst/>
          </a:prstGeom>
          <a:noFill/>
        </p:spPr>
        <p:txBody>
          <a:bodyPr lIns="0" tIns="0" rIns="0" bIns="182880" anchor="b" anchorCtr="0"/>
          <a:lstStyle>
            <a:lvl1pPr>
              <a:defRPr sz="4705" strike="noStrike" spc="-49" baseline="0">
                <a:solidFill>
                  <a:srgbClr val="000000"/>
                </a:solidFill>
              </a:defRPr>
            </a:lvl1pPr>
          </a:lstStyle>
          <a:p>
            <a:r>
              <a:rPr lang="en-US"/>
              <a:t>Azure presentation</a:t>
            </a:r>
            <a:br>
              <a:rPr lang="en-US"/>
            </a:br>
            <a:r>
              <a:rPr lang="en-US"/>
              <a:t>title or event name</a:t>
            </a:r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0881A9F1-B3A4-0742-8DAD-18EC8A78C52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42466" y="4350114"/>
            <a:ext cx="5413394" cy="724246"/>
          </a:xfrm>
          <a:prstGeom prst="rect">
            <a:avLst/>
          </a:prstGeom>
        </p:spPr>
        <p:txBody>
          <a:bodyPr/>
          <a:lstStyle>
            <a:lvl1pPr>
              <a:defRPr sz="1765">
                <a:solidFill>
                  <a:srgbClr val="000000"/>
                </a:solidFill>
              </a:defRPr>
            </a:lvl1pPr>
            <a:lvl2pPr>
              <a:defRPr sz="1765">
                <a:solidFill>
                  <a:srgbClr val="000000"/>
                </a:solidFill>
              </a:defRPr>
            </a:lvl2pPr>
            <a:lvl3pPr>
              <a:defRPr sz="1372"/>
            </a:lvl3pPr>
            <a:lvl4pPr>
              <a:defRPr sz="1372"/>
            </a:lvl4pPr>
            <a:lvl5pPr>
              <a:defRPr sz="1029"/>
            </a:lvl5pPr>
          </a:lstStyle>
          <a:p>
            <a:pPr lvl="0"/>
            <a:r>
              <a:rPr lang="en-US"/>
              <a:t>Author name</a:t>
            </a:r>
            <a:br>
              <a:rPr lang="en-US"/>
            </a:br>
            <a:r>
              <a:rPr lang="en-US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3182101587"/>
      </p:ext>
    </p:extLst>
  </p:cSld>
  <p:clrMapOvr>
    <a:masterClrMapping/>
  </p:clrMapOvr>
  <p:transition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1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BCFF9732-E389-084D-A7F3-09AC5EED739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8681" y="472516"/>
            <a:ext cx="1335673" cy="190278"/>
          </a:xfrm>
          <a:prstGeom prst="rect">
            <a:avLst/>
          </a:prstGeom>
        </p:spPr>
      </p:pic>
      <p:sp>
        <p:nvSpPr>
          <p:cNvPr id="5" name="Title 1">
            <a:extLst>
              <a:ext uri="{FF2B5EF4-FFF2-40B4-BE49-F238E27FC236}">
                <a16:creationId xmlns:a16="http://schemas.microsoft.com/office/drawing/2014/main" id="{F7E4AC65-3150-034F-B089-A8B21D5F2E6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28681" y="2532448"/>
            <a:ext cx="5428936" cy="1793104"/>
          </a:xfrm>
          <a:prstGeom prst="rect">
            <a:avLst/>
          </a:prstGeom>
          <a:noFill/>
        </p:spPr>
        <p:txBody>
          <a:bodyPr lIns="0" tIns="0" rIns="0" bIns="182880" anchor="b" anchorCtr="0"/>
          <a:lstStyle>
            <a:lvl1pPr>
              <a:defRPr sz="4705" strike="noStrike" spc="-49" baseline="0">
                <a:solidFill>
                  <a:srgbClr val="000000"/>
                </a:solidFill>
              </a:defRPr>
            </a:lvl1pPr>
          </a:lstStyle>
          <a:p>
            <a:r>
              <a:rPr lang="en-US"/>
              <a:t>Azure presentation</a:t>
            </a:r>
            <a:br>
              <a:rPr lang="en-US"/>
            </a:br>
            <a:r>
              <a:rPr lang="en-US"/>
              <a:t>title or event name</a:t>
            </a:r>
          </a:p>
        </p:txBody>
      </p:sp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29B09652-4E45-F04D-8357-20491F718B1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42466" y="4350114"/>
            <a:ext cx="5413394" cy="724246"/>
          </a:xfrm>
          <a:prstGeom prst="rect">
            <a:avLst/>
          </a:prstGeom>
        </p:spPr>
        <p:txBody>
          <a:bodyPr/>
          <a:lstStyle>
            <a:lvl1pPr>
              <a:defRPr sz="1765">
                <a:solidFill>
                  <a:srgbClr val="000000"/>
                </a:solidFill>
              </a:defRPr>
            </a:lvl1pPr>
            <a:lvl2pPr>
              <a:defRPr sz="1765">
                <a:solidFill>
                  <a:srgbClr val="000000"/>
                </a:solidFill>
              </a:defRPr>
            </a:lvl2pPr>
            <a:lvl3pPr>
              <a:defRPr sz="1372"/>
            </a:lvl3pPr>
            <a:lvl4pPr>
              <a:defRPr sz="1372"/>
            </a:lvl4pPr>
            <a:lvl5pPr>
              <a:defRPr sz="1029"/>
            </a:lvl5pPr>
          </a:lstStyle>
          <a:p>
            <a:pPr lvl="0"/>
            <a:r>
              <a:rPr lang="en-US"/>
              <a:t>Author name</a:t>
            </a:r>
            <a:br>
              <a:rPr lang="en-US"/>
            </a:br>
            <a:r>
              <a:rPr lang="en-US"/>
              <a:t>Date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8B6D3BFF-96E5-A945-99DA-8C69FBFC85B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18210" y="0"/>
            <a:ext cx="597379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51183514"/>
      </p:ext>
    </p:extLst>
  </p:cSld>
  <p:clrMapOvr>
    <a:masterClrMapping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5995" y="620428"/>
            <a:ext cx="11306469" cy="40313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lnSpc>
                <a:spcPts val="3137"/>
              </a:lnSpc>
              <a:defRPr sz="2745">
                <a:solidFill>
                  <a:srgbClr val="000000"/>
                </a:solidFill>
              </a:defRPr>
            </a:lvl1pPr>
          </a:lstStyle>
          <a:p>
            <a:r>
              <a:rPr lang="en-US"/>
              <a:t>Heading Segoe UI </a:t>
            </a:r>
            <a:r>
              <a:rPr lang="en-US" err="1"/>
              <a:t>Semibold</a:t>
            </a:r>
            <a:r>
              <a:rPr lang="en-US"/>
              <a:t> 28/32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55995" y="1922801"/>
            <a:ext cx="11306469" cy="28777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ts val="2353"/>
              </a:lnSpc>
              <a:buNone/>
              <a:defRPr sz="1961" b="0" i="0" spc="0">
                <a:solidFill>
                  <a:srgbClr val="000000"/>
                </a:solidFill>
                <a:latin typeface="+mj-lt"/>
              </a:defRPr>
            </a:lvl1pPr>
            <a:lvl2pPr marL="0" indent="0">
              <a:lnSpc>
                <a:spcPts val="2353"/>
              </a:lnSpc>
              <a:buNone/>
              <a:defRPr spc="0">
                <a:solidFill>
                  <a:srgbClr val="000000"/>
                </a:solidFill>
                <a:latin typeface="+mn-lt"/>
              </a:defRPr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lvl="1"/>
            <a:r>
              <a:rPr lang="en-US"/>
              <a:t>Large: subhead Segoe UI Regular 20/24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455995" y="3015704"/>
            <a:ext cx="11306469" cy="2162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1765"/>
              </a:lnSpc>
              <a:spcBef>
                <a:spcPts val="0"/>
              </a:spcBef>
              <a:buNone/>
              <a:defRPr sz="1372" b="0" spc="0">
                <a:solidFill>
                  <a:schemeClr val="tx2"/>
                </a:solidFill>
                <a:latin typeface="+mj-lt"/>
              </a:defRPr>
            </a:lvl1pPr>
            <a:lvl2pPr marL="0" indent="0">
              <a:lnSpc>
                <a:spcPts val="1765"/>
              </a:lnSpc>
              <a:spcBef>
                <a:spcPts val="0"/>
              </a:spcBef>
              <a:buNone/>
              <a:defRPr sz="1372" spc="0">
                <a:solidFill>
                  <a:srgbClr val="000000"/>
                </a:solidFill>
              </a:defRPr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lvl="0"/>
            <a:r>
              <a:rPr lang="en-US"/>
              <a:t>Medium: paragraph heading Segoe UI </a:t>
            </a:r>
            <a:r>
              <a:rPr lang="en-US" err="1"/>
              <a:t>Semibold</a:t>
            </a:r>
            <a:r>
              <a:rPr lang="en-US"/>
              <a:t> 14/18</a:t>
            </a:r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76E35749-090F-0542-9B4B-BF37EFC334B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5995" y="4503832"/>
            <a:ext cx="11306469" cy="15088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1176"/>
              </a:lnSpc>
              <a:spcBef>
                <a:spcPts val="0"/>
              </a:spcBef>
              <a:buNone/>
              <a:defRPr sz="980" spc="0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defRPr sz="980" spc="0">
                <a:solidFill>
                  <a:srgbClr val="000000"/>
                </a:solidFill>
              </a:defRPr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0" indent="0">
              <a:lnSpc>
                <a:spcPct val="100000"/>
              </a:lnSpc>
              <a:buNone/>
              <a:defRPr>
                <a:solidFill>
                  <a:srgbClr val="000000"/>
                </a:solidFill>
              </a:defRPr>
            </a:lvl5pPr>
          </a:lstStyle>
          <a:p>
            <a:pPr lvl="1"/>
            <a:r>
              <a:rPr lang="en-US"/>
              <a:t>Small: caption body copy Segoe Regular 10/12</a:t>
            </a:r>
          </a:p>
        </p:txBody>
      </p:sp>
      <p:sp>
        <p:nvSpPr>
          <p:cNvPr id="18" name="Text Box 3">
            <a:extLst>
              <a:ext uri="{FF2B5EF4-FFF2-40B4-BE49-F238E27FC236}">
                <a16:creationId xmlns:a16="http://schemas.microsoft.com/office/drawing/2014/main" id="{19F02595-114B-2D46-ABDC-5E65D166807C}"/>
              </a:ext>
            </a:extLst>
          </p:cNvPr>
          <p:cNvSpPr txBox="1">
            <a:spLocks noChangeArrowheads="1"/>
          </p:cNvSpPr>
          <p:nvPr userDrawn="1"/>
        </p:nvSpPr>
        <p:spPr bwMode="blackWhite">
          <a:xfrm>
            <a:off x="454169" y="6455175"/>
            <a:ext cx="11306469" cy="211083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defTabSz="913924" eaLnBrk="0" hangingPunct="0"/>
            <a:r>
              <a:rPr lang="en-US" sz="686">
                <a:solidFill>
                  <a:schemeClr val="accent6">
                    <a:lumMod val="75000"/>
                  </a:schemeClr>
                </a:solidFill>
                <a:cs typeface="Segoe UI" pitchFamily="34" charset="0"/>
              </a:rPr>
              <a:t>©Microsoft Corporation									                                                                                                                                             Azure </a:t>
            </a:r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68F32AD9-0E33-284C-8468-E63BF69AF2EB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54169" y="4299924"/>
            <a:ext cx="11306469" cy="243143"/>
          </a:xfrm>
          <a:prstGeom prst="rect">
            <a:avLst/>
          </a:prstGeom>
        </p:spPr>
        <p:txBody>
          <a:bodyPr tIns="0"/>
          <a:lstStyle>
            <a:lvl1pPr>
              <a:defRPr lang="en-US" sz="980" b="1" kern="1200" spc="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Small: caption title Segoe UI Bold 10/12. </a:t>
            </a:r>
          </a:p>
        </p:txBody>
      </p:sp>
      <p:sp>
        <p:nvSpPr>
          <p:cNvPr id="21" name="Text Placeholder 4">
            <a:extLst>
              <a:ext uri="{FF2B5EF4-FFF2-40B4-BE49-F238E27FC236}">
                <a16:creationId xmlns:a16="http://schemas.microsoft.com/office/drawing/2014/main" id="{BA46FDB1-D336-7C45-BF92-D58B6C55036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54169" y="3258992"/>
            <a:ext cx="11306469" cy="21614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1765"/>
              </a:lnSpc>
              <a:spcBef>
                <a:spcPts val="0"/>
              </a:spcBef>
              <a:buFont typeface="Arial" panose="020B0604020202020204" pitchFamily="34" charset="0"/>
              <a:buNone/>
              <a:defRPr sz="1372" b="0" i="0" spc="0">
                <a:solidFill>
                  <a:srgbClr val="000000"/>
                </a:solidFill>
                <a:latin typeface="+mn-lt"/>
              </a:defRPr>
            </a:lvl1pPr>
            <a:lvl2pPr marL="0" indent="0">
              <a:lnSpc>
                <a:spcPts val="1765"/>
              </a:lnSpc>
              <a:spcBef>
                <a:spcPts val="0"/>
              </a:spcBef>
              <a:buNone/>
              <a:defRPr sz="1372">
                <a:solidFill>
                  <a:schemeClr val="tx1"/>
                </a:solidFill>
              </a:defRPr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lvl="0"/>
            <a:r>
              <a:rPr lang="en-US"/>
              <a:t>Medium: body copy Segoe UI Regular 14/18</a:t>
            </a:r>
          </a:p>
        </p:txBody>
      </p:sp>
    </p:spTree>
    <p:extLst>
      <p:ext uri="{BB962C8B-B14F-4D97-AF65-F5344CB8AC3E}">
        <p14:creationId xmlns:p14="http://schemas.microsoft.com/office/powerpoint/2010/main" val="2240880960"/>
      </p:ext>
    </p:extLst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x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5995" y="620428"/>
            <a:ext cx="11306469" cy="40313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lnSpc>
                <a:spcPts val="3137"/>
              </a:lnSpc>
              <a:defRPr sz="2745">
                <a:solidFill>
                  <a:srgbClr val="000000"/>
                </a:solidFill>
              </a:defRPr>
            </a:lvl1pPr>
          </a:lstStyle>
          <a:p>
            <a:r>
              <a:rPr lang="en-US"/>
              <a:t>Heading Segoe UI </a:t>
            </a:r>
            <a:r>
              <a:rPr lang="en-US" err="1"/>
              <a:t>Semibold</a:t>
            </a:r>
            <a:r>
              <a:rPr lang="en-US"/>
              <a:t> 28/32</a:t>
            </a:r>
          </a:p>
        </p:txBody>
      </p:sp>
      <p:sp>
        <p:nvSpPr>
          <p:cNvPr id="18" name="Text Box 3">
            <a:extLst>
              <a:ext uri="{FF2B5EF4-FFF2-40B4-BE49-F238E27FC236}">
                <a16:creationId xmlns:a16="http://schemas.microsoft.com/office/drawing/2014/main" id="{19F02595-114B-2D46-ABDC-5E65D166807C}"/>
              </a:ext>
            </a:extLst>
          </p:cNvPr>
          <p:cNvSpPr txBox="1">
            <a:spLocks noChangeArrowheads="1"/>
          </p:cNvSpPr>
          <p:nvPr userDrawn="1"/>
        </p:nvSpPr>
        <p:spPr bwMode="blackWhite">
          <a:xfrm>
            <a:off x="454169" y="6455175"/>
            <a:ext cx="11306469" cy="211083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defTabSz="913924" eaLnBrk="0" hangingPunct="0"/>
            <a:r>
              <a:rPr lang="en-US" sz="686">
                <a:solidFill>
                  <a:schemeClr val="accent6">
                    <a:lumMod val="75000"/>
                  </a:schemeClr>
                </a:solidFill>
                <a:cs typeface="Segoe UI" pitchFamily="34" charset="0"/>
              </a:rPr>
              <a:t>©Microsoft Corporation									                                                                                                                                             Azure </a:t>
            </a:r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FEE1E43F-C091-614B-AA20-F39D0AACAA1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55995" y="1922586"/>
            <a:ext cx="9384447" cy="336553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336145" marR="0" indent="-336145" algn="l" defTabSz="914367" rtl="0" eaLnBrk="1" fontAlgn="auto" latinLnBrk="0" hangingPunct="1">
              <a:lnSpc>
                <a:spcPts val="2353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 typeface="Arial" panose="020B0604020202020204" pitchFamily="34" charset="0"/>
              <a:buChar char="•"/>
              <a:tabLst/>
              <a:defRPr lang="en-US" sz="1961" kern="1200" spc="0" baseline="0" dirty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224097" indent="0">
              <a:buNone/>
              <a:defRPr/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lvl="0"/>
            <a:r>
              <a:rPr lang="en-US"/>
              <a:t>Bulleted list Segoe UI Regular 20/24. Dis </a:t>
            </a:r>
            <a:r>
              <a:rPr lang="en-US" err="1"/>
              <a:t>apid</a:t>
            </a:r>
            <a:r>
              <a:rPr lang="en-US"/>
              <a:t> es </a:t>
            </a:r>
            <a:r>
              <a:rPr lang="en-US" err="1"/>
              <a:t>simusanditis</a:t>
            </a:r>
            <a:r>
              <a:rPr lang="en-US"/>
              <a:t> </a:t>
            </a:r>
            <a:r>
              <a:rPr lang="en-US" err="1"/>
              <a:t>ea</a:t>
            </a:r>
            <a:r>
              <a:rPr lang="en-US"/>
              <a:t> ex et </a:t>
            </a:r>
            <a:r>
              <a:rPr lang="en-US" err="1"/>
              <a:t>illore</a:t>
            </a:r>
            <a:r>
              <a:rPr lang="en-US"/>
              <a:t>, </a:t>
            </a:r>
            <a:r>
              <a:rPr lang="en-US" err="1"/>
              <a:t>nectationet</a:t>
            </a:r>
            <a:r>
              <a:rPr lang="en-US"/>
              <a:t> </a:t>
            </a:r>
            <a:r>
              <a:rPr lang="en-US" err="1"/>
              <a:t>aut</a:t>
            </a:r>
            <a:r>
              <a:rPr lang="en-US"/>
              <a:t> </a:t>
            </a:r>
            <a:r>
              <a:rPr lang="en-US" err="1"/>
              <a:t>dic</a:t>
            </a:r>
            <a:r>
              <a:rPr lang="en-US"/>
              <a:t> </a:t>
            </a:r>
            <a:r>
              <a:rPr lang="en-US" err="1"/>
              <a:t>tem</a:t>
            </a:r>
            <a:r>
              <a:rPr lang="en-US"/>
              <a:t> vit </a:t>
            </a:r>
            <a:r>
              <a:rPr lang="en-US" err="1"/>
              <a:t>velestium</a:t>
            </a:r>
            <a:r>
              <a:rPr lang="en-US"/>
              <a:t> </a:t>
            </a:r>
            <a:r>
              <a:rPr lang="en-US" err="1"/>
              <a:t>reperro</a:t>
            </a:r>
            <a:r>
              <a:rPr lang="en-US"/>
              <a:t> </a:t>
            </a:r>
            <a:r>
              <a:rPr lang="en-US" err="1"/>
              <a:t>rroviduntion</a:t>
            </a:r>
            <a:r>
              <a:rPr lang="en-US"/>
              <a:t> </a:t>
            </a:r>
            <a:r>
              <a:rPr lang="en-US" err="1"/>
              <a:t>conem</a:t>
            </a:r>
            <a:r>
              <a:rPr lang="en-US"/>
              <a:t> </a:t>
            </a:r>
            <a:r>
              <a:rPr lang="en-US" err="1"/>
              <a:t>rehend</a:t>
            </a:r>
            <a:br>
              <a:rPr lang="en-US"/>
            </a:br>
            <a:endParaRPr lang="en-US"/>
          </a:p>
          <a:p>
            <a:pPr marL="336145" marR="0" lvl="0" indent="-336145" algn="l" defTabSz="914367" rtl="0" eaLnBrk="1" fontAlgn="auto" latinLnBrk="0" hangingPunct="1">
              <a:lnSpc>
                <a:spcPts val="2353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Bulleted list Segoe UI Regular 20/24. Dis </a:t>
            </a:r>
            <a:r>
              <a:rPr lang="en-US" err="1"/>
              <a:t>apid</a:t>
            </a:r>
            <a:r>
              <a:rPr lang="en-US"/>
              <a:t> es </a:t>
            </a:r>
            <a:r>
              <a:rPr lang="en-US" err="1"/>
              <a:t>simusanditis</a:t>
            </a:r>
            <a:r>
              <a:rPr lang="en-US"/>
              <a:t> </a:t>
            </a:r>
            <a:r>
              <a:rPr lang="en-US" err="1"/>
              <a:t>ea</a:t>
            </a:r>
            <a:r>
              <a:rPr lang="en-US"/>
              <a:t> ex et </a:t>
            </a:r>
            <a:r>
              <a:rPr lang="en-US" err="1"/>
              <a:t>illore</a:t>
            </a:r>
            <a:r>
              <a:rPr lang="en-US"/>
              <a:t>, </a:t>
            </a:r>
            <a:r>
              <a:rPr lang="en-US" err="1"/>
              <a:t>nectationet</a:t>
            </a:r>
            <a:r>
              <a:rPr lang="en-US"/>
              <a:t> </a:t>
            </a:r>
            <a:r>
              <a:rPr lang="en-US" err="1"/>
              <a:t>aut</a:t>
            </a:r>
            <a:r>
              <a:rPr lang="en-US"/>
              <a:t> </a:t>
            </a:r>
            <a:r>
              <a:rPr lang="en-US" err="1"/>
              <a:t>dic</a:t>
            </a:r>
            <a:r>
              <a:rPr lang="en-US"/>
              <a:t> </a:t>
            </a:r>
            <a:r>
              <a:rPr lang="en-US" err="1"/>
              <a:t>tem</a:t>
            </a:r>
            <a:r>
              <a:rPr lang="en-US"/>
              <a:t> vit </a:t>
            </a:r>
            <a:r>
              <a:rPr lang="en-US" err="1"/>
              <a:t>velestium</a:t>
            </a:r>
            <a:r>
              <a:rPr lang="en-US"/>
              <a:t> </a:t>
            </a:r>
            <a:r>
              <a:rPr lang="en-US" err="1"/>
              <a:t>reperro</a:t>
            </a:r>
            <a:r>
              <a:rPr lang="en-US"/>
              <a:t> </a:t>
            </a:r>
            <a:r>
              <a:rPr lang="en-US" err="1"/>
              <a:t>rroviduntion</a:t>
            </a:r>
            <a:r>
              <a:rPr lang="en-US"/>
              <a:t> </a:t>
            </a:r>
            <a:r>
              <a:rPr lang="en-US" err="1"/>
              <a:t>conem</a:t>
            </a:r>
            <a:r>
              <a:rPr lang="en-US"/>
              <a:t> </a:t>
            </a:r>
            <a:r>
              <a:rPr lang="en-US" err="1"/>
              <a:t>rehend</a:t>
            </a:r>
            <a:br>
              <a:rPr lang="en-US"/>
            </a:br>
            <a:endParaRPr lang="en-US"/>
          </a:p>
          <a:p>
            <a:pPr marL="336145" marR="0" lvl="0" indent="-336145" algn="l" defTabSz="914367" rtl="0" eaLnBrk="1" fontAlgn="auto" latinLnBrk="0" hangingPunct="1">
              <a:lnSpc>
                <a:spcPts val="2353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Bulleted list Segoe UI Regular 20/24. Dis </a:t>
            </a:r>
            <a:r>
              <a:rPr lang="en-US" err="1"/>
              <a:t>apid</a:t>
            </a:r>
            <a:r>
              <a:rPr lang="en-US"/>
              <a:t> es </a:t>
            </a:r>
            <a:r>
              <a:rPr lang="en-US" err="1"/>
              <a:t>simusanditis</a:t>
            </a:r>
            <a:r>
              <a:rPr lang="en-US"/>
              <a:t> </a:t>
            </a:r>
            <a:r>
              <a:rPr lang="en-US" err="1"/>
              <a:t>ea</a:t>
            </a:r>
            <a:r>
              <a:rPr lang="en-US"/>
              <a:t> ex et </a:t>
            </a:r>
            <a:r>
              <a:rPr lang="en-US" err="1"/>
              <a:t>illore</a:t>
            </a:r>
            <a:r>
              <a:rPr lang="en-US"/>
              <a:t>, </a:t>
            </a:r>
            <a:r>
              <a:rPr lang="en-US" err="1"/>
              <a:t>nectationet</a:t>
            </a:r>
            <a:r>
              <a:rPr lang="en-US"/>
              <a:t> </a:t>
            </a:r>
            <a:r>
              <a:rPr lang="en-US" err="1"/>
              <a:t>aut</a:t>
            </a:r>
            <a:r>
              <a:rPr lang="en-US"/>
              <a:t> </a:t>
            </a:r>
            <a:r>
              <a:rPr lang="en-US" err="1"/>
              <a:t>dic</a:t>
            </a:r>
            <a:r>
              <a:rPr lang="en-US"/>
              <a:t> </a:t>
            </a:r>
            <a:r>
              <a:rPr lang="en-US" err="1"/>
              <a:t>tem</a:t>
            </a:r>
            <a:r>
              <a:rPr lang="en-US"/>
              <a:t> vit </a:t>
            </a:r>
            <a:r>
              <a:rPr lang="en-US" err="1"/>
              <a:t>velestium</a:t>
            </a:r>
            <a:r>
              <a:rPr lang="en-US"/>
              <a:t> </a:t>
            </a:r>
            <a:r>
              <a:rPr lang="en-US" err="1"/>
              <a:t>reperro</a:t>
            </a:r>
            <a:r>
              <a:rPr lang="en-US"/>
              <a:t> </a:t>
            </a:r>
            <a:r>
              <a:rPr lang="en-US" err="1"/>
              <a:t>rroviduntion</a:t>
            </a:r>
            <a:r>
              <a:rPr lang="en-US"/>
              <a:t> </a:t>
            </a:r>
            <a:r>
              <a:rPr lang="en-US" err="1"/>
              <a:t>conem</a:t>
            </a:r>
            <a:r>
              <a:rPr lang="en-US"/>
              <a:t> </a:t>
            </a:r>
            <a:r>
              <a:rPr lang="en-US" err="1"/>
              <a:t>rehend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3287428"/>
      </p:ext>
    </p:extLst>
  </p:cSld>
  <p:clrMapOvr>
    <a:masterClrMapping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optio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5995" y="620428"/>
            <a:ext cx="11306469" cy="40313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lnSpc>
                <a:spcPts val="3137"/>
              </a:lnSpc>
              <a:defRPr sz="2745">
                <a:solidFill>
                  <a:srgbClr val="000000"/>
                </a:solidFill>
              </a:defRPr>
            </a:lvl1pPr>
          </a:lstStyle>
          <a:p>
            <a:r>
              <a:rPr lang="en-US"/>
              <a:t>Text option 1: three column bulleted list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55995" y="1922587"/>
            <a:ext cx="9384447" cy="60353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ts val="2353"/>
              </a:lnSpc>
              <a:buNone/>
              <a:defRPr lang="en-US" sz="1961" kern="1200" spc="0" baseline="0" dirty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224097" indent="0">
              <a:buNone/>
              <a:defRPr/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lvl="0"/>
            <a:r>
              <a:rPr lang="en-US"/>
              <a:t>Subhead Segoe UI Regular 20/24. Dis </a:t>
            </a:r>
            <a:r>
              <a:rPr lang="en-US" err="1"/>
              <a:t>apid</a:t>
            </a:r>
            <a:r>
              <a:rPr lang="en-US"/>
              <a:t> </a:t>
            </a:r>
            <a:r>
              <a:rPr lang="en-US" err="1"/>
              <a:t>es</a:t>
            </a:r>
            <a:r>
              <a:rPr lang="en-US"/>
              <a:t> </a:t>
            </a:r>
            <a:r>
              <a:rPr lang="en-US" err="1"/>
              <a:t>simusanditis</a:t>
            </a:r>
            <a:r>
              <a:rPr lang="en-US"/>
              <a:t> </a:t>
            </a:r>
            <a:r>
              <a:rPr lang="en-US" err="1"/>
              <a:t>ea</a:t>
            </a:r>
            <a:r>
              <a:rPr lang="en-US"/>
              <a:t> ex et </a:t>
            </a:r>
            <a:r>
              <a:rPr lang="en-US" err="1"/>
              <a:t>illore</a:t>
            </a:r>
            <a:r>
              <a:rPr lang="en-US"/>
              <a:t>, </a:t>
            </a:r>
            <a:r>
              <a:rPr lang="en-US" err="1"/>
              <a:t>nectationet</a:t>
            </a:r>
            <a:r>
              <a:rPr lang="en-US"/>
              <a:t> </a:t>
            </a:r>
            <a:r>
              <a:rPr lang="en-US" err="1"/>
              <a:t>aut</a:t>
            </a:r>
            <a:r>
              <a:rPr lang="en-US"/>
              <a:t> </a:t>
            </a:r>
            <a:r>
              <a:rPr lang="en-US" err="1"/>
              <a:t>dic</a:t>
            </a:r>
            <a:r>
              <a:rPr lang="en-US"/>
              <a:t> </a:t>
            </a:r>
            <a:r>
              <a:rPr lang="en-US" err="1"/>
              <a:t>tem</a:t>
            </a:r>
            <a:r>
              <a:rPr lang="en-US"/>
              <a:t> </a:t>
            </a:r>
            <a:r>
              <a:rPr lang="en-US" err="1"/>
              <a:t>vit</a:t>
            </a:r>
            <a:r>
              <a:rPr lang="en-US"/>
              <a:t> </a:t>
            </a:r>
            <a:r>
              <a:rPr lang="en-US" err="1"/>
              <a:t>velestium</a:t>
            </a:r>
            <a:r>
              <a:rPr lang="en-US"/>
              <a:t> </a:t>
            </a:r>
            <a:r>
              <a:rPr lang="en-US" err="1"/>
              <a:t>reperro</a:t>
            </a:r>
            <a:r>
              <a:rPr lang="en-US"/>
              <a:t> </a:t>
            </a:r>
            <a:r>
              <a:rPr lang="en-US" err="1"/>
              <a:t>rroviduntion</a:t>
            </a:r>
            <a:r>
              <a:rPr lang="en-US"/>
              <a:t> </a:t>
            </a:r>
            <a:r>
              <a:rPr lang="en-US" err="1"/>
              <a:t>conem</a:t>
            </a:r>
            <a:r>
              <a:rPr lang="en-US"/>
              <a:t> </a:t>
            </a:r>
            <a:r>
              <a:rPr lang="en-US" err="1"/>
              <a:t>rehend</a:t>
            </a:r>
            <a:r>
              <a:rPr lang="en-US"/>
              <a:t>.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455995" y="3151388"/>
            <a:ext cx="3618381" cy="2162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1765"/>
              </a:lnSpc>
              <a:spcBef>
                <a:spcPts val="0"/>
              </a:spcBef>
              <a:spcAft>
                <a:spcPts val="588"/>
              </a:spcAft>
              <a:buNone/>
              <a:defRPr sz="1372" b="0" spc="0" baseline="0">
                <a:solidFill>
                  <a:schemeClr val="tx2"/>
                </a:solidFill>
                <a:latin typeface="+mj-lt"/>
              </a:defRPr>
            </a:lvl1pPr>
            <a:lvl2pPr marL="280121" marR="0" indent="-280121" algn="l" defTabSz="914367" rtl="0" eaLnBrk="1" fontAlgn="auto" latinLnBrk="0" hangingPunct="1">
              <a:lnSpc>
                <a:spcPts val="1765"/>
              </a:lnSpc>
              <a:spcBef>
                <a:spcPts val="0"/>
              </a:spcBef>
              <a:spcAft>
                <a:spcPts val="588"/>
              </a:spcAft>
              <a:buClrTx/>
              <a:buSzPct val="90000"/>
              <a:buFont typeface="Arial" panose="020B0604020202020204" pitchFamily="34" charset="0"/>
              <a:buChar char="•"/>
              <a:tabLst/>
              <a:defRPr lang="en-US" sz="1372" kern="1200" spc="0" baseline="0" dirty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lvl="0"/>
            <a:r>
              <a:rPr lang="en-US"/>
              <a:t>Paragraph title Segoe UI </a:t>
            </a:r>
            <a:r>
              <a:rPr lang="en-US" err="1"/>
              <a:t>Semibold</a:t>
            </a:r>
            <a:r>
              <a:rPr lang="en-US"/>
              <a:t> 14/18</a:t>
            </a:r>
          </a:p>
        </p:txBody>
      </p:sp>
      <p:sp>
        <p:nvSpPr>
          <p:cNvPr id="21" name="Text Placeholder 4">
            <a:extLst>
              <a:ext uri="{FF2B5EF4-FFF2-40B4-BE49-F238E27FC236}">
                <a16:creationId xmlns:a16="http://schemas.microsoft.com/office/drawing/2014/main" id="{03383CEA-4FEB-4C9E-B7D6-3B36BC8EB75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318449" y="3151388"/>
            <a:ext cx="3618381" cy="2162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1765"/>
              </a:lnSpc>
              <a:spcBef>
                <a:spcPts val="0"/>
              </a:spcBef>
              <a:spcAft>
                <a:spcPts val="588"/>
              </a:spcAft>
              <a:buNone/>
              <a:defRPr sz="1372" b="0" spc="0" baseline="0">
                <a:solidFill>
                  <a:schemeClr val="tx2"/>
                </a:solidFill>
                <a:latin typeface="+mj-lt"/>
              </a:defRPr>
            </a:lvl1pPr>
            <a:lvl2pPr marL="280121" marR="0" indent="-280121" algn="l" defTabSz="914367" rtl="0" eaLnBrk="1" fontAlgn="auto" latinLnBrk="0" hangingPunct="1">
              <a:lnSpc>
                <a:spcPts val="1765"/>
              </a:lnSpc>
              <a:spcBef>
                <a:spcPts val="0"/>
              </a:spcBef>
              <a:spcAft>
                <a:spcPts val="588"/>
              </a:spcAft>
              <a:buClrTx/>
              <a:buSzPct val="90000"/>
              <a:buFont typeface="Arial" panose="020B0604020202020204" pitchFamily="34" charset="0"/>
              <a:buChar char="•"/>
              <a:tabLst/>
              <a:defRPr lang="en-US" sz="1372" kern="1200" spc="0" baseline="0" dirty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lvl="0"/>
            <a:r>
              <a:rPr lang="en-US"/>
              <a:t>Paragraph title Segoe UI </a:t>
            </a:r>
            <a:r>
              <a:rPr lang="en-US" err="1"/>
              <a:t>Semibold</a:t>
            </a:r>
            <a:r>
              <a:rPr lang="en-US"/>
              <a:t> 14/18</a:t>
            </a:r>
          </a:p>
        </p:txBody>
      </p:sp>
      <p:sp>
        <p:nvSpPr>
          <p:cNvPr id="22" name="Text Placeholder 4">
            <a:extLst>
              <a:ext uri="{FF2B5EF4-FFF2-40B4-BE49-F238E27FC236}">
                <a16:creationId xmlns:a16="http://schemas.microsoft.com/office/drawing/2014/main" id="{35007055-7118-477F-B301-DB401591FA2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149960" y="3151388"/>
            <a:ext cx="3618381" cy="2162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1765"/>
              </a:lnSpc>
              <a:spcBef>
                <a:spcPts val="0"/>
              </a:spcBef>
              <a:spcAft>
                <a:spcPts val="588"/>
              </a:spcAft>
              <a:buNone/>
              <a:defRPr sz="1372" b="0" spc="0" baseline="0">
                <a:solidFill>
                  <a:schemeClr val="tx2"/>
                </a:solidFill>
                <a:latin typeface="+mj-lt"/>
              </a:defRPr>
            </a:lvl1pPr>
            <a:lvl2pPr marL="280121" marR="0" indent="-280121" algn="l" defTabSz="914367" rtl="0" eaLnBrk="1" fontAlgn="auto" latinLnBrk="0" hangingPunct="1">
              <a:lnSpc>
                <a:spcPts val="1765"/>
              </a:lnSpc>
              <a:spcBef>
                <a:spcPts val="0"/>
              </a:spcBef>
              <a:spcAft>
                <a:spcPts val="588"/>
              </a:spcAft>
              <a:buClrTx/>
              <a:buSzPct val="90000"/>
              <a:buFont typeface="Arial" panose="020B0604020202020204" pitchFamily="34" charset="0"/>
              <a:buChar char="•"/>
              <a:tabLst/>
              <a:defRPr lang="en-US" sz="1372" kern="1200" spc="0" baseline="0" dirty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lvl="0"/>
            <a:r>
              <a:rPr lang="en-US"/>
              <a:t>Paragraph title Segoe UI </a:t>
            </a:r>
            <a:r>
              <a:rPr lang="en-US" err="1"/>
              <a:t>Semibold</a:t>
            </a:r>
            <a:r>
              <a:rPr lang="en-US"/>
              <a:t> 14/18</a:t>
            </a:r>
          </a:p>
        </p:txBody>
      </p:sp>
      <p:sp>
        <p:nvSpPr>
          <p:cNvPr id="23" name="Text Box 3">
            <a:extLst>
              <a:ext uri="{FF2B5EF4-FFF2-40B4-BE49-F238E27FC236}">
                <a16:creationId xmlns:a16="http://schemas.microsoft.com/office/drawing/2014/main" id="{DD31BD93-DFDF-4C46-8FDE-B1B55850B6B2}"/>
              </a:ext>
            </a:extLst>
          </p:cNvPr>
          <p:cNvSpPr txBox="1">
            <a:spLocks noChangeArrowheads="1"/>
          </p:cNvSpPr>
          <p:nvPr userDrawn="1"/>
        </p:nvSpPr>
        <p:spPr bwMode="blackWhite">
          <a:xfrm>
            <a:off x="454169" y="6455175"/>
            <a:ext cx="11306469" cy="211083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defTabSz="913924" eaLnBrk="0" hangingPunct="0"/>
            <a:r>
              <a:rPr lang="en-US" sz="686">
                <a:solidFill>
                  <a:schemeClr val="accent6">
                    <a:lumMod val="75000"/>
                  </a:schemeClr>
                </a:solidFill>
                <a:cs typeface="Segoe UI" pitchFamily="34" charset="0"/>
              </a:rPr>
              <a:t>©Microsoft Corporation									                                                                                                                                             Azure </a:t>
            </a:r>
          </a:p>
        </p:txBody>
      </p:sp>
      <p:sp>
        <p:nvSpPr>
          <p:cNvPr id="24" name="Text Placeholder 4">
            <a:extLst>
              <a:ext uri="{FF2B5EF4-FFF2-40B4-BE49-F238E27FC236}">
                <a16:creationId xmlns:a16="http://schemas.microsoft.com/office/drawing/2014/main" id="{2951A14E-1D63-9E44-9361-FD57A8BD812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54169" y="3378439"/>
            <a:ext cx="3618381" cy="2059666"/>
          </a:xfrm>
          <a:prstGeom prst="rect">
            <a:avLst/>
          </a:prstGeom>
        </p:spPr>
        <p:txBody>
          <a:bodyPr lIns="0" tIns="0" rIns="0" bIns="0"/>
          <a:lstStyle>
            <a:lvl1pPr marL="280121" indent="-280121">
              <a:lnSpc>
                <a:spcPts val="1765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372" b="0" i="0" spc="0">
                <a:solidFill>
                  <a:srgbClr val="000000"/>
                </a:solidFill>
                <a:latin typeface="+mn-lt"/>
              </a:defRPr>
            </a:lvl1pPr>
            <a:lvl2pPr marL="0" indent="0">
              <a:lnSpc>
                <a:spcPts val="1765"/>
              </a:lnSpc>
              <a:spcBef>
                <a:spcPts val="0"/>
              </a:spcBef>
              <a:buNone/>
              <a:defRPr sz="1372">
                <a:solidFill>
                  <a:schemeClr val="tx1"/>
                </a:solidFill>
              </a:defRPr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lvl="0"/>
            <a:r>
              <a:rPr lang="en-US"/>
              <a:t>Body copy 14 </a:t>
            </a:r>
            <a:r>
              <a:rPr lang="en-US" err="1"/>
              <a:t>Cavorest</a:t>
            </a:r>
            <a:r>
              <a:rPr lang="en-US"/>
              <a:t> a </a:t>
            </a:r>
            <a:r>
              <a:rPr lang="en-US" err="1"/>
              <a:t>aut</a:t>
            </a:r>
            <a:r>
              <a:rPr lang="en-US"/>
              <a:t> arum </a:t>
            </a:r>
            <a:r>
              <a:rPr lang="en-US" err="1"/>
              <a:t>quam</a:t>
            </a:r>
            <a:r>
              <a:rPr lang="en-US"/>
              <a:t> id eat ape </a:t>
            </a:r>
            <a:r>
              <a:rPr lang="en-US" err="1"/>
              <a:t>est</a:t>
            </a:r>
            <a:r>
              <a:rPr lang="en-US"/>
              <a:t>, qui </a:t>
            </a:r>
            <a:r>
              <a:rPr lang="en-US" err="1"/>
              <a:t>sincit</a:t>
            </a:r>
            <a:r>
              <a:rPr lang="en-US"/>
              <a:t>, </a:t>
            </a:r>
            <a:r>
              <a:rPr lang="en-US" err="1"/>
              <a:t>omnimusdae</a:t>
            </a:r>
            <a:r>
              <a:rPr lang="en-US"/>
              <a:t>. </a:t>
            </a:r>
            <a:r>
              <a:rPr lang="en-US" err="1"/>
              <a:t>Icaecatur</a:t>
            </a:r>
            <a:r>
              <a:rPr lang="en-US"/>
              <a:t>. </a:t>
            </a:r>
            <a:r>
              <a:rPr lang="en-US" err="1"/>
              <a:t>Boribus</a:t>
            </a:r>
            <a:r>
              <a:rPr lang="en-US"/>
              <a:t> </a:t>
            </a:r>
            <a:r>
              <a:rPr lang="en-US" err="1"/>
              <a:t>sinctius</a:t>
            </a:r>
            <a:r>
              <a:rPr lang="en-US"/>
              <a:t> </a:t>
            </a:r>
            <a:r>
              <a:rPr lang="en-US" err="1"/>
              <a:t>nimaxime</a:t>
            </a:r>
            <a:r>
              <a:rPr lang="en-US"/>
              <a:t> </a:t>
            </a:r>
            <a:r>
              <a:rPr lang="en-US" err="1"/>
              <a:t>nonsequibus</a:t>
            </a:r>
            <a:r>
              <a:rPr lang="en-US"/>
              <a:t> </a:t>
            </a:r>
            <a:r>
              <a:rPr lang="en-US" err="1"/>
              <a:t>dollendis</a:t>
            </a:r>
            <a:r>
              <a:rPr lang="en-US"/>
              <a:t> as </a:t>
            </a:r>
            <a:r>
              <a:rPr lang="en-US" err="1"/>
              <a:t>autestiatur</a:t>
            </a:r>
            <a:r>
              <a:rPr lang="en-US"/>
              <a:t>. </a:t>
            </a:r>
          </a:p>
          <a:p>
            <a:pPr lvl="0"/>
            <a:endParaRPr lang="en-US"/>
          </a:p>
          <a:p>
            <a:pPr lvl="0"/>
            <a:r>
              <a:rPr lang="en-US"/>
              <a:t>Body copy 14 </a:t>
            </a:r>
            <a:r>
              <a:rPr lang="en-US" err="1"/>
              <a:t>Cavorest</a:t>
            </a:r>
            <a:r>
              <a:rPr lang="en-US"/>
              <a:t> a </a:t>
            </a:r>
            <a:r>
              <a:rPr lang="en-US" err="1"/>
              <a:t>aut</a:t>
            </a:r>
            <a:r>
              <a:rPr lang="en-US"/>
              <a:t> arum </a:t>
            </a:r>
            <a:r>
              <a:rPr lang="en-US" err="1"/>
              <a:t>quam</a:t>
            </a:r>
            <a:r>
              <a:rPr lang="en-US"/>
              <a:t> id eat ape </a:t>
            </a:r>
            <a:r>
              <a:rPr lang="en-US" err="1"/>
              <a:t>est</a:t>
            </a:r>
            <a:r>
              <a:rPr lang="en-US"/>
              <a:t>, qui </a:t>
            </a:r>
            <a:r>
              <a:rPr lang="en-US" err="1"/>
              <a:t>sincit</a:t>
            </a:r>
            <a:r>
              <a:rPr lang="en-US"/>
              <a:t>, </a:t>
            </a:r>
            <a:r>
              <a:rPr lang="en-US" err="1"/>
              <a:t>omnimusdae</a:t>
            </a:r>
            <a:r>
              <a:rPr lang="en-US"/>
              <a:t>. </a:t>
            </a:r>
            <a:r>
              <a:rPr lang="en-US" err="1"/>
              <a:t>Icaecatur</a:t>
            </a:r>
            <a:r>
              <a:rPr lang="en-US"/>
              <a:t>. </a:t>
            </a:r>
            <a:r>
              <a:rPr lang="en-US" err="1"/>
              <a:t>Boribus</a:t>
            </a:r>
            <a:r>
              <a:rPr lang="en-US"/>
              <a:t> </a:t>
            </a:r>
            <a:r>
              <a:rPr lang="en-US" err="1"/>
              <a:t>sinctius</a:t>
            </a:r>
            <a:r>
              <a:rPr lang="en-US"/>
              <a:t> </a:t>
            </a:r>
            <a:r>
              <a:rPr lang="en-US" err="1"/>
              <a:t>nimaxime</a:t>
            </a:r>
            <a:r>
              <a:rPr lang="en-US"/>
              <a:t> </a:t>
            </a:r>
            <a:r>
              <a:rPr lang="en-US" err="1"/>
              <a:t>nonsequibus</a:t>
            </a:r>
            <a:r>
              <a:rPr lang="en-US"/>
              <a:t> </a:t>
            </a:r>
            <a:r>
              <a:rPr lang="en-US" err="1"/>
              <a:t>dollendis</a:t>
            </a:r>
            <a:r>
              <a:rPr lang="en-US"/>
              <a:t> as </a:t>
            </a:r>
            <a:r>
              <a:rPr lang="en-US" err="1"/>
              <a:t>autestiatur</a:t>
            </a:r>
            <a:r>
              <a:rPr lang="en-US"/>
              <a:t>. </a:t>
            </a:r>
          </a:p>
        </p:txBody>
      </p:sp>
      <p:sp>
        <p:nvSpPr>
          <p:cNvPr id="25" name="Text Placeholder 4">
            <a:extLst>
              <a:ext uri="{FF2B5EF4-FFF2-40B4-BE49-F238E27FC236}">
                <a16:creationId xmlns:a16="http://schemas.microsoft.com/office/drawing/2014/main" id="{1C3BF983-4009-1049-9AD7-C94BE3AA193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18449" y="3378439"/>
            <a:ext cx="3618381" cy="2059666"/>
          </a:xfrm>
          <a:prstGeom prst="rect">
            <a:avLst/>
          </a:prstGeom>
        </p:spPr>
        <p:txBody>
          <a:bodyPr lIns="0" tIns="0" rIns="0" bIns="0"/>
          <a:lstStyle>
            <a:lvl1pPr marL="280121" indent="-280121">
              <a:lnSpc>
                <a:spcPts val="1765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372" b="0" i="0" spc="0">
                <a:solidFill>
                  <a:srgbClr val="000000"/>
                </a:solidFill>
                <a:latin typeface="+mn-lt"/>
              </a:defRPr>
            </a:lvl1pPr>
            <a:lvl2pPr marL="0" indent="0">
              <a:lnSpc>
                <a:spcPts val="1765"/>
              </a:lnSpc>
              <a:spcBef>
                <a:spcPts val="0"/>
              </a:spcBef>
              <a:buNone/>
              <a:defRPr sz="1372">
                <a:solidFill>
                  <a:schemeClr val="tx1"/>
                </a:solidFill>
              </a:defRPr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lvl="0"/>
            <a:r>
              <a:rPr lang="en-US"/>
              <a:t>Body copy 14 </a:t>
            </a:r>
            <a:r>
              <a:rPr lang="en-US" err="1"/>
              <a:t>Cavorest</a:t>
            </a:r>
            <a:r>
              <a:rPr lang="en-US"/>
              <a:t> a </a:t>
            </a:r>
            <a:r>
              <a:rPr lang="en-US" err="1"/>
              <a:t>aut</a:t>
            </a:r>
            <a:r>
              <a:rPr lang="en-US"/>
              <a:t> arum </a:t>
            </a:r>
            <a:r>
              <a:rPr lang="en-US" err="1"/>
              <a:t>quam</a:t>
            </a:r>
            <a:r>
              <a:rPr lang="en-US"/>
              <a:t> id eat ape </a:t>
            </a:r>
            <a:r>
              <a:rPr lang="en-US" err="1"/>
              <a:t>est</a:t>
            </a:r>
            <a:r>
              <a:rPr lang="en-US"/>
              <a:t>, qui </a:t>
            </a:r>
            <a:r>
              <a:rPr lang="en-US" err="1"/>
              <a:t>sincit</a:t>
            </a:r>
            <a:r>
              <a:rPr lang="en-US"/>
              <a:t>, </a:t>
            </a:r>
            <a:r>
              <a:rPr lang="en-US" err="1"/>
              <a:t>omnimusdae</a:t>
            </a:r>
            <a:r>
              <a:rPr lang="en-US"/>
              <a:t>. </a:t>
            </a:r>
            <a:r>
              <a:rPr lang="en-US" err="1"/>
              <a:t>Icaecatur</a:t>
            </a:r>
            <a:r>
              <a:rPr lang="en-US"/>
              <a:t>. </a:t>
            </a:r>
            <a:r>
              <a:rPr lang="en-US" err="1"/>
              <a:t>Boribus</a:t>
            </a:r>
            <a:r>
              <a:rPr lang="en-US"/>
              <a:t> </a:t>
            </a:r>
            <a:r>
              <a:rPr lang="en-US" err="1"/>
              <a:t>sinctius</a:t>
            </a:r>
            <a:r>
              <a:rPr lang="en-US"/>
              <a:t> </a:t>
            </a:r>
            <a:r>
              <a:rPr lang="en-US" err="1"/>
              <a:t>nimaxime</a:t>
            </a:r>
            <a:r>
              <a:rPr lang="en-US"/>
              <a:t> </a:t>
            </a:r>
            <a:r>
              <a:rPr lang="en-US" err="1"/>
              <a:t>nonsequibus</a:t>
            </a:r>
            <a:r>
              <a:rPr lang="en-US"/>
              <a:t> </a:t>
            </a:r>
            <a:r>
              <a:rPr lang="en-US" err="1"/>
              <a:t>dollendis</a:t>
            </a:r>
            <a:r>
              <a:rPr lang="en-US"/>
              <a:t> as </a:t>
            </a:r>
            <a:r>
              <a:rPr lang="en-US" err="1"/>
              <a:t>autestiatur</a:t>
            </a:r>
            <a:r>
              <a:rPr lang="en-US"/>
              <a:t>. </a:t>
            </a:r>
          </a:p>
          <a:p>
            <a:pPr lvl="0"/>
            <a:endParaRPr lang="en-US"/>
          </a:p>
          <a:p>
            <a:pPr lvl="0"/>
            <a:r>
              <a:rPr lang="en-US"/>
              <a:t>Body copy 14 </a:t>
            </a:r>
            <a:r>
              <a:rPr lang="en-US" err="1"/>
              <a:t>Cavorest</a:t>
            </a:r>
            <a:r>
              <a:rPr lang="en-US"/>
              <a:t> a </a:t>
            </a:r>
            <a:r>
              <a:rPr lang="en-US" err="1"/>
              <a:t>aut</a:t>
            </a:r>
            <a:r>
              <a:rPr lang="en-US"/>
              <a:t> arum </a:t>
            </a:r>
            <a:r>
              <a:rPr lang="en-US" err="1"/>
              <a:t>quam</a:t>
            </a:r>
            <a:r>
              <a:rPr lang="en-US"/>
              <a:t> id eat ape </a:t>
            </a:r>
            <a:r>
              <a:rPr lang="en-US" err="1"/>
              <a:t>est</a:t>
            </a:r>
            <a:r>
              <a:rPr lang="en-US"/>
              <a:t>, qui </a:t>
            </a:r>
            <a:r>
              <a:rPr lang="en-US" err="1"/>
              <a:t>sincit</a:t>
            </a:r>
            <a:r>
              <a:rPr lang="en-US"/>
              <a:t>, </a:t>
            </a:r>
            <a:r>
              <a:rPr lang="en-US" err="1"/>
              <a:t>omnimusdae</a:t>
            </a:r>
            <a:r>
              <a:rPr lang="en-US"/>
              <a:t>. </a:t>
            </a:r>
            <a:r>
              <a:rPr lang="en-US" err="1"/>
              <a:t>Icaecatur</a:t>
            </a:r>
            <a:r>
              <a:rPr lang="en-US"/>
              <a:t>. </a:t>
            </a:r>
            <a:r>
              <a:rPr lang="en-US" err="1"/>
              <a:t>Boribus</a:t>
            </a:r>
            <a:r>
              <a:rPr lang="en-US"/>
              <a:t> </a:t>
            </a:r>
            <a:r>
              <a:rPr lang="en-US" err="1"/>
              <a:t>sinctius</a:t>
            </a:r>
            <a:r>
              <a:rPr lang="en-US"/>
              <a:t> </a:t>
            </a:r>
            <a:r>
              <a:rPr lang="en-US" err="1"/>
              <a:t>nimaxime</a:t>
            </a:r>
            <a:r>
              <a:rPr lang="en-US"/>
              <a:t> </a:t>
            </a:r>
            <a:r>
              <a:rPr lang="en-US" err="1"/>
              <a:t>nonsequibus</a:t>
            </a:r>
            <a:r>
              <a:rPr lang="en-US"/>
              <a:t> </a:t>
            </a:r>
            <a:r>
              <a:rPr lang="en-US" err="1"/>
              <a:t>dollendis</a:t>
            </a:r>
            <a:r>
              <a:rPr lang="en-US"/>
              <a:t> as </a:t>
            </a:r>
            <a:r>
              <a:rPr lang="en-US" err="1"/>
              <a:t>autestiatur</a:t>
            </a:r>
            <a:r>
              <a:rPr lang="en-US"/>
              <a:t>. </a:t>
            </a:r>
          </a:p>
        </p:txBody>
      </p:sp>
      <p:sp>
        <p:nvSpPr>
          <p:cNvPr id="26" name="Text Placeholder 4">
            <a:extLst>
              <a:ext uri="{FF2B5EF4-FFF2-40B4-BE49-F238E27FC236}">
                <a16:creationId xmlns:a16="http://schemas.microsoft.com/office/drawing/2014/main" id="{2361C016-E331-F44F-ACAE-52E4AE73469E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156766" y="3378439"/>
            <a:ext cx="3618381" cy="2059666"/>
          </a:xfrm>
          <a:prstGeom prst="rect">
            <a:avLst/>
          </a:prstGeom>
        </p:spPr>
        <p:txBody>
          <a:bodyPr lIns="0" tIns="0" rIns="0" bIns="0"/>
          <a:lstStyle>
            <a:lvl1pPr marL="280121" indent="-280121">
              <a:lnSpc>
                <a:spcPts val="1765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372" b="0" i="0" spc="0">
                <a:solidFill>
                  <a:srgbClr val="000000"/>
                </a:solidFill>
                <a:latin typeface="+mn-lt"/>
              </a:defRPr>
            </a:lvl1pPr>
            <a:lvl2pPr marL="0" indent="0">
              <a:lnSpc>
                <a:spcPts val="1765"/>
              </a:lnSpc>
              <a:spcBef>
                <a:spcPts val="0"/>
              </a:spcBef>
              <a:buNone/>
              <a:defRPr sz="1372">
                <a:solidFill>
                  <a:schemeClr val="tx1"/>
                </a:solidFill>
              </a:defRPr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lvl="0"/>
            <a:r>
              <a:rPr lang="en-US"/>
              <a:t>Body copy 14 </a:t>
            </a:r>
            <a:r>
              <a:rPr lang="en-US" err="1"/>
              <a:t>Cavorest</a:t>
            </a:r>
            <a:r>
              <a:rPr lang="en-US"/>
              <a:t> a </a:t>
            </a:r>
            <a:r>
              <a:rPr lang="en-US" err="1"/>
              <a:t>aut</a:t>
            </a:r>
            <a:r>
              <a:rPr lang="en-US"/>
              <a:t> arum </a:t>
            </a:r>
            <a:r>
              <a:rPr lang="en-US" err="1"/>
              <a:t>quam</a:t>
            </a:r>
            <a:r>
              <a:rPr lang="en-US"/>
              <a:t> id eat ape </a:t>
            </a:r>
            <a:r>
              <a:rPr lang="en-US" err="1"/>
              <a:t>est</a:t>
            </a:r>
            <a:r>
              <a:rPr lang="en-US"/>
              <a:t>, qui </a:t>
            </a:r>
            <a:r>
              <a:rPr lang="en-US" err="1"/>
              <a:t>sincit</a:t>
            </a:r>
            <a:r>
              <a:rPr lang="en-US"/>
              <a:t>, </a:t>
            </a:r>
            <a:r>
              <a:rPr lang="en-US" err="1"/>
              <a:t>omnimusdae</a:t>
            </a:r>
            <a:r>
              <a:rPr lang="en-US"/>
              <a:t>. </a:t>
            </a:r>
            <a:r>
              <a:rPr lang="en-US" err="1"/>
              <a:t>Icaecatur</a:t>
            </a:r>
            <a:r>
              <a:rPr lang="en-US"/>
              <a:t>. </a:t>
            </a:r>
            <a:r>
              <a:rPr lang="en-US" err="1"/>
              <a:t>Boribus</a:t>
            </a:r>
            <a:r>
              <a:rPr lang="en-US"/>
              <a:t> </a:t>
            </a:r>
            <a:r>
              <a:rPr lang="en-US" err="1"/>
              <a:t>sinctius</a:t>
            </a:r>
            <a:r>
              <a:rPr lang="en-US"/>
              <a:t> </a:t>
            </a:r>
            <a:r>
              <a:rPr lang="en-US" err="1"/>
              <a:t>nimaxime</a:t>
            </a:r>
            <a:r>
              <a:rPr lang="en-US"/>
              <a:t> </a:t>
            </a:r>
            <a:r>
              <a:rPr lang="en-US" err="1"/>
              <a:t>nonsequibus</a:t>
            </a:r>
            <a:r>
              <a:rPr lang="en-US"/>
              <a:t> </a:t>
            </a:r>
            <a:r>
              <a:rPr lang="en-US" err="1"/>
              <a:t>dollendis</a:t>
            </a:r>
            <a:r>
              <a:rPr lang="en-US"/>
              <a:t> as </a:t>
            </a:r>
            <a:r>
              <a:rPr lang="en-US" err="1"/>
              <a:t>autestiatur</a:t>
            </a:r>
            <a:r>
              <a:rPr lang="en-US"/>
              <a:t>. </a:t>
            </a:r>
          </a:p>
          <a:p>
            <a:pPr lvl="0"/>
            <a:endParaRPr lang="en-US"/>
          </a:p>
          <a:p>
            <a:pPr lvl="0"/>
            <a:r>
              <a:rPr lang="en-US"/>
              <a:t>Body copy 14 </a:t>
            </a:r>
            <a:r>
              <a:rPr lang="en-US" err="1"/>
              <a:t>Cavorest</a:t>
            </a:r>
            <a:r>
              <a:rPr lang="en-US"/>
              <a:t> a </a:t>
            </a:r>
            <a:r>
              <a:rPr lang="en-US" err="1"/>
              <a:t>aut</a:t>
            </a:r>
            <a:r>
              <a:rPr lang="en-US"/>
              <a:t> arum </a:t>
            </a:r>
            <a:r>
              <a:rPr lang="en-US" err="1"/>
              <a:t>quam</a:t>
            </a:r>
            <a:r>
              <a:rPr lang="en-US"/>
              <a:t> id eat ape </a:t>
            </a:r>
            <a:r>
              <a:rPr lang="en-US" err="1"/>
              <a:t>est</a:t>
            </a:r>
            <a:r>
              <a:rPr lang="en-US"/>
              <a:t>, qui </a:t>
            </a:r>
            <a:r>
              <a:rPr lang="en-US" err="1"/>
              <a:t>sincit</a:t>
            </a:r>
            <a:r>
              <a:rPr lang="en-US"/>
              <a:t>, </a:t>
            </a:r>
            <a:r>
              <a:rPr lang="en-US" err="1"/>
              <a:t>omnimusdae</a:t>
            </a:r>
            <a:r>
              <a:rPr lang="en-US"/>
              <a:t>. </a:t>
            </a:r>
            <a:r>
              <a:rPr lang="en-US" err="1"/>
              <a:t>Icaecatur</a:t>
            </a:r>
            <a:r>
              <a:rPr lang="en-US"/>
              <a:t>. </a:t>
            </a:r>
            <a:r>
              <a:rPr lang="en-US" err="1"/>
              <a:t>Boribus</a:t>
            </a:r>
            <a:r>
              <a:rPr lang="en-US"/>
              <a:t> </a:t>
            </a:r>
            <a:r>
              <a:rPr lang="en-US" err="1"/>
              <a:t>sinctius</a:t>
            </a:r>
            <a:r>
              <a:rPr lang="en-US"/>
              <a:t> </a:t>
            </a:r>
            <a:r>
              <a:rPr lang="en-US" err="1"/>
              <a:t>nimaxime</a:t>
            </a:r>
            <a:r>
              <a:rPr lang="en-US"/>
              <a:t> </a:t>
            </a:r>
            <a:r>
              <a:rPr lang="en-US" err="1"/>
              <a:t>nonsequibus</a:t>
            </a:r>
            <a:r>
              <a:rPr lang="en-US"/>
              <a:t> </a:t>
            </a:r>
            <a:r>
              <a:rPr lang="en-US" err="1"/>
              <a:t>dollendis</a:t>
            </a:r>
            <a:r>
              <a:rPr lang="en-US"/>
              <a:t> as </a:t>
            </a:r>
            <a:r>
              <a:rPr lang="en-US" err="1"/>
              <a:t>autestiatur</a:t>
            </a:r>
            <a:r>
              <a:rPr lang="en-US"/>
              <a:t>. </a:t>
            </a:r>
          </a:p>
        </p:txBody>
      </p:sp>
    </p:spTree>
    <p:extLst>
      <p:ext uri="{BB962C8B-B14F-4D97-AF65-F5344CB8AC3E}">
        <p14:creationId xmlns:p14="http://schemas.microsoft.com/office/powerpoint/2010/main" val="2423296106"/>
      </p:ext>
    </p:extLst>
  </p:cSld>
  <p:clrMapOvr>
    <a:masterClrMapping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opt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5995" y="620428"/>
            <a:ext cx="11306469" cy="40313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lnSpc>
                <a:spcPts val="3137"/>
              </a:lnSpc>
              <a:defRPr sz="2745">
                <a:solidFill>
                  <a:srgbClr val="000000"/>
                </a:solidFill>
              </a:defRPr>
            </a:lvl1pPr>
          </a:lstStyle>
          <a:p>
            <a:r>
              <a:rPr lang="en-US"/>
              <a:t>Text option 2: two columns copy heavy</a:t>
            </a:r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99E39B6D-21AF-485C-B606-D6EA248988A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5995" y="2363622"/>
            <a:ext cx="3618381" cy="2162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1765"/>
              </a:lnSpc>
              <a:spcBef>
                <a:spcPts val="1176"/>
              </a:spcBef>
              <a:buNone/>
              <a:defRPr lang="en-US" sz="1372" b="0" kern="1200" spc="0" baseline="0" dirty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marR="0" indent="0" algn="l" defTabSz="914367" rtl="0" eaLnBrk="1" fontAlgn="auto" latinLnBrk="0" hangingPunct="1">
              <a:lnSpc>
                <a:spcPts val="1765"/>
              </a:lnSpc>
              <a:spcBef>
                <a:spcPts val="441"/>
              </a:spcBef>
              <a:spcAft>
                <a:spcPts val="0"/>
              </a:spcAft>
              <a:buClrTx/>
              <a:buSzPct val="90000"/>
              <a:buFont typeface="Arial" panose="020B0604020202020204" pitchFamily="34" charset="0"/>
              <a:buNone/>
              <a:tabLst/>
              <a:defRPr sz="1372">
                <a:solidFill>
                  <a:srgbClr val="000000"/>
                </a:solidFill>
              </a:defRPr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>
              <a:spcBef>
                <a:spcPts val="1200"/>
              </a:spcBef>
            </a:pPr>
            <a:r>
              <a:rPr lang="en-US" b="0">
                <a:solidFill>
                  <a:schemeClr val="tx2"/>
                </a:solidFill>
                <a:latin typeface="+mj-lt"/>
              </a:rPr>
              <a:t>Paragraph title Segoe UI </a:t>
            </a:r>
            <a:r>
              <a:rPr lang="en-US" b="0" err="1">
                <a:solidFill>
                  <a:schemeClr val="tx2"/>
                </a:solidFill>
                <a:latin typeface="+mj-lt"/>
              </a:rPr>
              <a:t>Semibold</a:t>
            </a:r>
            <a:r>
              <a:rPr lang="en-US" b="0">
                <a:solidFill>
                  <a:schemeClr val="tx2"/>
                </a:solidFill>
                <a:latin typeface="+mj-lt"/>
              </a:rPr>
              <a:t> 14/18</a:t>
            </a:r>
            <a:endParaRPr lang="en-US"/>
          </a:p>
        </p:txBody>
      </p:sp>
      <p:sp>
        <p:nvSpPr>
          <p:cNvPr id="17" name="Text Placeholder 4">
            <a:extLst>
              <a:ext uri="{FF2B5EF4-FFF2-40B4-BE49-F238E27FC236}">
                <a16:creationId xmlns:a16="http://schemas.microsoft.com/office/drawing/2014/main" id="{D0D85DDD-B7EA-4D73-BA98-A5ACF1DB2D3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03151" y="2363622"/>
            <a:ext cx="3618381" cy="2162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1765"/>
              </a:lnSpc>
              <a:spcBef>
                <a:spcPts val="1176"/>
              </a:spcBef>
              <a:buNone/>
              <a:defRPr lang="en-US" sz="1372" b="0" kern="1200" spc="0" baseline="0" dirty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marR="0" indent="0" algn="l" defTabSz="914367" rtl="0" eaLnBrk="1" fontAlgn="auto" latinLnBrk="0" hangingPunct="1">
              <a:lnSpc>
                <a:spcPts val="1765"/>
              </a:lnSpc>
              <a:spcBef>
                <a:spcPts val="441"/>
              </a:spcBef>
              <a:spcAft>
                <a:spcPts val="0"/>
              </a:spcAft>
              <a:buClrTx/>
              <a:buSzPct val="90000"/>
              <a:buFont typeface="Arial" panose="020B0604020202020204" pitchFamily="34" charset="0"/>
              <a:buNone/>
              <a:tabLst/>
              <a:defRPr sz="1372">
                <a:solidFill>
                  <a:srgbClr val="000000"/>
                </a:solidFill>
              </a:defRPr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>
              <a:spcBef>
                <a:spcPts val="1200"/>
              </a:spcBef>
            </a:pPr>
            <a:r>
              <a:rPr lang="en-US" b="0">
                <a:solidFill>
                  <a:schemeClr val="tx2"/>
                </a:solidFill>
                <a:latin typeface="+mj-lt"/>
              </a:rPr>
              <a:t>Paragraph title Segoe UI </a:t>
            </a:r>
            <a:r>
              <a:rPr lang="en-US" b="0" err="1">
                <a:solidFill>
                  <a:schemeClr val="tx2"/>
                </a:solidFill>
                <a:latin typeface="+mj-lt"/>
              </a:rPr>
              <a:t>Semibold</a:t>
            </a:r>
            <a:r>
              <a:rPr lang="en-US" b="0">
                <a:solidFill>
                  <a:schemeClr val="tx2"/>
                </a:solidFill>
                <a:latin typeface="+mj-lt"/>
              </a:rPr>
              <a:t> 14/18</a:t>
            </a:r>
            <a:endParaRPr lang="en-US"/>
          </a:p>
        </p:txBody>
      </p:sp>
      <p:sp>
        <p:nvSpPr>
          <p:cNvPr id="13" name="Text Box 3">
            <a:extLst>
              <a:ext uri="{FF2B5EF4-FFF2-40B4-BE49-F238E27FC236}">
                <a16:creationId xmlns:a16="http://schemas.microsoft.com/office/drawing/2014/main" id="{CCDF1654-4D2D-794C-BBB7-E1447C036FDB}"/>
              </a:ext>
            </a:extLst>
          </p:cNvPr>
          <p:cNvSpPr txBox="1">
            <a:spLocks noChangeArrowheads="1"/>
          </p:cNvSpPr>
          <p:nvPr userDrawn="1"/>
        </p:nvSpPr>
        <p:spPr bwMode="blackWhite">
          <a:xfrm>
            <a:off x="454169" y="6455175"/>
            <a:ext cx="11306469" cy="211083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defTabSz="913924" eaLnBrk="0" hangingPunct="0"/>
            <a:r>
              <a:rPr lang="en-US" sz="686">
                <a:solidFill>
                  <a:schemeClr val="accent6">
                    <a:lumMod val="75000"/>
                  </a:schemeClr>
                </a:solidFill>
                <a:cs typeface="Segoe UI" pitchFamily="34" charset="0"/>
              </a:rPr>
              <a:t>©Microsoft Corporation									                                                                                                                                             Azure </a:t>
            </a:r>
          </a:p>
        </p:txBody>
      </p:sp>
      <p:sp>
        <p:nvSpPr>
          <p:cNvPr id="18" name="Text Placeholder 4">
            <a:extLst>
              <a:ext uri="{FF2B5EF4-FFF2-40B4-BE49-F238E27FC236}">
                <a16:creationId xmlns:a16="http://schemas.microsoft.com/office/drawing/2014/main" id="{82A6E05B-C65A-8C44-AC8B-AA08746E666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55995" y="2593749"/>
            <a:ext cx="3618381" cy="205966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1765"/>
              </a:lnSpc>
              <a:spcBef>
                <a:spcPts val="0"/>
              </a:spcBef>
              <a:buFont typeface="Arial" panose="020B0604020202020204" pitchFamily="34" charset="0"/>
              <a:buNone/>
              <a:defRPr sz="1372" b="0" i="0" spc="0">
                <a:solidFill>
                  <a:srgbClr val="000000"/>
                </a:solidFill>
                <a:latin typeface="+mn-lt"/>
              </a:defRPr>
            </a:lvl1pPr>
            <a:lvl2pPr marL="0" indent="0">
              <a:lnSpc>
                <a:spcPts val="1765"/>
              </a:lnSpc>
              <a:spcBef>
                <a:spcPts val="0"/>
              </a:spcBef>
              <a:buNone/>
              <a:defRPr sz="1372">
                <a:solidFill>
                  <a:schemeClr val="tx1"/>
                </a:solidFill>
              </a:defRPr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lvl="0"/>
            <a:r>
              <a:rPr lang="en-US"/>
              <a:t>Body copy 14 </a:t>
            </a:r>
            <a:r>
              <a:rPr lang="en-US" err="1"/>
              <a:t>Cavorest</a:t>
            </a:r>
            <a:r>
              <a:rPr lang="en-US"/>
              <a:t> a </a:t>
            </a:r>
            <a:r>
              <a:rPr lang="en-US" err="1"/>
              <a:t>aut</a:t>
            </a:r>
            <a:r>
              <a:rPr lang="en-US"/>
              <a:t> arum </a:t>
            </a:r>
            <a:r>
              <a:rPr lang="en-US" err="1"/>
              <a:t>quam</a:t>
            </a:r>
            <a:r>
              <a:rPr lang="en-US"/>
              <a:t> id eat ape </a:t>
            </a:r>
            <a:r>
              <a:rPr lang="en-US" err="1"/>
              <a:t>est</a:t>
            </a:r>
            <a:r>
              <a:rPr lang="en-US"/>
              <a:t>, qui </a:t>
            </a:r>
            <a:r>
              <a:rPr lang="en-US" err="1"/>
              <a:t>sincit</a:t>
            </a:r>
            <a:r>
              <a:rPr lang="en-US"/>
              <a:t>, </a:t>
            </a:r>
            <a:r>
              <a:rPr lang="en-US" err="1"/>
              <a:t>omnimusdae</a:t>
            </a:r>
            <a:r>
              <a:rPr lang="en-US"/>
              <a:t>. </a:t>
            </a:r>
            <a:r>
              <a:rPr lang="en-US" err="1"/>
              <a:t>Icaecatur</a:t>
            </a:r>
            <a:r>
              <a:rPr lang="en-US"/>
              <a:t>. </a:t>
            </a:r>
            <a:r>
              <a:rPr lang="en-US" err="1"/>
              <a:t>Boribus</a:t>
            </a:r>
            <a:r>
              <a:rPr lang="en-US"/>
              <a:t> </a:t>
            </a:r>
            <a:r>
              <a:rPr lang="en-US" err="1"/>
              <a:t>sinctius</a:t>
            </a:r>
            <a:r>
              <a:rPr lang="en-US"/>
              <a:t> </a:t>
            </a:r>
            <a:r>
              <a:rPr lang="en-US" err="1"/>
              <a:t>nimaxime</a:t>
            </a:r>
            <a:r>
              <a:rPr lang="en-US"/>
              <a:t> </a:t>
            </a:r>
            <a:r>
              <a:rPr lang="en-US" err="1"/>
              <a:t>nonsequibus</a:t>
            </a:r>
            <a:r>
              <a:rPr lang="en-US"/>
              <a:t> </a:t>
            </a:r>
            <a:r>
              <a:rPr lang="en-US" err="1"/>
              <a:t>dollendis</a:t>
            </a:r>
            <a:r>
              <a:rPr lang="en-US"/>
              <a:t> as </a:t>
            </a:r>
            <a:r>
              <a:rPr lang="en-US" err="1"/>
              <a:t>autestiatur</a:t>
            </a:r>
            <a:r>
              <a:rPr lang="en-US"/>
              <a:t>. </a:t>
            </a:r>
          </a:p>
          <a:p>
            <a:pPr lvl="0"/>
            <a:endParaRPr lang="en-US"/>
          </a:p>
          <a:p>
            <a:pPr lvl="0"/>
            <a:r>
              <a:rPr lang="en-US"/>
              <a:t>Body copy 14 </a:t>
            </a:r>
            <a:r>
              <a:rPr lang="en-US" err="1"/>
              <a:t>Cavorest</a:t>
            </a:r>
            <a:r>
              <a:rPr lang="en-US"/>
              <a:t> a </a:t>
            </a:r>
            <a:r>
              <a:rPr lang="en-US" err="1"/>
              <a:t>aut</a:t>
            </a:r>
            <a:r>
              <a:rPr lang="en-US"/>
              <a:t> arum </a:t>
            </a:r>
            <a:r>
              <a:rPr lang="en-US" err="1"/>
              <a:t>quam</a:t>
            </a:r>
            <a:r>
              <a:rPr lang="en-US"/>
              <a:t> id eat ape </a:t>
            </a:r>
            <a:r>
              <a:rPr lang="en-US" err="1"/>
              <a:t>est</a:t>
            </a:r>
            <a:r>
              <a:rPr lang="en-US"/>
              <a:t>, qui </a:t>
            </a:r>
            <a:r>
              <a:rPr lang="en-US" err="1"/>
              <a:t>sincit</a:t>
            </a:r>
            <a:r>
              <a:rPr lang="en-US"/>
              <a:t>, </a:t>
            </a:r>
            <a:r>
              <a:rPr lang="en-US" err="1"/>
              <a:t>omnimusdae</a:t>
            </a:r>
            <a:r>
              <a:rPr lang="en-US"/>
              <a:t>. </a:t>
            </a:r>
            <a:r>
              <a:rPr lang="en-US" err="1"/>
              <a:t>Icaecatur</a:t>
            </a:r>
            <a:r>
              <a:rPr lang="en-US"/>
              <a:t>. </a:t>
            </a:r>
            <a:r>
              <a:rPr lang="en-US" err="1"/>
              <a:t>Boribus</a:t>
            </a:r>
            <a:r>
              <a:rPr lang="en-US"/>
              <a:t> </a:t>
            </a:r>
            <a:r>
              <a:rPr lang="en-US" err="1"/>
              <a:t>sinctius</a:t>
            </a:r>
            <a:r>
              <a:rPr lang="en-US"/>
              <a:t> </a:t>
            </a:r>
            <a:r>
              <a:rPr lang="en-US" err="1"/>
              <a:t>nimaxime</a:t>
            </a:r>
            <a:r>
              <a:rPr lang="en-US"/>
              <a:t> </a:t>
            </a:r>
            <a:r>
              <a:rPr lang="en-US" err="1"/>
              <a:t>nonsequibus</a:t>
            </a:r>
            <a:r>
              <a:rPr lang="en-US"/>
              <a:t> </a:t>
            </a:r>
            <a:r>
              <a:rPr lang="en-US" err="1"/>
              <a:t>dollendis</a:t>
            </a:r>
            <a:r>
              <a:rPr lang="en-US"/>
              <a:t> as </a:t>
            </a:r>
            <a:r>
              <a:rPr lang="en-US" err="1"/>
              <a:t>autestiatur</a:t>
            </a:r>
            <a:r>
              <a:rPr lang="en-US"/>
              <a:t>. </a:t>
            </a:r>
          </a:p>
        </p:txBody>
      </p:sp>
      <p:sp>
        <p:nvSpPr>
          <p:cNvPr id="19" name="Text Placeholder 4">
            <a:extLst>
              <a:ext uri="{FF2B5EF4-FFF2-40B4-BE49-F238E27FC236}">
                <a16:creationId xmlns:a16="http://schemas.microsoft.com/office/drawing/2014/main" id="{D52482AC-A354-B546-9AAD-B3E02851204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286809" y="2593749"/>
            <a:ext cx="3618381" cy="205966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1765"/>
              </a:lnSpc>
              <a:spcBef>
                <a:spcPts val="0"/>
              </a:spcBef>
              <a:buFont typeface="Arial" panose="020B0604020202020204" pitchFamily="34" charset="0"/>
              <a:buNone/>
              <a:defRPr sz="1372" b="0" i="0" spc="0">
                <a:solidFill>
                  <a:srgbClr val="000000"/>
                </a:solidFill>
                <a:latin typeface="+mn-lt"/>
              </a:defRPr>
            </a:lvl1pPr>
            <a:lvl2pPr marL="0" indent="0">
              <a:lnSpc>
                <a:spcPts val="1765"/>
              </a:lnSpc>
              <a:spcBef>
                <a:spcPts val="0"/>
              </a:spcBef>
              <a:buNone/>
              <a:defRPr sz="1372">
                <a:solidFill>
                  <a:schemeClr val="tx1"/>
                </a:solidFill>
              </a:defRPr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lvl="0"/>
            <a:r>
              <a:rPr lang="en-US"/>
              <a:t>Body copy 14 </a:t>
            </a:r>
            <a:r>
              <a:rPr lang="en-US" err="1"/>
              <a:t>Cavorest</a:t>
            </a:r>
            <a:r>
              <a:rPr lang="en-US"/>
              <a:t> a </a:t>
            </a:r>
            <a:r>
              <a:rPr lang="en-US" err="1"/>
              <a:t>aut</a:t>
            </a:r>
            <a:r>
              <a:rPr lang="en-US"/>
              <a:t> arum </a:t>
            </a:r>
            <a:r>
              <a:rPr lang="en-US" err="1"/>
              <a:t>quam</a:t>
            </a:r>
            <a:r>
              <a:rPr lang="en-US"/>
              <a:t> id eat ape </a:t>
            </a:r>
            <a:r>
              <a:rPr lang="en-US" err="1"/>
              <a:t>est</a:t>
            </a:r>
            <a:r>
              <a:rPr lang="en-US"/>
              <a:t>, qui </a:t>
            </a:r>
            <a:r>
              <a:rPr lang="en-US" err="1"/>
              <a:t>sincit</a:t>
            </a:r>
            <a:r>
              <a:rPr lang="en-US"/>
              <a:t>, </a:t>
            </a:r>
            <a:r>
              <a:rPr lang="en-US" err="1"/>
              <a:t>omnimusdae</a:t>
            </a:r>
            <a:r>
              <a:rPr lang="en-US"/>
              <a:t>. </a:t>
            </a:r>
            <a:r>
              <a:rPr lang="en-US" err="1"/>
              <a:t>Icaecatur</a:t>
            </a:r>
            <a:r>
              <a:rPr lang="en-US"/>
              <a:t>. </a:t>
            </a:r>
            <a:r>
              <a:rPr lang="en-US" err="1"/>
              <a:t>Boribus</a:t>
            </a:r>
            <a:r>
              <a:rPr lang="en-US"/>
              <a:t> </a:t>
            </a:r>
            <a:r>
              <a:rPr lang="en-US" err="1"/>
              <a:t>sinctius</a:t>
            </a:r>
            <a:r>
              <a:rPr lang="en-US"/>
              <a:t> </a:t>
            </a:r>
            <a:r>
              <a:rPr lang="en-US" err="1"/>
              <a:t>nimaxime</a:t>
            </a:r>
            <a:r>
              <a:rPr lang="en-US"/>
              <a:t> </a:t>
            </a:r>
            <a:r>
              <a:rPr lang="en-US" err="1"/>
              <a:t>nonsequibus</a:t>
            </a:r>
            <a:r>
              <a:rPr lang="en-US"/>
              <a:t> </a:t>
            </a:r>
            <a:r>
              <a:rPr lang="en-US" err="1"/>
              <a:t>dollendis</a:t>
            </a:r>
            <a:r>
              <a:rPr lang="en-US"/>
              <a:t> as </a:t>
            </a:r>
            <a:r>
              <a:rPr lang="en-US" err="1"/>
              <a:t>autestiatur</a:t>
            </a:r>
            <a:r>
              <a:rPr lang="en-US"/>
              <a:t>. </a:t>
            </a:r>
          </a:p>
          <a:p>
            <a:pPr lvl="0"/>
            <a:endParaRPr lang="en-US"/>
          </a:p>
          <a:p>
            <a:pPr lvl="0"/>
            <a:r>
              <a:rPr lang="en-US"/>
              <a:t>Body copy 14 </a:t>
            </a:r>
            <a:r>
              <a:rPr lang="en-US" err="1"/>
              <a:t>Cavorest</a:t>
            </a:r>
            <a:r>
              <a:rPr lang="en-US"/>
              <a:t> a </a:t>
            </a:r>
            <a:r>
              <a:rPr lang="en-US" err="1"/>
              <a:t>aut</a:t>
            </a:r>
            <a:r>
              <a:rPr lang="en-US"/>
              <a:t> arum </a:t>
            </a:r>
            <a:r>
              <a:rPr lang="en-US" err="1"/>
              <a:t>quam</a:t>
            </a:r>
            <a:r>
              <a:rPr lang="en-US"/>
              <a:t> id eat ape </a:t>
            </a:r>
            <a:r>
              <a:rPr lang="en-US" err="1"/>
              <a:t>est</a:t>
            </a:r>
            <a:r>
              <a:rPr lang="en-US"/>
              <a:t>, qui </a:t>
            </a:r>
            <a:r>
              <a:rPr lang="en-US" err="1"/>
              <a:t>sincit</a:t>
            </a:r>
            <a:r>
              <a:rPr lang="en-US"/>
              <a:t>, </a:t>
            </a:r>
            <a:r>
              <a:rPr lang="en-US" err="1"/>
              <a:t>omnimusdae</a:t>
            </a:r>
            <a:r>
              <a:rPr lang="en-US"/>
              <a:t>. </a:t>
            </a:r>
            <a:r>
              <a:rPr lang="en-US" err="1"/>
              <a:t>Icaecatur</a:t>
            </a:r>
            <a:r>
              <a:rPr lang="en-US"/>
              <a:t>. </a:t>
            </a:r>
            <a:r>
              <a:rPr lang="en-US" err="1"/>
              <a:t>Boribus</a:t>
            </a:r>
            <a:r>
              <a:rPr lang="en-US"/>
              <a:t> </a:t>
            </a:r>
            <a:r>
              <a:rPr lang="en-US" err="1"/>
              <a:t>sinctius</a:t>
            </a:r>
            <a:r>
              <a:rPr lang="en-US"/>
              <a:t> </a:t>
            </a:r>
            <a:r>
              <a:rPr lang="en-US" err="1"/>
              <a:t>nimaxime</a:t>
            </a:r>
            <a:r>
              <a:rPr lang="en-US"/>
              <a:t> </a:t>
            </a:r>
            <a:r>
              <a:rPr lang="en-US" err="1"/>
              <a:t>nonsequibus</a:t>
            </a:r>
            <a:r>
              <a:rPr lang="en-US"/>
              <a:t> </a:t>
            </a:r>
            <a:r>
              <a:rPr lang="en-US" err="1"/>
              <a:t>dollendis</a:t>
            </a:r>
            <a:r>
              <a:rPr lang="en-US"/>
              <a:t> as </a:t>
            </a:r>
            <a:r>
              <a:rPr lang="en-US" err="1"/>
              <a:t>autestiatur</a:t>
            </a:r>
            <a:r>
              <a:rPr lang="en-US"/>
              <a:t>. </a:t>
            </a:r>
          </a:p>
        </p:txBody>
      </p:sp>
    </p:spTree>
    <p:extLst>
      <p:ext uri="{BB962C8B-B14F-4D97-AF65-F5344CB8AC3E}">
        <p14:creationId xmlns:p14="http://schemas.microsoft.com/office/powerpoint/2010/main" val="1179090537"/>
      </p:ext>
    </p:extLst>
  </p:cSld>
  <p:clrMapOvr>
    <a:masterClrMapping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option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1"/>
          <a:stretch/>
        </p:blipFill>
        <p:spPr>
          <a:xfrm>
            <a:off x="8144083" y="1599720"/>
            <a:ext cx="3609417" cy="3103720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1"/>
          <a:stretch/>
        </p:blipFill>
        <p:spPr>
          <a:xfrm>
            <a:off x="4309002" y="1599721"/>
            <a:ext cx="3612531" cy="3099394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64957" y="1599722"/>
            <a:ext cx="3609417" cy="3108047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5995" y="620428"/>
            <a:ext cx="11306469" cy="40313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lnSpc>
                <a:spcPts val="3137"/>
              </a:lnSpc>
              <a:defRPr sz="2745">
                <a:solidFill>
                  <a:srgbClr val="000000"/>
                </a:solidFill>
              </a:defRPr>
            </a:lvl1pPr>
          </a:lstStyle>
          <a:p>
            <a:r>
              <a:rPr lang="en-US"/>
              <a:t>Text option 3: three columns images and text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455995" y="4927922"/>
            <a:ext cx="3618381" cy="2162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1765"/>
              </a:lnSpc>
              <a:spcBef>
                <a:spcPts val="1176"/>
              </a:spcBef>
              <a:buNone/>
              <a:defRPr lang="en-US" sz="1372" b="0" kern="1200" spc="0" baseline="0" dirty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marR="0" indent="0" algn="l" defTabSz="914367" rtl="0" eaLnBrk="1" fontAlgn="auto" latinLnBrk="0" hangingPunct="1">
              <a:lnSpc>
                <a:spcPts val="1765"/>
              </a:lnSpc>
              <a:spcBef>
                <a:spcPts val="441"/>
              </a:spcBef>
              <a:spcAft>
                <a:spcPts val="0"/>
              </a:spcAft>
              <a:buClrTx/>
              <a:buSzPct val="90000"/>
              <a:buFont typeface="Arial" panose="020B0604020202020204" pitchFamily="34" charset="0"/>
              <a:buNone/>
              <a:tabLst/>
              <a:defRPr sz="1372">
                <a:solidFill>
                  <a:srgbClr val="000000"/>
                </a:solidFill>
              </a:defRPr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>
              <a:spcBef>
                <a:spcPts val="1200"/>
              </a:spcBef>
            </a:pPr>
            <a:r>
              <a:rPr lang="en-US" b="0">
                <a:solidFill>
                  <a:schemeClr val="tx2"/>
                </a:solidFill>
                <a:latin typeface="+mj-lt"/>
              </a:rPr>
              <a:t>Paragraph title Segoe UI </a:t>
            </a:r>
            <a:r>
              <a:rPr lang="en-US" b="0" err="1">
                <a:solidFill>
                  <a:schemeClr val="tx2"/>
                </a:solidFill>
                <a:latin typeface="+mj-lt"/>
              </a:rPr>
              <a:t>Semibold</a:t>
            </a:r>
            <a:r>
              <a:rPr lang="en-US" b="0">
                <a:solidFill>
                  <a:schemeClr val="tx2"/>
                </a:solidFill>
                <a:latin typeface="+mj-lt"/>
              </a:rPr>
              <a:t> 14/18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8144083" y="4927922"/>
            <a:ext cx="3618381" cy="2162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1765"/>
              </a:lnSpc>
              <a:spcBef>
                <a:spcPts val="1176"/>
              </a:spcBef>
              <a:buNone/>
              <a:defRPr lang="en-US" sz="1372" b="0" kern="1200" spc="0" baseline="0" dirty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marR="0" indent="0" algn="l" defTabSz="914367" rtl="0" eaLnBrk="1" fontAlgn="auto" latinLnBrk="0" hangingPunct="1">
              <a:lnSpc>
                <a:spcPts val="1765"/>
              </a:lnSpc>
              <a:spcBef>
                <a:spcPts val="441"/>
              </a:spcBef>
              <a:spcAft>
                <a:spcPts val="0"/>
              </a:spcAft>
              <a:buClrTx/>
              <a:buSzPct val="90000"/>
              <a:buFont typeface="Arial" panose="020B0604020202020204" pitchFamily="34" charset="0"/>
              <a:buNone/>
              <a:tabLst/>
              <a:defRPr sz="1372">
                <a:solidFill>
                  <a:srgbClr val="000000"/>
                </a:solidFill>
              </a:defRPr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>
              <a:spcBef>
                <a:spcPts val="1200"/>
              </a:spcBef>
            </a:pPr>
            <a:r>
              <a:rPr lang="en-US" b="0">
                <a:solidFill>
                  <a:schemeClr val="tx2"/>
                </a:solidFill>
                <a:latin typeface="+mj-lt"/>
              </a:rPr>
              <a:t>Paragraph title Segoe UI </a:t>
            </a:r>
            <a:r>
              <a:rPr lang="en-US" b="0" err="1">
                <a:solidFill>
                  <a:schemeClr val="tx2"/>
                </a:solidFill>
                <a:latin typeface="+mj-lt"/>
              </a:rPr>
              <a:t>Semibold</a:t>
            </a:r>
            <a:r>
              <a:rPr lang="en-US" b="0">
                <a:solidFill>
                  <a:schemeClr val="tx2"/>
                </a:solidFill>
                <a:latin typeface="+mj-lt"/>
              </a:rPr>
              <a:t> 14/18</a:t>
            </a:r>
          </a:p>
        </p:txBody>
      </p:sp>
      <p:sp>
        <p:nvSpPr>
          <p:cNvPr id="32" name="Text Placeholder 4">
            <a:extLst>
              <a:ext uri="{FF2B5EF4-FFF2-40B4-BE49-F238E27FC236}">
                <a16:creationId xmlns:a16="http://schemas.microsoft.com/office/drawing/2014/main" id="{197742EC-5845-4BB1-84A3-00C1CF89012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303151" y="4927922"/>
            <a:ext cx="3618381" cy="2162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1765"/>
              </a:lnSpc>
              <a:spcBef>
                <a:spcPts val="1176"/>
              </a:spcBef>
              <a:buNone/>
              <a:defRPr lang="en-US" sz="1372" b="0" kern="1200" spc="0" baseline="0" dirty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marR="0" indent="0" algn="l" defTabSz="914367" rtl="0" eaLnBrk="1" fontAlgn="auto" latinLnBrk="0" hangingPunct="1">
              <a:lnSpc>
                <a:spcPts val="1765"/>
              </a:lnSpc>
              <a:spcBef>
                <a:spcPts val="441"/>
              </a:spcBef>
              <a:spcAft>
                <a:spcPts val="0"/>
              </a:spcAft>
              <a:buClrTx/>
              <a:buSzPct val="90000"/>
              <a:buFont typeface="Arial" panose="020B0604020202020204" pitchFamily="34" charset="0"/>
              <a:buNone/>
              <a:tabLst/>
              <a:defRPr sz="1372">
                <a:solidFill>
                  <a:srgbClr val="000000"/>
                </a:solidFill>
              </a:defRPr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>
              <a:spcBef>
                <a:spcPts val="1200"/>
              </a:spcBef>
            </a:pPr>
            <a:r>
              <a:rPr lang="en-US" b="0">
                <a:solidFill>
                  <a:schemeClr val="tx2"/>
                </a:solidFill>
                <a:latin typeface="+mj-lt"/>
              </a:rPr>
              <a:t>Paragraph title Segoe UI </a:t>
            </a:r>
            <a:r>
              <a:rPr lang="en-US" b="0" err="1">
                <a:solidFill>
                  <a:schemeClr val="tx2"/>
                </a:solidFill>
                <a:latin typeface="+mj-lt"/>
              </a:rPr>
              <a:t>Semibold</a:t>
            </a:r>
            <a:r>
              <a:rPr lang="en-US" b="0">
                <a:solidFill>
                  <a:schemeClr val="tx2"/>
                </a:solidFill>
                <a:latin typeface="+mj-lt"/>
              </a:rPr>
              <a:t> 14/18</a:t>
            </a:r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E501F238-570E-E648-9E57-DAA86A7A8ED3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465332" y="2882153"/>
            <a:ext cx="3609043" cy="543185"/>
          </a:xfrm>
          <a:prstGeom prst="rect">
            <a:avLst/>
          </a:prstGeo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Drop photo here</a:t>
            </a:r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5877AA6F-F5D0-8349-8D7F-7A036C53AFEC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4303151" y="2875700"/>
            <a:ext cx="3618381" cy="543185"/>
          </a:xfrm>
          <a:prstGeom prst="rect">
            <a:avLst/>
          </a:prstGeo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Drop photo here</a:t>
            </a:r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983A4321-3796-F044-9126-51A6AA308B77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8144082" y="2888935"/>
            <a:ext cx="3609043" cy="543185"/>
          </a:xfrm>
          <a:prstGeom prst="rect">
            <a:avLst/>
          </a:prstGeo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Drop photo here</a:t>
            </a:r>
          </a:p>
        </p:txBody>
      </p:sp>
      <p:sp>
        <p:nvSpPr>
          <p:cNvPr id="18" name="Text Box 3">
            <a:extLst>
              <a:ext uri="{FF2B5EF4-FFF2-40B4-BE49-F238E27FC236}">
                <a16:creationId xmlns:a16="http://schemas.microsoft.com/office/drawing/2014/main" id="{06DC0489-95B2-B74C-8FE4-80E75D67DE41}"/>
              </a:ext>
            </a:extLst>
          </p:cNvPr>
          <p:cNvSpPr txBox="1">
            <a:spLocks noChangeArrowheads="1"/>
          </p:cNvSpPr>
          <p:nvPr userDrawn="1"/>
        </p:nvSpPr>
        <p:spPr bwMode="blackWhite">
          <a:xfrm>
            <a:off x="454169" y="6455175"/>
            <a:ext cx="11306469" cy="211083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defTabSz="913924" eaLnBrk="0" hangingPunct="0"/>
            <a:r>
              <a:rPr lang="en-US" sz="686">
                <a:solidFill>
                  <a:schemeClr val="accent6">
                    <a:lumMod val="75000"/>
                  </a:schemeClr>
                </a:solidFill>
                <a:cs typeface="Segoe UI" pitchFamily="34" charset="0"/>
              </a:rPr>
              <a:t>©Microsoft Corporation									                                                                                                                                             Azure </a:t>
            </a:r>
          </a:p>
        </p:txBody>
      </p:sp>
      <p:sp>
        <p:nvSpPr>
          <p:cNvPr id="19" name="Text Placeholder 4">
            <a:extLst>
              <a:ext uri="{FF2B5EF4-FFF2-40B4-BE49-F238E27FC236}">
                <a16:creationId xmlns:a16="http://schemas.microsoft.com/office/drawing/2014/main" id="{F22038DD-9076-B34B-B54A-107DF3F024E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64957" y="5157653"/>
            <a:ext cx="3618381" cy="90550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1765"/>
              </a:lnSpc>
              <a:spcBef>
                <a:spcPts val="0"/>
              </a:spcBef>
              <a:buFont typeface="Arial" panose="020B0604020202020204" pitchFamily="34" charset="0"/>
              <a:buNone/>
              <a:defRPr sz="1372" b="0" i="0" spc="0">
                <a:solidFill>
                  <a:srgbClr val="000000"/>
                </a:solidFill>
                <a:latin typeface="+mn-lt"/>
              </a:defRPr>
            </a:lvl1pPr>
            <a:lvl2pPr marL="0" indent="0">
              <a:lnSpc>
                <a:spcPts val="1765"/>
              </a:lnSpc>
              <a:spcBef>
                <a:spcPts val="0"/>
              </a:spcBef>
              <a:buNone/>
              <a:defRPr sz="1372">
                <a:solidFill>
                  <a:schemeClr val="tx1"/>
                </a:solidFill>
              </a:defRPr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lvl="0"/>
            <a:r>
              <a:rPr lang="en-US"/>
              <a:t>Body copy 14 </a:t>
            </a:r>
            <a:r>
              <a:rPr lang="en-US" err="1"/>
              <a:t>Cavorest</a:t>
            </a:r>
            <a:r>
              <a:rPr lang="en-US"/>
              <a:t> a </a:t>
            </a:r>
            <a:r>
              <a:rPr lang="en-US" err="1"/>
              <a:t>aut</a:t>
            </a:r>
            <a:r>
              <a:rPr lang="en-US"/>
              <a:t> arum </a:t>
            </a:r>
            <a:r>
              <a:rPr lang="en-US" err="1"/>
              <a:t>quam</a:t>
            </a:r>
            <a:r>
              <a:rPr lang="en-US"/>
              <a:t> id eat ape </a:t>
            </a:r>
            <a:r>
              <a:rPr lang="en-US" err="1"/>
              <a:t>est</a:t>
            </a:r>
            <a:r>
              <a:rPr lang="en-US"/>
              <a:t>, qui </a:t>
            </a:r>
            <a:r>
              <a:rPr lang="en-US" err="1"/>
              <a:t>sincit</a:t>
            </a:r>
            <a:r>
              <a:rPr lang="en-US"/>
              <a:t>, </a:t>
            </a:r>
            <a:r>
              <a:rPr lang="en-US" err="1"/>
              <a:t>omnimusdae</a:t>
            </a:r>
            <a:r>
              <a:rPr lang="en-US"/>
              <a:t>. </a:t>
            </a:r>
            <a:r>
              <a:rPr lang="en-US" err="1"/>
              <a:t>Icaecatur</a:t>
            </a:r>
            <a:r>
              <a:rPr lang="en-US"/>
              <a:t>. </a:t>
            </a:r>
            <a:r>
              <a:rPr lang="en-US" err="1"/>
              <a:t>Boribus</a:t>
            </a:r>
            <a:r>
              <a:rPr lang="en-US"/>
              <a:t> </a:t>
            </a:r>
            <a:r>
              <a:rPr lang="en-US" err="1"/>
              <a:t>sinctius</a:t>
            </a:r>
            <a:r>
              <a:rPr lang="en-US"/>
              <a:t> </a:t>
            </a:r>
            <a:r>
              <a:rPr lang="en-US" err="1"/>
              <a:t>nimaxime</a:t>
            </a:r>
            <a:r>
              <a:rPr lang="en-US"/>
              <a:t> </a:t>
            </a:r>
            <a:r>
              <a:rPr lang="en-US" err="1"/>
              <a:t>nonsequibus</a:t>
            </a:r>
            <a:r>
              <a:rPr lang="en-US"/>
              <a:t> </a:t>
            </a:r>
            <a:r>
              <a:rPr lang="en-US" err="1"/>
              <a:t>dollendis</a:t>
            </a:r>
            <a:r>
              <a:rPr lang="en-US"/>
              <a:t> as </a:t>
            </a:r>
            <a:r>
              <a:rPr lang="en-US" err="1"/>
              <a:t>autestiatur</a:t>
            </a:r>
            <a:r>
              <a:rPr lang="en-US"/>
              <a:t>. </a:t>
            </a:r>
          </a:p>
        </p:txBody>
      </p:sp>
      <p:sp>
        <p:nvSpPr>
          <p:cNvPr id="21" name="Text Placeholder 4">
            <a:extLst>
              <a:ext uri="{FF2B5EF4-FFF2-40B4-BE49-F238E27FC236}">
                <a16:creationId xmlns:a16="http://schemas.microsoft.com/office/drawing/2014/main" id="{B0C89B53-FA50-F248-AD0B-933DE098D70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306077" y="5157653"/>
            <a:ext cx="3618381" cy="90550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1765"/>
              </a:lnSpc>
              <a:spcBef>
                <a:spcPts val="0"/>
              </a:spcBef>
              <a:buFont typeface="Arial" panose="020B0604020202020204" pitchFamily="34" charset="0"/>
              <a:buNone/>
              <a:defRPr sz="1372" b="0" i="0" spc="0">
                <a:solidFill>
                  <a:srgbClr val="000000"/>
                </a:solidFill>
                <a:latin typeface="+mn-lt"/>
              </a:defRPr>
            </a:lvl1pPr>
            <a:lvl2pPr marL="0" indent="0">
              <a:lnSpc>
                <a:spcPts val="1765"/>
              </a:lnSpc>
              <a:spcBef>
                <a:spcPts val="0"/>
              </a:spcBef>
              <a:buNone/>
              <a:defRPr sz="1372">
                <a:solidFill>
                  <a:schemeClr val="tx1"/>
                </a:solidFill>
              </a:defRPr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lvl="0"/>
            <a:r>
              <a:rPr lang="en-US"/>
              <a:t>Body copy 14 </a:t>
            </a:r>
            <a:r>
              <a:rPr lang="en-US" err="1"/>
              <a:t>Cavorest</a:t>
            </a:r>
            <a:r>
              <a:rPr lang="en-US"/>
              <a:t> a </a:t>
            </a:r>
            <a:r>
              <a:rPr lang="en-US" err="1"/>
              <a:t>aut</a:t>
            </a:r>
            <a:r>
              <a:rPr lang="en-US"/>
              <a:t> arum </a:t>
            </a:r>
            <a:r>
              <a:rPr lang="en-US" err="1"/>
              <a:t>quam</a:t>
            </a:r>
            <a:r>
              <a:rPr lang="en-US"/>
              <a:t> id eat ape </a:t>
            </a:r>
            <a:r>
              <a:rPr lang="en-US" err="1"/>
              <a:t>est</a:t>
            </a:r>
            <a:r>
              <a:rPr lang="en-US"/>
              <a:t>, qui </a:t>
            </a:r>
            <a:r>
              <a:rPr lang="en-US" err="1"/>
              <a:t>sincit</a:t>
            </a:r>
            <a:r>
              <a:rPr lang="en-US"/>
              <a:t>, </a:t>
            </a:r>
            <a:r>
              <a:rPr lang="en-US" err="1"/>
              <a:t>omnimusdae</a:t>
            </a:r>
            <a:r>
              <a:rPr lang="en-US"/>
              <a:t>. </a:t>
            </a:r>
            <a:r>
              <a:rPr lang="en-US" err="1"/>
              <a:t>Icaecatur</a:t>
            </a:r>
            <a:r>
              <a:rPr lang="en-US"/>
              <a:t>. </a:t>
            </a:r>
            <a:r>
              <a:rPr lang="en-US" err="1"/>
              <a:t>Boribus</a:t>
            </a:r>
            <a:r>
              <a:rPr lang="en-US"/>
              <a:t> </a:t>
            </a:r>
            <a:r>
              <a:rPr lang="en-US" err="1"/>
              <a:t>sinctius</a:t>
            </a:r>
            <a:r>
              <a:rPr lang="en-US"/>
              <a:t> </a:t>
            </a:r>
            <a:r>
              <a:rPr lang="en-US" err="1"/>
              <a:t>nimaxime</a:t>
            </a:r>
            <a:r>
              <a:rPr lang="en-US"/>
              <a:t> </a:t>
            </a:r>
            <a:r>
              <a:rPr lang="en-US" err="1"/>
              <a:t>nonsequibus</a:t>
            </a:r>
            <a:r>
              <a:rPr lang="en-US"/>
              <a:t> </a:t>
            </a:r>
            <a:r>
              <a:rPr lang="en-US" err="1"/>
              <a:t>dollendis</a:t>
            </a:r>
            <a:r>
              <a:rPr lang="en-US"/>
              <a:t> as </a:t>
            </a:r>
            <a:r>
              <a:rPr lang="en-US" err="1"/>
              <a:t>autestiatur</a:t>
            </a:r>
            <a:r>
              <a:rPr lang="en-US"/>
              <a:t>. </a:t>
            </a:r>
          </a:p>
        </p:txBody>
      </p:sp>
      <p:sp>
        <p:nvSpPr>
          <p:cNvPr id="22" name="Text Placeholder 4">
            <a:extLst>
              <a:ext uri="{FF2B5EF4-FFF2-40B4-BE49-F238E27FC236}">
                <a16:creationId xmlns:a16="http://schemas.microsoft.com/office/drawing/2014/main" id="{C11EA858-BBCA-2149-9368-C1FDBC6C8DFD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144083" y="5157653"/>
            <a:ext cx="3618381" cy="90550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1765"/>
              </a:lnSpc>
              <a:spcBef>
                <a:spcPts val="0"/>
              </a:spcBef>
              <a:buFont typeface="Arial" panose="020B0604020202020204" pitchFamily="34" charset="0"/>
              <a:buNone/>
              <a:defRPr sz="1372" b="0" i="0" spc="0">
                <a:solidFill>
                  <a:srgbClr val="000000"/>
                </a:solidFill>
                <a:latin typeface="+mn-lt"/>
              </a:defRPr>
            </a:lvl1pPr>
            <a:lvl2pPr marL="0" indent="0">
              <a:lnSpc>
                <a:spcPts val="1765"/>
              </a:lnSpc>
              <a:spcBef>
                <a:spcPts val="0"/>
              </a:spcBef>
              <a:buNone/>
              <a:defRPr sz="1372">
                <a:solidFill>
                  <a:schemeClr val="tx1"/>
                </a:solidFill>
              </a:defRPr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lvl="0"/>
            <a:r>
              <a:rPr lang="en-US"/>
              <a:t>Body copy 14 </a:t>
            </a:r>
            <a:r>
              <a:rPr lang="en-US" err="1"/>
              <a:t>Cavorest</a:t>
            </a:r>
            <a:r>
              <a:rPr lang="en-US"/>
              <a:t> a </a:t>
            </a:r>
            <a:r>
              <a:rPr lang="en-US" err="1"/>
              <a:t>aut</a:t>
            </a:r>
            <a:r>
              <a:rPr lang="en-US"/>
              <a:t> arum </a:t>
            </a:r>
            <a:r>
              <a:rPr lang="en-US" err="1"/>
              <a:t>quam</a:t>
            </a:r>
            <a:r>
              <a:rPr lang="en-US"/>
              <a:t> id eat ape </a:t>
            </a:r>
            <a:r>
              <a:rPr lang="en-US" err="1"/>
              <a:t>est</a:t>
            </a:r>
            <a:r>
              <a:rPr lang="en-US"/>
              <a:t>, qui </a:t>
            </a:r>
            <a:r>
              <a:rPr lang="en-US" err="1"/>
              <a:t>sincit</a:t>
            </a:r>
            <a:r>
              <a:rPr lang="en-US"/>
              <a:t>, </a:t>
            </a:r>
            <a:r>
              <a:rPr lang="en-US" err="1"/>
              <a:t>omnimusdae</a:t>
            </a:r>
            <a:r>
              <a:rPr lang="en-US"/>
              <a:t>. </a:t>
            </a:r>
            <a:r>
              <a:rPr lang="en-US" err="1"/>
              <a:t>Icaecatur</a:t>
            </a:r>
            <a:r>
              <a:rPr lang="en-US"/>
              <a:t>. </a:t>
            </a:r>
            <a:r>
              <a:rPr lang="en-US" err="1"/>
              <a:t>Boribus</a:t>
            </a:r>
            <a:r>
              <a:rPr lang="en-US"/>
              <a:t> </a:t>
            </a:r>
            <a:r>
              <a:rPr lang="en-US" err="1"/>
              <a:t>sinctius</a:t>
            </a:r>
            <a:r>
              <a:rPr lang="en-US"/>
              <a:t> </a:t>
            </a:r>
            <a:r>
              <a:rPr lang="en-US" err="1"/>
              <a:t>nimaxime</a:t>
            </a:r>
            <a:r>
              <a:rPr lang="en-US"/>
              <a:t> </a:t>
            </a:r>
            <a:r>
              <a:rPr lang="en-US" err="1"/>
              <a:t>nonsequibus</a:t>
            </a:r>
            <a:r>
              <a:rPr lang="en-US"/>
              <a:t> </a:t>
            </a:r>
            <a:r>
              <a:rPr lang="en-US" err="1"/>
              <a:t>dollendis</a:t>
            </a:r>
            <a:r>
              <a:rPr lang="en-US"/>
              <a:t> as </a:t>
            </a:r>
            <a:r>
              <a:rPr lang="en-US" err="1"/>
              <a:t>autestiatur</a:t>
            </a:r>
            <a:r>
              <a:rPr lang="en-US"/>
              <a:t>. </a:t>
            </a:r>
          </a:p>
        </p:txBody>
      </p:sp>
    </p:spTree>
    <p:extLst>
      <p:ext uri="{BB962C8B-B14F-4D97-AF65-F5344CB8AC3E}">
        <p14:creationId xmlns:p14="http://schemas.microsoft.com/office/powerpoint/2010/main" val="3751408822"/>
      </p:ext>
    </p:extLst>
  </p:cSld>
  <p:clrMapOvr>
    <a:masterClrMapping/>
  </p:clrMapOvr>
  <p:transition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5B06530E-E0A4-4F5C-A2AA-6F245836674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55995" y="880847"/>
            <a:ext cx="11653518" cy="482831"/>
          </a:xfrm>
        </p:spPr>
        <p:txBody>
          <a:bodyPr wrap="square" anchor="t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anose="05000000000000000000" pitchFamily="2" charset="2"/>
              <a:buNone/>
              <a:defRPr sz="1961" b="0">
                <a:solidFill>
                  <a:schemeClr val="tx2"/>
                </a:solidFill>
                <a:latin typeface="+mn-lt"/>
              </a:defRPr>
            </a:lvl1pPr>
            <a:lvl2pPr marL="250483" indent="0">
              <a:buFont typeface="Wingdings" panose="05000000000000000000" pitchFamily="2" charset="2"/>
              <a:buNone/>
              <a:defRPr sz="2353" b="0"/>
            </a:lvl2pPr>
            <a:lvl3pPr marL="441844" indent="0">
              <a:buFont typeface="Wingdings" panose="05000000000000000000" pitchFamily="2" charset="2"/>
              <a:buNone/>
              <a:tabLst/>
              <a:defRPr sz="2157" b="0"/>
            </a:lvl3pPr>
            <a:lvl4pPr marL="639430" indent="0">
              <a:buFont typeface="Wingdings" panose="05000000000000000000" pitchFamily="2" charset="2"/>
              <a:buNone/>
              <a:defRPr sz="2157" b="0"/>
            </a:lvl4pPr>
            <a:lvl5pPr marL="837015" indent="0">
              <a:buFont typeface="Wingdings" panose="05000000000000000000" pitchFamily="2" charset="2"/>
              <a:buNone/>
              <a:tabLst/>
              <a:defRPr sz="2157" b="0"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87130827-37E5-8B43-ACE0-0B31DF5D983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71842399"/>
      </p:ext>
    </p:extLst>
  </p:cSld>
  <p:clrMapOvr>
    <a:masterClrMapping/>
  </p:clrMapOvr>
  <p:transition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option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Content Placeholder 15"/>
          <p:cNvSpPr>
            <a:spLocks noGrp="1"/>
          </p:cNvSpPr>
          <p:nvPr>
            <p:ph sz="quarter" idx="25" hasCustomPrompt="1"/>
          </p:nvPr>
        </p:nvSpPr>
        <p:spPr>
          <a:xfrm>
            <a:off x="455995" y="2158886"/>
            <a:ext cx="1693247" cy="89585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961">
                <a:solidFill>
                  <a:srgbClr val="000000"/>
                </a:solidFill>
              </a:defRPr>
            </a:lvl1pPr>
          </a:lstStyle>
          <a:p>
            <a:pPr lvl="0"/>
            <a:r>
              <a:rPr lang="en-US"/>
              <a:t>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5995" y="620428"/>
            <a:ext cx="11306469" cy="40313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lnSpc>
                <a:spcPts val="3137"/>
              </a:lnSpc>
              <a:defRPr sz="2745">
                <a:solidFill>
                  <a:srgbClr val="000000"/>
                </a:solidFill>
              </a:defRPr>
            </a:lvl1pPr>
          </a:lstStyle>
          <a:p>
            <a:r>
              <a:rPr lang="en-US"/>
              <a:t>Text option 4: Six columns (numbered list)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455995" y="3167817"/>
            <a:ext cx="1693247" cy="44253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1765"/>
              </a:lnSpc>
              <a:spcBef>
                <a:spcPts val="882"/>
              </a:spcBef>
              <a:buNone/>
              <a:defRPr lang="en-US" sz="1372" b="0" kern="1200" spc="0" baseline="0" dirty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marR="0" indent="0" algn="l" defTabSz="914367" rtl="0" eaLnBrk="1" fontAlgn="auto" latinLnBrk="0" hangingPunct="1">
              <a:lnSpc>
                <a:spcPts val="1765"/>
              </a:lnSpc>
              <a:spcBef>
                <a:spcPts val="441"/>
              </a:spcBef>
              <a:spcAft>
                <a:spcPts val="0"/>
              </a:spcAft>
              <a:buClrTx/>
              <a:buSzPct val="90000"/>
              <a:buFont typeface="Arial" panose="020B0604020202020204" pitchFamily="34" charset="0"/>
              <a:buNone/>
              <a:tabLst/>
              <a:defRPr sz="1372">
                <a:solidFill>
                  <a:srgbClr val="000000"/>
                </a:solidFill>
              </a:defRPr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marL="0" marR="0" lvl="0" indent="0" algn="l" defTabSz="914367" rtl="0" eaLnBrk="1" fontAlgn="auto" latinLnBrk="0" hangingPunct="1">
              <a:lnSpc>
                <a:spcPts val="1765"/>
              </a:lnSpc>
              <a:spcBef>
                <a:spcPts val="882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</a:pPr>
            <a:r>
              <a:rPr lang="en-US"/>
              <a:t>Paragraph title Segoe </a:t>
            </a:r>
            <a:r>
              <a:rPr lang="en-US" err="1"/>
              <a:t>Semibold</a:t>
            </a:r>
            <a:r>
              <a:rPr lang="en-US"/>
              <a:t> 14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2378328" y="3167817"/>
            <a:ext cx="1693247" cy="44253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367" rtl="0" eaLnBrk="1" fontAlgn="auto" latinLnBrk="0" hangingPunct="1">
              <a:lnSpc>
                <a:spcPts val="1765"/>
              </a:lnSpc>
              <a:spcBef>
                <a:spcPts val="882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lang="en-US" sz="1372" b="0" kern="1200" spc="0" baseline="0" dirty="0" smtClean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marR="0" indent="0" algn="l" defTabSz="914367" rtl="0" eaLnBrk="1" fontAlgn="auto" latinLnBrk="0" hangingPunct="1">
              <a:lnSpc>
                <a:spcPts val="1765"/>
              </a:lnSpc>
              <a:spcBef>
                <a:spcPts val="441"/>
              </a:spcBef>
              <a:spcAft>
                <a:spcPts val="0"/>
              </a:spcAft>
              <a:buClrTx/>
              <a:buSzPct val="90000"/>
              <a:buFont typeface="Arial" panose="020B0604020202020204" pitchFamily="34" charset="0"/>
              <a:buNone/>
              <a:tabLst/>
              <a:defRPr sz="1372">
                <a:solidFill>
                  <a:srgbClr val="000000"/>
                </a:solidFill>
              </a:defRPr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marL="0" marR="0" lvl="0" indent="0" algn="l" defTabSz="914367" rtl="0" eaLnBrk="1" fontAlgn="auto" latinLnBrk="0" hangingPunct="1">
              <a:lnSpc>
                <a:spcPts val="1765"/>
              </a:lnSpc>
              <a:spcBef>
                <a:spcPts val="882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</a:pPr>
            <a:r>
              <a:rPr lang="en-US"/>
              <a:t>Paragraph title Segoe </a:t>
            </a:r>
            <a:r>
              <a:rPr lang="en-US" err="1"/>
              <a:t>Semibold</a:t>
            </a:r>
            <a:r>
              <a:rPr lang="en-US"/>
              <a:t> 14</a:t>
            </a:r>
          </a:p>
        </p:txBody>
      </p:sp>
      <p:sp>
        <p:nvSpPr>
          <p:cNvPr id="16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4300662" y="3167817"/>
            <a:ext cx="1693247" cy="44253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367" rtl="0" eaLnBrk="1" fontAlgn="auto" latinLnBrk="0" hangingPunct="1">
              <a:lnSpc>
                <a:spcPts val="1765"/>
              </a:lnSpc>
              <a:spcBef>
                <a:spcPts val="882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lang="en-US" sz="1372" b="0" kern="1200" spc="0" baseline="0" dirty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marR="0" indent="0" algn="l" defTabSz="914367" rtl="0" eaLnBrk="1" fontAlgn="auto" latinLnBrk="0" hangingPunct="1">
              <a:lnSpc>
                <a:spcPts val="1765"/>
              </a:lnSpc>
              <a:spcBef>
                <a:spcPts val="441"/>
              </a:spcBef>
              <a:spcAft>
                <a:spcPts val="0"/>
              </a:spcAft>
              <a:buClrTx/>
              <a:buSzPct val="90000"/>
              <a:buFont typeface="Arial" panose="020B0604020202020204" pitchFamily="34" charset="0"/>
              <a:buNone/>
              <a:tabLst/>
              <a:defRPr sz="1372">
                <a:solidFill>
                  <a:srgbClr val="000000"/>
                </a:solidFill>
              </a:defRPr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marL="0" marR="0" lvl="0" indent="0" algn="l" defTabSz="914367" rtl="0" eaLnBrk="1" fontAlgn="auto" latinLnBrk="0" hangingPunct="1">
              <a:lnSpc>
                <a:spcPts val="1765"/>
              </a:lnSpc>
              <a:spcBef>
                <a:spcPts val="882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</a:pPr>
            <a:r>
              <a:rPr lang="en-US"/>
              <a:t>Paragraph title Segoe </a:t>
            </a:r>
            <a:r>
              <a:rPr lang="en-US" err="1"/>
              <a:t>Semibold</a:t>
            </a:r>
            <a:r>
              <a:rPr lang="en-US"/>
              <a:t> 14</a:t>
            </a:r>
          </a:p>
        </p:txBody>
      </p:sp>
      <p:sp>
        <p:nvSpPr>
          <p:cNvPr id="18" name="Text Placeholder 4"/>
          <p:cNvSpPr>
            <a:spLocks noGrp="1"/>
          </p:cNvSpPr>
          <p:nvPr>
            <p:ph type="body" sz="quarter" idx="19" hasCustomPrompt="1"/>
          </p:nvPr>
        </p:nvSpPr>
        <p:spPr>
          <a:xfrm>
            <a:off x="6222995" y="3167817"/>
            <a:ext cx="1693247" cy="44253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367" rtl="0" eaLnBrk="1" fontAlgn="auto" latinLnBrk="0" hangingPunct="1">
              <a:lnSpc>
                <a:spcPts val="1765"/>
              </a:lnSpc>
              <a:spcBef>
                <a:spcPts val="882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lang="en-US" sz="1372" b="0" kern="1200" spc="0" baseline="0" dirty="0" smtClean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marR="0" indent="0" algn="l" defTabSz="914367" rtl="0" eaLnBrk="1" fontAlgn="auto" latinLnBrk="0" hangingPunct="1">
              <a:lnSpc>
                <a:spcPts val="1765"/>
              </a:lnSpc>
              <a:spcBef>
                <a:spcPts val="441"/>
              </a:spcBef>
              <a:spcAft>
                <a:spcPts val="0"/>
              </a:spcAft>
              <a:buClrTx/>
              <a:buSzPct val="90000"/>
              <a:buFont typeface="Arial" panose="020B0604020202020204" pitchFamily="34" charset="0"/>
              <a:buNone/>
              <a:tabLst/>
              <a:defRPr sz="1372">
                <a:solidFill>
                  <a:srgbClr val="000000"/>
                </a:solidFill>
              </a:defRPr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marL="0" marR="0" lvl="0" indent="0" algn="l" defTabSz="914367" rtl="0" eaLnBrk="1" fontAlgn="auto" latinLnBrk="0" hangingPunct="1">
              <a:lnSpc>
                <a:spcPts val="1765"/>
              </a:lnSpc>
              <a:spcBef>
                <a:spcPts val="882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</a:pPr>
            <a:r>
              <a:rPr lang="en-US"/>
              <a:t>Paragraph title Segoe </a:t>
            </a:r>
            <a:r>
              <a:rPr lang="en-US" err="1"/>
              <a:t>Semibold</a:t>
            </a:r>
            <a:r>
              <a:rPr lang="en-US"/>
              <a:t> 14</a:t>
            </a:r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21" hasCustomPrompt="1"/>
          </p:nvPr>
        </p:nvSpPr>
        <p:spPr>
          <a:xfrm>
            <a:off x="8145328" y="3167817"/>
            <a:ext cx="1693247" cy="44253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367" rtl="0" eaLnBrk="1" fontAlgn="auto" latinLnBrk="0" hangingPunct="1">
              <a:lnSpc>
                <a:spcPts val="1765"/>
              </a:lnSpc>
              <a:spcBef>
                <a:spcPts val="882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lang="en-US" sz="1372" b="0" kern="1200" spc="0" baseline="0" dirty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marR="0" indent="0" algn="l" defTabSz="914367" rtl="0" eaLnBrk="1" fontAlgn="auto" latinLnBrk="0" hangingPunct="1">
              <a:lnSpc>
                <a:spcPts val="1765"/>
              </a:lnSpc>
              <a:spcBef>
                <a:spcPts val="441"/>
              </a:spcBef>
              <a:spcAft>
                <a:spcPts val="0"/>
              </a:spcAft>
              <a:buClrTx/>
              <a:buSzPct val="90000"/>
              <a:buFont typeface="Arial" panose="020B0604020202020204" pitchFamily="34" charset="0"/>
              <a:buNone/>
              <a:tabLst/>
              <a:defRPr sz="1372">
                <a:solidFill>
                  <a:srgbClr val="000000"/>
                </a:solidFill>
              </a:defRPr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marL="0" marR="0" lvl="0" indent="0" algn="l" defTabSz="914367" rtl="0" eaLnBrk="1" fontAlgn="auto" latinLnBrk="0" hangingPunct="1">
              <a:lnSpc>
                <a:spcPts val="1765"/>
              </a:lnSpc>
              <a:spcBef>
                <a:spcPts val="882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</a:pPr>
            <a:r>
              <a:rPr lang="en-US"/>
              <a:t>Paragraph title Segoe </a:t>
            </a:r>
            <a:r>
              <a:rPr lang="en-US" err="1"/>
              <a:t>Semibold</a:t>
            </a:r>
            <a:r>
              <a:rPr lang="en-US"/>
              <a:t> 14</a:t>
            </a:r>
          </a:p>
        </p:txBody>
      </p:sp>
      <p:sp>
        <p:nvSpPr>
          <p:cNvPr id="22" name="Text Placeholder 4"/>
          <p:cNvSpPr>
            <a:spLocks noGrp="1"/>
          </p:cNvSpPr>
          <p:nvPr>
            <p:ph type="body" sz="quarter" idx="23" hasCustomPrompt="1"/>
          </p:nvPr>
        </p:nvSpPr>
        <p:spPr>
          <a:xfrm>
            <a:off x="10067660" y="3167817"/>
            <a:ext cx="1693247" cy="44253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367" rtl="0" eaLnBrk="1" fontAlgn="auto" latinLnBrk="0" hangingPunct="1">
              <a:lnSpc>
                <a:spcPts val="1765"/>
              </a:lnSpc>
              <a:spcBef>
                <a:spcPts val="882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lang="en-US" sz="1372" b="0" kern="1200" spc="0" baseline="0" dirty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marR="0" indent="0" algn="l" defTabSz="914367" rtl="0" eaLnBrk="1" fontAlgn="auto" latinLnBrk="0" hangingPunct="1">
              <a:lnSpc>
                <a:spcPts val="1765"/>
              </a:lnSpc>
              <a:spcBef>
                <a:spcPts val="441"/>
              </a:spcBef>
              <a:spcAft>
                <a:spcPts val="0"/>
              </a:spcAft>
              <a:buClrTx/>
              <a:buSzPct val="90000"/>
              <a:buFont typeface="Arial" panose="020B0604020202020204" pitchFamily="34" charset="0"/>
              <a:buNone/>
              <a:tabLst/>
              <a:defRPr sz="1372">
                <a:solidFill>
                  <a:srgbClr val="000000"/>
                </a:solidFill>
              </a:defRPr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marL="0" marR="0" lvl="0" indent="0" algn="l" defTabSz="914367" rtl="0" eaLnBrk="1" fontAlgn="auto" latinLnBrk="0" hangingPunct="1">
              <a:lnSpc>
                <a:spcPts val="1765"/>
              </a:lnSpc>
              <a:spcBef>
                <a:spcPts val="882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</a:pPr>
            <a:r>
              <a:rPr lang="en-US"/>
              <a:t>Paragraph title Segoe </a:t>
            </a:r>
            <a:r>
              <a:rPr lang="en-US" err="1"/>
              <a:t>Semibold</a:t>
            </a:r>
            <a:r>
              <a:rPr lang="en-US"/>
              <a:t> 14</a:t>
            </a:r>
          </a:p>
        </p:txBody>
      </p:sp>
      <p:sp>
        <p:nvSpPr>
          <p:cNvPr id="25" name="Content Placeholder 15"/>
          <p:cNvSpPr>
            <a:spLocks noGrp="1"/>
          </p:cNvSpPr>
          <p:nvPr>
            <p:ph sz="quarter" idx="26" hasCustomPrompt="1"/>
          </p:nvPr>
        </p:nvSpPr>
        <p:spPr>
          <a:xfrm>
            <a:off x="2378328" y="2158886"/>
            <a:ext cx="1693247" cy="89585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961">
                <a:solidFill>
                  <a:srgbClr val="000000"/>
                </a:solidFill>
              </a:defRPr>
            </a:lvl1pPr>
          </a:lstStyle>
          <a:p>
            <a:pPr lvl="0"/>
            <a:r>
              <a:rPr lang="en-US"/>
              <a:t>Picture</a:t>
            </a:r>
          </a:p>
        </p:txBody>
      </p:sp>
      <p:sp>
        <p:nvSpPr>
          <p:cNvPr id="26" name="Content Placeholder 15"/>
          <p:cNvSpPr>
            <a:spLocks noGrp="1"/>
          </p:cNvSpPr>
          <p:nvPr>
            <p:ph sz="quarter" idx="27" hasCustomPrompt="1"/>
          </p:nvPr>
        </p:nvSpPr>
        <p:spPr>
          <a:xfrm>
            <a:off x="4300662" y="2158886"/>
            <a:ext cx="1693247" cy="89585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961">
                <a:solidFill>
                  <a:srgbClr val="000000"/>
                </a:solidFill>
              </a:defRPr>
            </a:lvl1pPr>
          </a:lstStyle>
          <a:p>
            <a:pPr lvl="0"/>
            <a:r>
              <a:rPr lang="en-US"/>
              <a:t>Picture</a:t>
            </a:r>
          </a:p>
        </p:txBody>
      </p:sp>
      <p:sp>
        <p:nvSpPr>
          <p:cNvPr id="27" name="Content Placeholder 15"/>
          <p:cNvSpPr>
            <a:spLocks noGrp="1"/>
          </p:cNvSpPr>
          <p:nvPr>
            <p:ph sz="quarter" idx="28" hasCustomPrompt="1"/>
          </p:nvPr>
        </p:nvSpPr>
        <p:spPr>
          <a:xfrm>
            <a:off x="6222995" y="2158886"/>
            <a:ext cx="1693247" cy="89585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961">
                <a:solidFill>
                  <a:srgbClr val="000000"/>
                </a:solidFill>
              </a:defRPr>
            </a:lvl1pPr>
          </a:lstStyle>
          <a:p>
            <a:pPr lvl="0"/>
            <a:r>
              <a:rPr lang="en-US"/>
              <a:t>Picture</a:t>
            </a:r>
          </a:p>
        </p:txBody>
      </p:sp>
      <p:sp>
        <p:nvSpPr>
          <p:cNvPr id="28" name="Content Placeholder 15"/>
          <p:cNvSpPr>
            <a:spLocks noGrp="1"/>
          </p:cNvSpPr>
          <p:nvPr>
            <p:ph sz="quarter" idx="29" hasCustomPrompt="1"/>
          </p:nvPr>
        </p:nvSpPr>
        <p:spPr>
          <a:xfrm>
            <a:off x="8145328" y="2158886"/>
            <a:ext cx="1693247" cy="89585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961">
                <a:solidFill>
                  <a:srgbClr val="000000"/>
                </a:solidFill>
              </a:defRPr>
            </a:lvl1pPr>
          </a:lstStyle>
          <a:p>
            <a:pPr lvl="0"/>
            <a:r>
              <a:rPr lang="en-US"/>
              <a:t>Picture</a:t>
            </a:r>
          </a:p>
        </p:txBody>
      </p:sp>
      <p:sp>
        <p:nvSpPr>
          <p:cNvPr id="29" name="Content Placeholder 15"/>
          <p:cNvSpPr>
            <a:spLocks noGrp="1"/>
          </p:cNvSpPr>
          <p:nvPr>
            <p:ph sz="quarter" idx="30" hasCustomPrompt="1"/>
          </p:nvPr>
        </p:nvSpPr>
        <p:spPr>
          <a:xfrm>
            <a:off x="10067660" y="2158886"/>
            <a:ext cx="1693247" cy="89585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961">
                <a:solidFill>
                  <a:srgbClr val="000000"/>
                </a:solidFill>
              </a:defRPr>
            </a:lvl1pPr>
          </a:lstStyle>
          <a:p>
            <a:pPr lvl="0"/>
            <a:r>
              <a:rPr lang="en-US"/>
              <a:t>Pictur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4FF16C0-0541-41AD-98F7-A469609E8DC6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55995" y="2025026"/>
            <a:ext cx="256787" cy="258381"/>
          </a:xfrm>
          <a:prstGeom prst="rect">
            <a:avLst/>
          </a:prstGeom>
        </p:spPr>
        <p:txBody>
          <a:bodyPr tIns="0" bIns="0"/>
          <a:lstStyle>
            <a:lvl1pPr marL="0" algn="l" defTabSz="914102" rtl="0" eaLnBrk="1" fontAlgn="base" latinLnBrk="0" hangingPunct="1">
              <a:lnSpc>
                <a:spcPts val="2353"/>
              </a:lnSpc>
              <a:spcBef>
                <a:spcPct val="0"/>
              </a:spcBef>
              <a:spcAft>
                <a:spcPct val="0"/>
              </a:spcAft>
              <a:defRPr lang="en-US" sz="980" kern="1200" dirty="0" smtClean="0">
                <a:solidFill>
                  <a:schemeClr val="tx1"/>
                </a:solidFill>
                <a:latin typeface="+mj-lt"/>
                <a:ea typeface="Segoe UI" pitchFamily="34" charset="0"/>
                <a:cs typeface="Segoe UI" pitchFamily="34" charset="0"/>
              </a:defRPr>
            </a:lvl1pPr>
            <a:lvl2pPr marL="0" algn="l" defTabSz="914102" rtl="0" eaLnBrk="1" fontAlgn="base" latinLnBrk="0" hangingPunct="1">
              <a:lnSpc>
                <a:spcPts val="2353"/>
              </a:lnSpc>
              <a:spcBef>
                <a:spcPct val="0"/>
              </a:spcBef>
              <a:spcAft>
                <a:spcPct val="0"/>
              </a:spcAft>
              <a:defRPr lang="en-US" sz="980" kern="1200" dirty="0" smtClean="0">
                <a:solidFill>
                  <a:schemeClr val="tx1"/>
                </a:solidFill>
                <a:latin typeface="+mj-lt"/>
                <a:ea typeface="Segoe UI" pitchFamily="34" charset="0"/>
                <a:cs typeface="Segoe UI" pitchFamily="34" charset="0"/>
              </a:defRPr>
            </a:lvl2pPr>
            <a:lvl3pPr marL="0" algn="l" defTabSz="914102" rtl="0" eaLnBrk="1" fontAlgn="base" latinLnBrk="0" hangingPunct="1">
              <a:lnSpc>
                <a:spcPts val="2353"/>
              </a:lnSpc>
              <a:spcBef>
                <a:spcPct val="0"/>
              </a:spcBef>
              <a:spcAft>
                <a:spcPct val="0"/>
              </a:spcAft>
              <a:defRPr lang="en-US" sz="980" kern="1200" dirty="0" smtClean="0">
                <a:solidFill>
                  <a:schemeClr val="tx1"/>
                </a:solidFill>
                <a:latin typeface="+mj-lt"/>
                <a:ea typeface="Segoe UI" pitchFamily="34" charset="0"/>
                <a:cs typeface="Segoe UI" pitchFamily="34" charset="0"/>
              </a:defRPr>
            </a:lvl3pPr>
            <a:lvl4pPr marL="0" algn="l" defTabSz="914102" rtl="0" eaLnBrk="1" fontAlgn="base" latinLnBrk="0" hangingPunct="1">
              <a:lnSpc>
                <a:spcPts val="2353"/>
              </a:lnSpc>
              <a:spcBef>
                <a:spcPct val="0"/>
              </a:spcBef>
              <a:spcAft>
                <a:spcPct val="0"/>
              </a:spcAft>
              <a:defRPr lang="en-US" sz="980" kern="1200" dirty="0" smtClean="0">
                <a:solidFill>
                  <a:schemeClr val="tx1"/>
                </a:solidFill>
                <a:latin typeface="+mj-lt"/>
                <a:ea typeface="Segoe UI" pitchFamily="34" charset="0"/>
                <a:cs typeface="Segoe UI" pitchFamily="34" charset="0"/>
              </a:defRPr>
            </a:lvl4pPr>
            <a:lvl5pPr marL="0" algn="l" defTabSz="914102" rtl="0" eaLnBrk="1" fontAlgn="base" latinLnBrk="0" hangingPunct="1">
              <a:lnSpc>
                <a:spcPts val="2353"/>
              </a:lnSpc>
              <a:spcBef>
                <a:spcPct val="0"/>
              </a:spcBef>
              <a:spcAft>
                <a:spcPct val="0"/>
              </a:spcAft>
              <a:defRPr lang="en-US" sz="980" kern="1200" dirty="0">
                <a:solidFill>
                  <a:schemeClr val="tx1"/>
                </a:solidFill>
                <a:latin typeface="+mj-lt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/>
              <a:t>1.</a:t>
            </a:r>
          </a:p>
        </p:txBody>
      </p:sp>
      <p:sp>
        <p:nvSpPr>
          <p:cNvPr id="37" name="Text Placeholder 3">
            <a:extLst>
              <a:ext uri="{FF2B5EF4-FFF2-40B4-BE49-F238E27FC236}">
                <a16:creationId xmlns:a16="http://schemas.microsoft.com/office/drawing/2014/main" id="{95171A5B-905D-4832-B11A-13594619F33F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2379573" y="2025026"/>
            <a:ext cx="256787" cy="258381"/>
          </a:xfrm>
          <a:prstGeom prst="rect">
            <a:avLst/>
          </a:prstGeom>
        </p:spPr>
        <p:txBody>
          <a:bodyPr tIns="0" bIns="0"/>
          <a:lstStyle>
            <a:lvl1pPr marL="0" algn="l" defTabSz="914102" rtl="0" eaLnBrk="1" fontAlgn="base" latinLnBrk="0" hangingPunct="1">
              <a:lnSpc>
                <a:spcPts val="2353"/>
              </a:lnSpc>
              <a:spcBef>
                <a:spcPct val="0"/>
              </a:spcBef>
              <a:spcAft>
                <a:spcPct val="0"/>
              </a:spcAft>
              <a:defRPr lang="en-US" sz="980" kern="1200" dirty="0" smtClean="0">
                <a:solidFill>
                  <a:srgbClr val="000000"/>
                </a:solidFill>
                <a:latin typeface="+mj-lt"/>
                <a:ea typeface="Segoe UI" pitchFamily="34" charset="0"/>
                <a:cs typeface="Segoe UI" pitchFamily="34" charset="0"/>
              </a:defRPr>
            </a:lvl1pPr>
            <a:lvl2pPr marL="0" algn="l" defTabSz="914102" rtl="0" eaLnBrk="1" fontAlgn="base" latinLnBrk="0" hangingPunct="1">
              <a:lnSpc>
                <a:spcPts val="2353"/>
              </a:lnSpc>
              <a:spcBef>
                <a:spcPct val="0"/>
              </a:spcBef>
              <a:spcAft>
                <a:spcPct val="0"/>
              </a:spcAft>
              <a:defRPr lang="en-US" sz="980" kern="1200" dirty="0" smtClean="0">
                <a:solidFill>
                  <a:schemeClr val="tx1"/>
                </a:solidFill>
                <a:latin typeface="+mj-lt"/>
                <a:ea typeface="Segoe UI" pitchFamily="34" charset="0"/>
                <a:cs typeface="Segoe UI" pitchFamily="34" charset="0"/>
              </a:defRPr>
            </a:lvl2pPr>
            <a:lvl3pPr marL="0" algn="l" defTabSz="914102" rtl="0" eaLnBrk="1" fontAlgn="base" latinLnBrk="0" hangingPunct="1">
              <a:lnSpc>
                <a:spcPts val="2353"/>
              </a:lnSpc>
              <a:spcBef>
                <a:spcPct val="0"/>
              </a:spcBef>
              <a:spcAft>
                <a:spcPct val="0"/>
              </a:spcAft>
              <a:defRPr lang="en-US" sz="980" kern="1200" dirty="0" smtClean="0">
                <a:solidFill>
                  <a:schemeClr val="tx1"/>
                </a:solidFill>
                <a:latin typeface="+mj-lt"/>
                <a:ea typeface="Segoe UI" pitchFamily="34" charset="0"/>
                <a:cs typeface="Segoe UI" pitchFamily="34" charset="0"/>
              </a:defRPr>
            </a:lvl3pPr>
            <a:lvl4pPr marL="0" algn="l" defTabSz="914102" rtl="0" eaLnBrk="1" fontAlgn="base" latinLnBrk="0" hangingPunct="1">
              <a:lnSpc>
                <a:spcPts val="2353"/>
              </a:lnSpc>
              <a:spcBef>
                <a:spcPct val="0"/>
              </a:spcBef>
              <a:spcAft>
                <a:spcPct val="0"/>
              </a:spcAft>
              <a:defRPr lang="en-US" sz="980" kern="1200" dirty="0" smtClean="0">
                <a:solidFill>
                  <a:schemeClr val="tx1"/>
                </a:solidFill>
                <a:latin typeface="+mj-lt"/>
                <a:ea typeface="Segoe UI" pitchFamily="34" charset="0"/>
                <a:cs typeface="Segoe UI" pitchFamily="34" charset="0"/>
              </a:defRPr>
            </a:lvl4pPr>
            <a:lvl5pPr marL="0" algn="l" defTabSz="914102" rtl="0" eaLnBrk="1" fontAlgn="base" latinLnBrk="0" hangingPunct="1">
              <a:lnSpc>
                <a:spcPts val="2353"/>
              </a:lnSpc>
              <a:spcBef>
                <a:spcPct val="0"/>
              </a:spcBef>
              <a:spcAft>
                <a:spcPct val="0"/>
              </a:spcAft>
              <a:defRPr lang="en-US" sz="980" kern="1200" dirty="0">
                <a:solidFill>
                  <a:schemeClr val="tx1"/>
                </a:solidFill>
                <a:latin typeface="+mj-lt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/>
              <a:t>2.</a:t>
            </a:r>
          </a:p>
        </p:txBody>
      </p:sp>
      <p:sp>
        <p:nvSpPr>
          <p:cNvPr id="38" name="Text Placeholder 3">
            <a:extLst>
              <a:ext uri="{FF2B5EF4-FFF2-40B4-BE49-F238E27FC236}">
                <a16:creationId xmlns:a16="http://schemas.microsoft.com/office/drawing/2014/main" id="{DDBE933A-166C-4934-8425-2A89AAA211E9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4303151" y="2025026"/>
            <a:ext cx="256787" cy="258381"/>
          </a:xfrm>
          <a:prstGeom prst="rect">
            <a:avLst/>
          </a:prstGeom>
        </p:spPr>
        <p:txBody>
          <a:bodyPr tIns="0" bIns="0"/>
          <a:lstStyle>
            <a:lvl1pPr marL="0" algn="l" defTabSz="914102" rtl="0" eaLnBrk="1" fontAlgn="base" latinLnBrk="0" hangingPunct="1">
              <a:lnSpc>
                <a:spcPts val="2353"/>
              </a:lnSpc>
              <a:spcBef>
                <a:spcPct val="0"/>
              </a:spcBef>
              <a:spcAft>
                <a:spcPct val="0"/>
              </a:spcAft>
              <a:defRPr lang="en-US" sz="980" kern="1200" dirty="0" smtClean="0">
                <a:solidFill>
                  <a:srgbClr val="000000"/>
                </a:solidFill>
                <a:latin typeface="+mj-lt"/>
                <a:ea typeface="Segoe UI" pitchFamily="34" charset="0"/>
                <a:cs typeface="Segoe UI" pitchFamily="34" charset="0"/>
              </a:defRPr>
            </a:lvl1pPr>
            <a:lvl2pPr marL="0" algn="l" defTabSz="914102" rtl="0" eaLnBrk="1" fontAlgn="base" latinLnBrk="0" hangingPunct="1">
              <a:lnSpc>
                <a:spcPts val="2353"/>
              </a:lnSpc>
              <a:spcBef>
                <a:spcPct val="0"/>
              </a:spcBef>
              <a:spcAft>
                <a:spcPct val="0"/>
              </a:spcAft>
              <a:defRPr lang="en-US" sz="980" kern="1200" dirty="0" smtClean="0">
                <a:solidFill>
                  <a:schemeClr val="tx1"/>
                </a:solidFill>
                <a:latin typeface="+mj-lt"/>
                <a:ea typeface="Segoe UI" pitchFamily="34" charset="0"/>
                <a:cs typeface="Segoe UI" pitchFamily="34" charset="0"/>
              </a:defRPr>
            </a:lvl2pPr>
            <a:lvl3pPr marL="0" algn="l" defTabSz="914102" rtl="0" eaLnBrk="1" fontAlgn="base" latinLnBrk="0" hangingPunct="1">
              <a:lnSpc>
                <a:spcPts val="2353"/>
              </a:lnSpc>
              <a:spcBef>
                <a:spcPct val="0"/>
              </a:spcBef>
              <a:spcAft>
                <a:spcPct val="0"/>
              </a:spcAft>
              <a:defRPr lang="en-US" sz="980" kern="1200" dirty="0" smtClean="0">
                <a:solidFill>
                  <a:schemeClr val="tx1"/>
                </a:solidFill>
                <a:latin typeface="+mj-lt"/>
                <a:ea typeface="Segoe UI" pitchFamily="34" charset="0"/>
                <a:cs typeface="Segoe UI" pitchFamily="34" charset="0"/>
              </a:defRPr>
            </a:lvl3pPr>
            <a:lvl4pPr marL="0" algn="l" defTabSz="914102" rtl="0" eaLnBrk="1" fontAlgn="base" latinLnBrk="0" hangingPunct="1">
              <a:lnSpc>
                <a:spcPts val="2353"/>
              </a:lnSpc>
              <a:spcBef>
                <a:spcPct val="0"/>
              </a:spcBef>
              <a:spcAft>
                <a:spcPct val="0"/>
              </a:spcAft>
              <a:defRPr lang="en-US" sz="980" kern="1200" dirty="0" smtClean="0">
                <a:solidFill>
                  <a:schemeClr val="tx1"/>
                </a:solidFill>
                <a:latin typeface="+mj-lt"/>
                <a:ea typeface="Segoe UI" pitchFamily="34" charset="0"/>
                <a:cs typeface="Segoe UI" pitchFamily="34" charset="0"/>
              </a:defRPr>
            </a:lvl4pPr>
            <a:lvl5pPr marL="0" algn="l" defTabSz="914102" rtl="0" eaLnBrk="1" fontAlgn="base" latinLnBrk="0" hangingPunct="1">
              <a:lnSpc>
                <a:spcPts val="2353"/>
              </a:lnSpc>
              <a:spcBef>
                <a:spcPct val="0"/>
              </a:spcBef>
              <a:spcAft>
                <a:spcPct val="0"/>
              </a:spcAft>
              <a:defRPr lang="en-US" sz="980" kern="1200" dirty="0">
                <a:solidFill>
                  <a:schemeClr val="tx1"/>
                </a:solidFill>
                <a:latin typeface="+mj-lt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/>
              <a:t>3.</a:t>
            </a:r>
          </a:p>
        </p:txBody>
      </p:sp>
      <p:sp>
        <p:nvSpPr>
          <p:cNvPr id="39" name="Text Placeholder 3">
            <a:extLst>
              <a:ext uri="{FF2B5EF4-FFF2-40B4-BE49-F238E27FC236}">
                <a16:creationId xmlns:a16="http://schemas.microsoft.com/office/drawing/2014/main" id="{171069D2-CF68-4D89-9134-20A61AFA10DD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6229842" y="2025026"/>
            <a:ext cx="256787" cy="258381"/>
          </a:xfrm>
          <a:prstGeom prst="rect">
            <a:avLst/>
          </a:prstGeom>
        </p:spPr>
        <p:txBody>
          <a:bodyPr tIns="0" bIns="0"/>
          <a:lstStyle>
            <a:lvl1pPr marL="0" algn="l" defTabSz="914102" rtl="0" eaLnBrk="1" fontAlgn="base" latinLnBrk="0" hangingPunct="1">
              <a:lnSpc>
                <a:spcPts val="2353"/>
              </a:lnSpc>
              <a:spcBef>
                <a:spcPct val="0"/>
              </a:spcBef>
              <a:spcAft>
                <a:spcPct val="0"/>
              </a:spcAft>
              <a:defRPr lang="en-US" sz="980" kern="1200" dirty="0" smtClean="0">
                <a:solidFill>
                  <a:srgbClr val="000000"/>
                </a:solidFill>
                <a:latin typeface="+mj-lt"/>
                <a:ea typeface="Segoe UI" pitchFamily="34" charset="0"/>
                <a:cs typeface="Segoe UI" pitchFamily="34" charset="0"/>
              </a:defRPr>
            </a:lvl1pPr>
            <a:lvl2pPr marL="0" algn="l" defTabSz="914102" rtl="0" eaLnBrk="1" fontAlgn="base" latinLnBrk="0" hangingPunct="1">
              <a:lnSpc>
                <a:spcPts val="2353"/>
              </a:lnSpc>
              <a:spcBef>
                <a:spcPct val="0"/>
              </a:spcBef>
              <a:spcAft>
                <a:spcPct val="0"/>
              </a:spcAft>
              <a:defRPr lang="en-US" sz="980" kern="1200" dirty="0" smtClean="0">
                <a:solidFill>
                  <a:schemeClr val="tx1"/>
                </a:solidFill>
                <a:latin typeface="+mj-lt"/>
                <a:ea typeface="Segoe UI" pitchFamily="34" charset="0"/>
                <a:cs typeface="Segoe UI" pitchFamily="34" charset="0"/>
              </a:defRPr>
            </a:lvl2pPr>
            <a:lvl3pPr marL="0" algn="l" defTabSz="914102" rtl="0" eaLnBrk="1" fontAlgn="base" latinLnBrk="0" hangingPunct="1">
              <a:lnSpc>
                <a:spcPts val="2353"/>
              </a:lnSpc>
              <a:spcBef>
                <a:spcPct val="0"/>
              </a:spcBef>
              <a:spcAft>
                <a:spcPct val="0"/>
              </a:spcAft>
              <a:defRPr lang="en-US" sz="980" kern="1200" dirty="0" smtClean="0">
                <a:solidFill>
                  <a:schemeClr val="tx1"/>
                </a:solidFill>
                <a:latin typeface="+mj-lt"/>
                <a:ea typeface="Segoe UI" pitchFamily="34" charset="0"/>
                <a:cs typeface="Segoe UI" pitchFamily="34" charset="0"/>
              </a:defRPr>
            </a:lvl3pPr>
            <a:lvl4pPr marL="0" algn="l" defTabSz="914102" rtl="0" eaLnBrk="1" fontAlgn="base" latinLnBrk="0" hangingPunct="1">
              <a:lnSpc>
                <a:spcPts val="2353"/>
              </a:lnSpc>
              <a:spcBef>
                <a:spcPct val="0"/>
              </a:spcBef>
              <a:spcAft>
                <a:spcPct val="0"/>
              </a:spcAft>
              <a:defRPr lang="en-US" sz="980" kern="1200" dirty="0" smtClean="0">
                <a:solidFill>
                  <a:schemeClr val="tx1"/>
                </a:solidFill>
                <a:latin typeface="+mj-lt"/>
                <a:ea typeface="Segoe UI" pitchFamily="34" charset="0"/>
                <a:cs typeface="Segoe UI" pitchFamily="34" charset="0"/>
              </a:defRPr>
            </a:lvl4pPr>
            <a:lvl5pPr marL="0" algn="l" defTabSz="914102" rtl="0" eaLnBrk="1" fontAlgn="base" latinLnBrk="0" hangingPunct="1">
              <a:lnSpc>
                <a:spcPts val="2353"/>
              </a:lnSpc>
              <a:spcBef>
                <a:spcPct val="0"/>
              </a:spcBef>
              <a:spcAft>
                <a:spcPct val="0"/>
              </a:spcAft>
              <a:defRPr lang="en-US" sz="980" kern="1200" dirty="0">
                <a:solidFill>
                  <a:schemeClr val="tx1"/>
                </a:solidFill>
                <a:latin typeface="+mj-lt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/>
              <a:t>4.</a:t>
            </a:r>
          </a:p>
        </p:txBody>
      </p:sp>
      <p:sp>
        <p:nvSpPr>
          <p:cNvPr id="40" name="Text Placeholder 3">
            <a:extLst>
              <a:ext uri="{FF2B5EF4-FFF2-40B4-BE49-F238E27FC236}">
                <a16:creationId xmlns:a16="http://schemas.microsoft.com/office/drawing/2014/main" id="{77858A5B-7408-41FF-9369-C0F9B773A308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8139413" y="2025026"/>
            <a:ext cx="256787" cy="258381"/>
          </a:xfrm>
          <a:prstGeom prst="rect">
            <a:avLst/>
          </a:prstGeom>
        </p:spPr>
        <p:txBody>
          <a:bodyPr tIns="0" bIns="0"/>
          <a:lstStyle>
            <a:lvl1pPr marL="0" algn="l" defTabSz="914102" rtl="0" eaLnBrk="1" fontAlgn="base" latinLnBrk="0" hangingPunct="1">
              <a:lnSpc>
                <a:spcPts val="2353"/>
              </a:lnSpc>
              <a:spcBef>
                <a:spcPct val="0"/>
              </a:spcBef>
              <a:spcAft>
                <a:spcPct val="0"/>
              </a:spcAft>
              <a:defRPr lang="en-US" sz="980" kern="1200" dirty="0" smtClean="0">
                <a:solidFill>
                  <a:srgbClr val="000000"/>
                </a:solidFill>
                <a:latin typeface="+mj-lt"/>
                <a:ea typeface="Segoe UI" pitchFamily="34" charset="0"/>
                <a:cs typeface="Segoe UI" pitchFamily="34" charset="0"/>
              </a:defRPr>
            </a:lvl1pPr>
            <a:lvl2pPr marL="0" algn="l" defTabSz="914102" rtl="0" eaLnBrk="1" fontAlgn="base" latinLnBrk="0" hangingPunct="1">
              <a:lnSpc>
                <a:spcPts val="2353"/>
              </a:lnSpc>
              <a:spcBef>
                <a:spcPct val="0"/>
              </a:spcBef>
              <a:spcAft>
                <a:spcPct val="0"/>
              </a:spcAft>
              <a:defRPr lang="en-US" sz="980" kern="1200" dirty="0" smtClean="0">
                <a:solidFill>
                  <a:schemeClr val="tx1"/>
                </a:solidFill>
                <a:latin typeface="+mj-lt"/>
                <a:ea typeface="Segoe UI" pitchFamily="34" charset="0"/>
                <a:cs typeface="Segoe UI" pitchFamily="34" charset="0"/>
              </a:defRPr>
            </a:lvl2pPr>
            <a:lvl3pPr marL="0" algn="l" defTabSz="914102" rtl="0" eaLnBrk="1" fontAlgn="base" latinLnBrk="0" hangingPunct="1">
              <a:lnSpc>
                <a:spcPts val="2353"/>
              </a:lnSpc>
              <a:spcBef>
                <a:spcPct val="0"/>
              </a:spcBef>
              <a:spcAft>
                <a:spcPct val="0"/>
              </a:spcAft>
              <a:defRPr lang="en-US" sz="980" kern="1200" dirty="0" smtClean="0">
                <a:solidFill>
                  <a:schemeClr val="tx1"/>
                </a:solidFill>
                <a:latin typeface="+mj-lt"/>
                <a:ea typeface="Segoe UI" pitchFamily="34" charset="0"/>
                <a:cs typeface="Segoe UI" pitchFamily="34" charset="0"/>
              </a:defRPr>
            </a:lvl3pPr>
            <a:lvl4pPr marL="0" algn="l" defTabSz="914102" rtl="0" eaLnBrk="1" fontAlgn="base" latinLnBrk="0" hangingPunct="1">
              <a:lnSpc>
                <a:spcPts val="2353"/>
              </a:lnSpc>
              <a:spcBef>
                <a:spcPct val="0"/>
              </a:spcBef>
              <a:spcAft>
                <a:spcPct val="0"/>
              </a:spcAft>
              <a:defRPr lang="en-US" sz="980" kern="1200" dirty="0" smtClean="0">
                <a:solidFill>
                  <a:schemeClr val="tx1"/>
                </a:solidFill>
                <a:latin typeface="+mj-lt"/>
                <a:ea typeface="Segoe UI" pitchFamily="34" charset="0"/>
                <a:cs typeface="Segoe UI" pitchFamily="34" charset="0"/>
              </a:defRPr>
            </a:lvl4pPr>
            <a:lvl5pPr marL="0" algn="l" defTabSz="914102" rtl="0" eaLnBrk="1" fontAlgn="base" latinLnBrk="0" hangingPunct="1">
              <a:lnSpc>
                <a:spcPts val="2353"/>
              </a:lnSpc>
              <a:spcBef>
                <a:spcPct val="0"/>
              </a:spcBef>
              <a:spcAft>
                <a:spcPct val="0"/>
              </a:spcAft>
              <a:defRPr lang="en-US" sz="980" kern="1200" dirty="0">
                <a:solidFill>
                  <a:schemeClr val="tx1"/>
                </a:solidFill>
                <a:latin typeface="+mj-lt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/>
              <a:t>5.</a:t>
            </a:r>
          </a:p>
        </p:txBody>
      </p:sp>
      <p:sp>
        <p:nvSpPr>
          <p:cNvPr id="41" name="Text Placeholder 3">
            <a:extLst>
              <a:ext uri="{FF2B5EF4-FFF2-40B4-BE49-F238E27FC236}">
                <a16:creationId xmlns:a16="http://schemas.microsoft.com/office/drawing/2014/main" id="{AF637A76-D1E1-49A2-AF33-3521BBC721C4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10067660" y="2025026"/>
            <a:ext cx="256787" cy="258381"/>
          </a:xfrm>
          <a:prstGeom prst="rect">
            <a:avLst/>
          </a:prstGeom>
        </p:spPr>
        <p:txBody>
          <a:bodyPr tIns="0" bIns="0"/>
          <a:lstStyle>
            <a:lvl1pPr marL="0" algn="l" defTabSz="914102" rtl="0" eaLnBrk="1" fontAlgn="base" latinLnBrk="0" hangingPunct="1">
              <a:lnSpc>
                <a:spcPts val="2353"/>
              </a:lnSpc>
              <a:spcBef>
                <a:spcPct val="0"/>
              </a:spcBef>
              <a:spcAft>
                <a:spcPct val="0"/>
              </a:spcAft>
              <a:defRPr lang="en-US" sz="980" kern="1200" dirty="0" smtClean="0">
                <a:solidFill>
                  <a:srgbClr val="000000"/>
                </a:solidFill>
                <a:latin typeface="+mj-lt"/>
                <a:ea typeface="Segoe UI" pitchFamily="34" charset="0"/>
                <a:cs typeface="Segoe UI" pitchFamily="34" charset="0"/>
              </a:defRPr>
            </a:lvl1pPr>
            <a:lvl2pPr marL="0" algn="l" defTabSz="914102" rtl="0" eaLnBrk="1" fontAlgn="base" latinLnBrk="0" hangingPunct="1">
              <a:lnSpc>
                <a:spcPts val="2353"/>
              </a:lnSpc>
              <a:spcBef>
                <a:spcPct val="0"/>
              </a:spcBef>
              <a:spcAft>
                <a:spcPct val="0"/>
              </a:spcAft>
              <a:defRPr lang="en-US" sz="980" kern="1200" dirty="0" smtClean="0">
                <a:solidFill>
                  <a:schemeClr val="tx1"/>
                </a:solidFill>
                <a:latin typeface="+mj-lt"/>
                <a:ea typeface="Segoe UI" pitchFamily="34" charset="0"/>
                <a:cs typeface="Segoe UI" pitchFamily="34" charset="0"/>
              </a:defRPr>
            </a:lvl2pPr>
            <a:lvl3pPr marL="0" algn="l" defTabSz="914102" rtl="0" eaLnBrk="1" fontAlgn="base" latinLnBrk="0" hangingPunct="1">
              <a:lnSpc>
                <a:spcPts val="2353"/>
              </a:lnSpc>
              <a:spcBef>
                <a:spcPct val="0"/>
              </a:spcBef>
              <a:spcAft>
                <a:spcPct val="0"/>
              </a:spcAft>
              <a:defRPr lang="en-US" sz="980" kern="1200" dirty="0" smtClean="0">
                <a:solidFill>
                  <a:schemeClr val="tx1"/>
                </a:solidFill>
                <a:latin typeface="+mj-lt"/>
                <a:ea typeface="Segoe UI" pitchFamily="34" charset="0"/>
                <a:cs typeface="Segoe UI" pitchFamily="34" charset="0"/>
              </a:defRPr>
            </a:lvl3pPr>
            <a:lvl4pPr marL="0" algn="l" defTabSz="914102" rtl="0" eaLnBrk="1" fontAlgn="base" latinLnBrk="0" hangingPunct="1">
              <a:lnSpc>
                <a:spcPts val="2353"/>
              </a:lnSpc>
              <a:spcBef>
                <a:spcPct val="0"/>
              </a:spcBef>
              <a:spcAft>
                <a:spcPct val="0"/>
              </a:spcAft>
              <a:defRPr lang="en-US" sz="980" kern="1200" dirty="0" smtClean="0">
                <a:solidFill>
                  <a:schemeClr val="tx1"/>
                </a:solidFill>
                <a:latin typeface="+mj-lt"/>
                <a:ea typeface="Segoe UI" pitchFamily="34" charset="0"/>
                <a:cs typeface="Segoe UI" pitchFamily="34" charset="0"/>
              </a:defRPr>
            </a:lvl4pPr>
            <a:lvl5pPr marL="0" algn="l" defTabSz="914102" rtl="0" eaLnBrk="1" fontAlgn="base" latinLnBrk="0" hangingPunct="1">
              <a:lnSpc>
                <a:spcPts val="2353"/>
              </a:lnSpc>
              <a:spcBef>
                <a:spcPct val="0"/>
              </a:spcBef>
              <a:spcAft>
                <a:spcPct val="0"/>
              </a:spcAft>
              <a:defRPr lang="en-US" sz="980" kern="1200" dirty="0">
                <a:solidFill>
                  <a:schemeClr val="tx1"/>
                </a:solidFill>
                <a:latin typeface="+mj-lt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/>
              <a:t>6.</a:t>
            </a:r>
          </a:p>
        </p:txBody>
      </p:sp>
      <p:sp>
        <p:nvSpPr>
          <p:cNvPr id="33" name="Text Box 3">
            <a:extLst>
              <a:ext uri="{FF2B5EF4-FFF2-40B4-BE49-F238E27FC236}">
                <a16:creationId xmlns:a16="http://schemas.microsoft.com/office/drawing/2014/main" id="{75395D73-9049-014E-BEF9-A35587DB4139}"/>
              </a:ext>
            </a:extLst>
          </p:cNvPr>
          <p:cNvSpPr txBox="1">
            <a:spLocks noChangeArrowheads="1"/>
          </p:cNvSpPr>
          <p:nvPr userDrawn="1"/>
        </p:nvSpPr>
        <p:spPr bwMode="blackWhite">
          <a:xfrm>
            <a:off x="454169" y="6455175"/>
            <a:ext cx="11306469" cy="211083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defTabSz="913924" eaLnBrk="0" hangingPunct="0"/>
            <a:r>
              <a:rPr lang="en-US" sz="686">
                <a:solidFill>
                  <a:schemeClr val="accent6">
                    <a:lumMod val="75000"/>
                  </a:schemeClr>
                </a:solidFill>
                <a:cs typeface="Segoe UI" pitchFamily="34" charset="0"/>
              </a:rPr>
              <a:t>©Microsoft Corporation									                                                                                                                                             Azure </a:t>
            </a:r>
          </a:p>
        </p:txBody>
      </p:sp>
      <p:sp>
        <p:nvSpPr>
          <p:cNvPr id="34" name="Text Placeholder 4">
            <a:extLst>
              <a:ext uri="{FF2B5EF4-FFF2-40B4-BE49-F238E27FC236}">
                <a16:creationId xmlns:a16="http://schemas.microsoft.com/office/drawing/2014/main" id="{3CC09D91-3BB7-5C4A-98CF-F87FD6AACD86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54169" y="3622292"/>
            <a:ext cx="1693248" cy="229049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1765"/>
              </a:lnSpc>
              <a:spcBef>
                <a:spcPts val="0"/>
              </a:spcBef>
              <a:buFont typeface="Arial" panose="020B0604020202020204" pitchFamily="34" charset="0"/>
              <a:buNone/>
              <a:defRPr sz="1372" b="0" i="0" spc="0">
                <a:solidFill>
                  <a:srgbClr val="000000"/>
                </a:solidFill>
                <a:latin typeface="+mn-lt"/>
              </a:defRPr>
            </a:lvl1pPr>
            <a:lvl2pPr marL="0" indent="0">
              <a:lnSpc>
                <a:spcPts val="1765"/>
              </a:lnSpc>
              <a:spcBef>
                <a:spcPts val="0"/>
              </a:spcBef>
              <a:buNone/>
              <a:defRPr sz="1372">
                <a:solidFill>
                  <a:schemeClr val="tx1"/>
                </a:solidFill>
              </a:defRPr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lvl="0"/>
            <a:r>
              <a:rPr lang="en-US"/>
              <a:t>Body copy 14 </a:t>
            </a:r>
            <a:r>
              <a:rPr lang="en-US" err="1"/>
              <a:t>Cavorest</a:t>
            </a:r>
            <a:r>
              <a:rPr lang="en-US"/>
              <a:t> a </a:t>
            </a:r>
            <a:r>
              <a:rPr lang="en-US" err="1"/>
              <a:t>aut</a:t>
            </a:r>
            <a:r>
              <a:rPr lang="en-US"/>
              <a:t> arum </a:t>
            </a:r>
            <a:r>
              <a:rPr lang="en-US" err="1"/>
              <a:t>quam</a:t>
            </a:r>
            <a:r>
              <a:rPr lang="en-US"/>
              <a:t> id eat ape </a:t>
            </a:r>
            <a:r>
              <a:rPr lang="en-US" err="1"/>
              <a:t>est</a:t>
            </a:r>
            <a:r>
              <a:rPr lang="en-US"/>
              <a:t>, qui </a:t>
            </a:r>
            <a:r>
              <a:rPr lang="en-US" err="1"/>
              <a:t>sincit</a:t>
            </a:r>
            <a:r>
              <a:rPr lang="en-US"/>
              <a:t>, </a:t>
            </a:r>
            <a:r>
              <a:rPr lang="en-US" err="1"/>
              <a:t>omnimusdae</a:t>
            </a:r>
            <a:r>
              <a:rPr lang="en-US"/>
              <a:t>. </a:t>
            </a:r>
            <a:r>
              <a:rPr lang="en-US" err="1"/>
              <a:t>Icaecatur</a:t>
            </a:r>
            <a:r>
              <a:rPr lang="en-US"/>
              <a:t>. </a:t>
            </a:r>
            <a:r>
              <a:rPr lang="en-US" err="1"/>
              <a:t>Boribus</a:t>
            </a:r>
            <a:r>
              <a:rPr lang="en-US"/>
              <a:t> </a:t>
            </a:r>
            <a:r>
              <a:rPr lang="en-US" err="1"/>
              <a:t>sinctius</a:t>
            </a:r>
            <a:r>
              <a:rPr lang="en-US"/>
              <a:t> </a:t>
            </a:r>
            <a:r>
              <a:rPr lang="en-US" err="1"/>
              <a:t>nimaxime</a:t>
            </a:r>
            <a:r>
              <a:rPr lang="en-US"/>
              <a:t> </a:t>
            </a:r>
            <a:r>
              <a:rPr lang="en-US" err="1"/>
              <a:t>nonsequibus</a:t>
            </a:r>
            <a:r>
              <a:rPr lang="en-US"/>
              <a:t> </a:t>
            </a:r>
            <a:r>
              <a:rPr lang="en-US" err="1"/>
              <a:t>dollendis</a:t>
            </a:r>
            <a:r>
              <a:rPr lang="en-US"/>
              <a:t> as </a:t>
            </a:r>
            <a:r>
              <a:rPr lang="en-US" err="1"/>
              <a:t>autestiatur</a:t>
            </a:r>
            <a:r>
              <a:rPr lang="en-US"/>
              <a:t>. </a:t>
            </a:r>
          </a:p>
        </p:txBody>
      </p:sp>
      <p:sp>
        <p:nvSpPr>
          <p:cNvPr id="35" name="Text Placeholder 4">
            <a:extLst>
              <a:ext uri="{FF2B5EF4-FFF2-40B4-BE49-F238E27FC236}">
                <a16:creationId xmlns:a16="http://schemas.microsoft.com/office/drawing/2014/main" id="{90A489FF-470D-734F-9769-61F47A78897E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2378329" y="3622292"/>
            <a:ext cx="1693248" cy="229049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1765"/>
              </a:lnSpc>
              <a:spcBef>
                <a:spcPts val="0"/>
              </a:spcBef>
              <a:buFont typeface="Arial" panose="020B0604020202020204" pitchFamily="34" charset="0"/>
              <a:buNone/>
              <a:defRPr sz="1372" b="0" i="0" spc="0">
                <a:solidFill>
                  <a:srgbClr val="000000"/>
                </a:solidFill>
                <a:latin typeface="+mn-lt"/>
              </a:defRPr>
            </a:lvl1pPr>
            <a:lvl2pPr marL="0" indent="0">
              <a:lnSpc>
                <a:spcPts val="1765"/>
              </a:lnSpc>
              <a:spcBef>
                <a:spcPts val="0"/>
              </a:spcBef>
              <a:buNone/>
              <a:defRPr sz="1372">
                <a:solidFill>
                  <a:schemeClr val="tx1"/>
                </a:solidFill>
              </a:defRPr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lvl="0"/>
            <a:r>
              <a:rPr lang="en-US"/>
              <a:t>Body copy 14 </a:t>
            </a:r>
            <a:r>
              <a:rPr lang="en-US" err="1"/>
              <a:t>Cavorest</a:t>
            </a:r>
            <a:r>
              <a:rPr lang="en-US"/>
              <a:t> a </a:t>
            </a:r>
            <a:r>
              <a:rPr lang="en-US" err="1"/>
              <a:t>aut</a:t>
            </a:r>
            <a:r>
              <a:rPr lang="en-US"/>
              <a:t> arum </a:t>
            </a:r>
            <a:r>
              <a:rPr lang="en-US" err="1"/>
              <a:t>quam</a:t>
            </a:r>
            <a:r>
              <a:rPr lang="en-US"/>
              <a:t> id eat ape </a:t>
            </a:r>
            <a:r>
              <a:rPr lang="en-US" err="1"/>
              <a:t>est</a:t>
            </a:r>
            <a:r>
              <a:rPr lang="en-US"/>
              <a:t>, qui </a:t>
            </a:r>
            <a:r>
              <a:rPr lang="en-US" err="1"/>
              <a:t>sincit</a:t>
            </a:r>
            <a:r>
              <a:rPr lang="en-US"/>
              <a:t>, </a:t>
            </a:r>
            <a:r>
              <a:rPr lang="en-US" err="1"/>
              <a:t>omnimusdae</a:t>
            </a:r>
            <a:r>
              <a:rPr lang="en-US"/>
              <a:t>. </a:t>
            </a:r>
            <a:r>
              <a:rPr lang="en-US" err="1"/>
              <a:t>Icaecatur</a:t>
            </a:r>
            <a:r>
              <a:rPr lang="en-US"/>
              <a:t>. </a:t>
            </a:r>
            <a:r>
              <a:rPr lang="en-US" err="1"/>
              <a:t>Boribus</a:t>
            </a:r>
            <a:r>
              <a:rPr lang="en-US"/>
              <a:t> </a:t>
            </a:r>
            <a:r>
              <a:rPr lang="en-US" err="1"/>
              <a:t>sinctius</a:t>
            </a:r>
            <a:r>
              <a:rPr lang="en-US"/>
              <a:t> </a:t>
            </a:r>
            <a:r>
              <a:rPr lang="en-US" err="1"/>
              <a:t>nimaxime</a:t>
            </a:r>
            <a:r>
              <a:rPr lang="en-US"/>
              <a:t> </a:t>
            </a:r>
            <a:r>
              <a:rPr lang="en-US" err="1"/>
              <a:t>nonsequibus</a:t>
            </a:r>
            <a:r>
              <a:rPr lang="en-US"/>
              <a:t> </a:t>
            </a:r>
            <a:r>
              <a:rPr lang="en-US" err="1"/>
              <a:t>dollendis</a:t>
            </a:r>
            <a:r>
              <a:rPr lang="en-US"/>
              <a:t> as </a:t>
            </a:r>
            <a:r>
              <a:rPr lang="en-US" err="1"/>
              <a:t>autestiatur</a:t>
            </a:r>
            <a:r>
              <a:rPr lang="en-US"/>
              <a:t>. </a:t>
            </a:r>
          </a:p>
        </p:txBody>
      </p:sp>
      <p:sp>
        <p:nvSpPr>
          <p:cNvPr id="36" name="Text Placeholder 4">
            <a:extLst>
              <a:ext uri="{FF2B5EF4-FFF2-40B4-BE49-F238E27FC236}">
                <a16:creationId xmlns:a16="http://schemas.microsoft.com/office/drawing/2014/main" id="{6F43AC1C-4836-034C-B18E-A886EB0A0954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4300662" y="3622292"/>
            <a:ext cx="1693248" cy="229049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1765"/>
              </a:lnSpc>
              <a:spcBef>
                <a:spcPts val="0"/>
              </a:spcBef>
              <a:buFont typeface="Arial" panose="020B0604020202020204" pitchFamily="34" charset="0"/>
              <a:buNone/>
              <a:defRPr sz="1372" b="0" i="0" spc="0">
                <a:solidFill>
                  <a:srgbClr val="000000"/>
                </a:solidFill>
                <a:latin typeface="+mn-lt"/>
              </a:defRPr>
            </a:lvl1pPr>
            <a:lvl2pPr marL="0" indent="0">
              <a:lnSpc>
                <a:spcPts val="1765"/>
              </a:lnSpc>
              <a:spcBef>
                <a:spcPts val="0"/>
              </a:spcBef>
              <a:buNone/>
              <a:defRPr sz="1372">
                <a:solidFill>
                  <a:schemeClr val="tx1"/>
                </a:solidFill>
              </a:defRPr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lvl="0"/>
            <a:r>
              <a:rPr lang="en-US"/>
              <a:t>Body copy 14 </a:t>
            </a:r>
            <a:r>
              <a:rPr lang="en-US" err="1"/>
              <a:t>Cavorest</a:t>
            </a:r>
            <a:r>
              <a:rPr lang="en-US"/>
              <a:t> a </a:t>
            </a:r>
            <a:r>
              <a:rPr lang="en-US" err="1"/>
              <a:t>aut</a:t>
            </a:r>
            <a:r>
              <a:rPr lang="en-US"/>
              <a:t> arum </a:t>
            </a:r>
            <a:r>
              <a:rPr lang="en-US" err="1"/>
              <a:t>quam</a:t>
            </a:r>
            <a:r>
              <a:rPr lang="en-US"/>
              <a:t> id eat ape </a:t>
            </a:r>
            <a:r>
              <a:rPr lang="en-US" err="1"/>
              <a:t>est</a:t>
            </a:r>
            <a:r>
              <a:rPr lang="en-US"/>
              <a:t>, qui </a:t>
            </a:r>
            <a:r>
              <a:rPr lang="en-US" err="1"/>
              <a:t>sincit</a:t>
            </a:r>
            <a:r>
              <a:rPr lang="en-US"/>
              <a:t>, </a:t>
            </a:r>
            <a:r>
              <a:rPr lang="en-US" err="1"/>
              <a:t>omnimusdae</a:t>
            </a:r>
            <a:r>
              <a:rPr lang="en-US"/>
              <a:t>. </a:t>
            </a:r>
            <a:r>
              <a:rPr lang="en-US" err="1"/>
              <a:t>Icaecatur</a:t>
            </a:r>
            <a:r>
              <a:rPr lang="en-US"/>
              <a:t>. </a:t>
            </a:r>
            <a:r>
              <a:rPr lang="en-US" err="1"/>
              <a:t>Boribus</a:t>
            </a:r>
            <a:r>
              <a:rPr lang="en-US"/>
              <a:t> </a:t>
            </a:r>
            <a:r>
              <a:rPr lang="en-US" err="1"/>
              <a:t>sinctius</a:t>
            </a:r>
            <a:r>
              <a:rPr lang="en-US"/>
              <a:t> </a:t>
            </a:r>
            <a:r>
              <a:rPr lang="en-US" err="1"/>
              <a:t>nimaxime</a:t>
            </a:r>
            <a:r>
              <a:rPr lang="en-US"/>
              <a:t> </a:t>
            </a:r>
            <a:r>
              <a:rPr lang="en-US" err="1"/>
              <a:t>nonsequibus</a:t>
            </a:r>
            <a:r>
              <a:rPr lang="en-US"/>
              <a:t> </a:t>
            </a:r>
            <a:r>
              <a:rPr lang="en-US" err="1"/>
              <a:t>dollendis</a:t>
            </a:r>
            <a:r>
              <a:rPr lang="en-US"/>
              <a:t> as </a:t>
            </a:r>
            <a:r>
              <a:rPr lang="en-US" err="1"/>
              <a:t>autestiatur</a:t>
            </a:r>
            <a:r>
              <a:rPr lang="en-US"/>
              <a:t>. </a:t>
            </a:r>
          </a:p>
        </p:txBody>
      </p:sp>
      <p:sp>
        <p:nvSpPr>
          <p:cNvPr id="42" name="Text Placeholder 4">
            <a:extLst>
              <a:ext uri="{FF2B5EF4-FFF2-40B4-BE49-F238E27FC236}">
                <a16:creationId xmlns:a16="http://schemas.microsoft.com/office/drawing/2014/main" id="{9221C77D-8F08-6C49-9011-B244AD138F0B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6229842" y="3622292"/>
            <a:ext cx="1693248" cy="229049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1765"/>
              </a:lnSpc>
              <a:spcBef>
                <a:spcPts val="0"/>
              </a:spcBef>
              <a:buFont typeface="Arial" panose="020B0604020202020204" pitchFamily="34" charset="0"/>
              <a:buNone/>
              <a:defRPr sz="1372" b="0" i="0" spc="0">
                <a:solidFill>
                  <a:srgbClr val="000000"/>
                </a:solidFill>
                <a:latin typeface="+mn-lt"/>
              </a:defRPr>
            </a:lvl1pPr>
            <a:lvl2pPr marL="0" indent="0">
              <a:lnSpc>
                <a:spcPts val="1765"/>
              </a:lnSpc>
              <a:spcBef>
                <a:spcPts val="0"/>
              </a:spcBef>
              <a:buNone/>
              <a:defRPr sz="1372">
                <a:solidFill>
                  <a:schemeClr val="tx1"/>
                </a:solidFill>
              </a:defRPr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lvl="0"/>
            <a:r>
              <a:rPr lang="en-US"/>
              <a:t>Body copy 14 </a:t>
            </a:r>
            <a:r>
              <a:rPr lang="en-US" err="1"/>
              <a:t>Cavorest</a:t>
            </a:r>
            <a:r>
              <a:rPr lang="en-US"/>
              <a:t> a </a:t>
            </a:r>
            <a:r>
              <a:rPr lang="en-US" err="1"/>
              <a:t>aut</a:t>
            </a:r>
            <a:r>
              <a:rPr lang="en-US"/>
              <a:t> arum </a:t>
            </a:r>
            <a:r>
              <a:rPr lang="en-US" err="1"/>
              <a:t>quam</a:t>
            </a:r>
            <a:r>
              <a:rPr lang="en-US"/>
              <a:t> id eat ape </a:t>
            </a:r>
            <a:r>
              <a:rPr lang="en-US" err="1"/>
              <a:t>est</a:t>
            </a:r>
            <a:r>
              <a:rPr lang="en-US"/>
              <a:t>, qui </a:t>
            </a:r>
            <a:r>
              <a:rPr lang="en-US" err="1"/>
              <a:t>sincit</a:t>
            </a:r>
            <a:r>
              <a:rPr lang="en-US"/>
              <a:t>, </a:t>
            </a:r>
            <a:r>
              <a:rPr lang="en-US" err="1"/>
              <a:t>omnimusdae</a:t>
            </a:r>
            <a:r>
              <a:rPr lang="en-US"/>
              <a:t>. </a:t>
            </a:r>
            <a:r>
              <a:rPr lang="en-US" err="1"/>
              <a:t>Icaecatur</a:t>
            </a:r>
            <a:r>
              <a:rPr lang="en-US"/>
              <a:t>. </a:t>
            </a:r>
            <a:r>
              <a:rPr lang="en-US" err="1"/>
              <a:t>Boribus</a:t>
            </a:r>
            <a:r>
              <a:rPr lang="en-US"/>
              <a:t> </a:t>
            </a:r>
            <a:r>
              <a:rPr lang="en-US" err="1"/>
              <a:t>sinctius</a:t>
            </a:r>
            <a:r>
              <a:rPr lang="en-US"/>
              <a:t> </a:t>
            </a:r>
            <a:r>
              <a:rPr lang="en-US" err="1"/>
              <a:t>nimaxime</a:t>
            </a:r>
            <a:r>
              <a:rPr lang="en-US"/>
              <a:t> </a:t>
            </a:r>
            <a:r>
              <a:rPr lang="en-US" err="1"/>
              <a:t>nonsequibus</a:t>
            </a:r>
            <a:r>
              <a:rPr lang="en-US"/>
              <a:t> </a:t>
            </a:r>
            <a:r>
              <a:rPr lang="en-US" err="1"/>
              <a:t>dollendis</a:t>
            </a:r>
            <a:r>
              <a:rPr lang="en-US"/>
              <a:t> as </a:t>
            </a:r>
            <a:r>
              <a:rPr lang="en-US" err="1"/>
              <a:t>autestiatur</a:t>
            </a:r>
            <a:r>
              <a:rPr lang="en-US"/>
              <a:t>. </a:t>
            </a:r>
          </a:p>
        </p:txBody>
      </p:sp>
      <p:sp>
        <p:nvSpPr>
          <p:cNvPr id="43" name="Text Placeholder 4">
            <a:extLst>
              <a:ext uri="{FF2B5EF4-FFF2-40B4-BE49-F238E27FC236}">
                <a16:creationId xmlns:a16="http://schemas.microsoft.com/office/drawing/2014/main" id="{F3776908-857F-F24D-9AF6-14CF938B5693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8139413" y="3622292"/>
            <a:ext cx="1693248" cy="229049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1765"/>
              </a:lnSpc>
              <a:spcBef>
                <a:spcPts val="0"/>
              </a:spcBef>
              <a:buFont typeface="Arial" panose="020B0604020202020204" pitchFamily="34" charset="0"/>
              <a:buNone/>
              <a:defRPr sz="1372" b="0" i="0" spc="0">
                <a:solidFill>
                  <a:srgbClr val="000000"/>
                </a:solidFill>
                <a:latin typeface="+mn-lt"/>
              </a:defRPr>
            </a:lvl1pPr>
            <a:lvl2pPr marL="0" indent="0">
              <a:lnSpc>
                <a:spcPts val="1765"/>
              </a:lnSpc>
              <a:spcBef>
                <a:spcPts val="0"/>
              </a:spcBef>
              <a:buNone/>
              <a:defRPr sz="1372">
                <a:solidFill>
                  <a:schemeClr val="tx1"/>
                </a:solidFill>
              </a:defRPr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lvl="0"/>
            <a:r>
              <a:rPr lang="en-US"/>
              <a:t>Body copy 14 </a:t>
            </a:r>
            <a:r>
              <a:rPr lang="en-US" err="1"/>
              <a:t>Cavorest</a:t>
            </a:r>
            <a:r>
              <a:rPr lang="en-US"/>
              <a:t> a </a:t>
            </a:r>
            <a:r>
              <a:rPr lang="en-US" err="1"/>
              <a:t>aut</a:t>
            </a:r>
            <a:r>
              <a:rPr lang="en-US"/>
              <a:t> arum </a:t>
            </a:r>
            <a:r>
              <a:rPr lang="en-US" err="1"/>
              <a:t>quam</a:t>
            </a:r>
            <a:r>
              <a:rPr lang="en-US"/>
              <a:t> id eat ape </a:t>
            </a:r>
            <a:r>
              <a:rPr lang="en-US" err="1"/>
              <a:t>est</a:t>
            </a:r>
            <a:r>
              <a:rPr lang="en-US"/>
              <a:t>, qui </a:t>
            </a:r>
            <a:r>
              <a:rPr lang="en-US" err="1"/>
              <a:t>sincit</a:t>
            </a:r>
            <a:r>
              <a:rPr lang="en-US"/>
              <a:t>, </a:t>
            </a:r>
            <a:r>
              <a:rPr lang="en-US" err="1"/>
              <a:t>omnimusdae</a:t>
            </a:r>
            <a:r>
              <a:rPr lang="en-US"/>
              <a:t>. </a:t>
            </a:r>
            <a:r>
              <a:rPr lang="en-US" err="1"/>
              <a:t>Icaecatur</a:t>
            </a:r>
            <a:r>
              <a:rPr lang="en-US"/>
              <a:t>. </a:t>
            </a:r>
            <a:r>
              <a:rPr lang="en-US" err="1"/>
              <a:t>Boribus</a:t>
            </a:r>
            <a:r>
              <a:rPr lang="en-US"/>
              <a:t> </a:t>
            </a:r>
            <a:r>
              <a:rPr lang="en-US" err="1"/>
              <a:t>sinctius</a:t>
            </a:r>
            <a:r>
              <a:rPr lang="en-US"/>
              <a:t> </a:t>
            </a:r>
            <a:r>
              <a:rPr lang="en-US" err="1"/>
              <a:t>nimaxime</a:t>
            </a:r>
            <a:r>
              <a:rPr lang="en-US"/>
              <a:t> </a:t>
            </a:r>
            <a:r>
              <a:rPr lang="en-US" err="1"/>
              <a:t>nonsequibus</a:t>
            </a:r>
            <a:r>
              <a:rPr lang="en-US"/>
              <a:t> </a:t>
            </a:r>
            <a:r>
              <a:rPr lang="en-US" err="1"/>
              <a:t>dollendis</a:t>
            </a:r>
            <a:r>
              <a:rPr lang="en-US"/>
              <a:t> as </a:t>
            </a:r>
            <a:r>
              <a:rPr lang="en-US" err="1"/>
              <a:t>autestiatur</a:t>
            </a:r>
            <a:r>
              <a:rPr lang="en-US"/>
              <a:t>. </a:t>
            </a:r>
          </a:p>
        </p:txBody>
      </p:sp>
      <p:sp>
        <p:nvSpPr>
          <p:cNvPr id="44" name="Text Placeholder 4">
            <a:extLst>
              <a:ext uri="{FF2B5EF4-FFF2-40B4-BE49-F238E27FC236}">
                <a16:creationId xmlns:a16="http://schemas.microsoft.com/office/drawing/2014/main" id="{EFB7F2E6-D12A-0A47-939B-737BAD817601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10044584" y="3622292"/>
            <a:ext cx="1693248" cy="229049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1765"/>
              </a:lnSpc>
              <a:spcBef>
                <a:spcPts val="0"/>
              </a:spcBef>
              <a:buFont typeface="Arial" panose="020B0604020202020204" pitchFamily="34" charset="0"/>
              <a:buNone/>
              <a:defRPr sz="1372" b="0" i="0" spc="0">
                <a:solidFill>
                  <a:srgbClr val="000000"/>
                </a:solidFill>
                <a:latin typeface="+mn-lt"/>
              </a:defRPr>
            </a:lvl1pPr>
            <a:lvl2pPr marL="0" indent="0">
              <a:lnSpc>
                <a:spcPts val="1765"/>
              </a:lnSpc>
              <a:spcBef>
                <a:spcPts val="0"/>
              </a:spcBef>
              <a:buNone/>
              <a:defRPr sz="1372">
                <a:solidFill>
                  <a:schemeClr val="tx1"/>
                </a:solidFill>
              </a:defRPr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lvl="0"/>
            <a:r>
              <a:rPr lang="en-US"/>
              <a:t>Body copy 14 </a:t>
            </a:r>
            <a:r>
              <a:rPr lang="en-US" err="1"/>
              <a:t>Cavorest</a:t>
            </a:r>
            <a:r>
              <a:rPr lang="en-US"/>
              <a:t> a </a:t>
            </a:r>
            <a:r>
              <a:rPr lang="en-US" err="1"/>
              <a:t>aut</a:t>
            </a:r>
            <a:r>
              <a:rPr lang="en-US"/>
              <a:t> arum </a:t>
            </a:r>
            <a:r>
              <a:rPr lang="en-US" err="1"/>
              <a:t>quam</a:t>
            </a:r>
            <a:r>
              <a:rPr lang="en-US"/>
              <a:t> id eat ape </a:t>
            </a:r>
            <a:r>
              <a:rPr lang="en-US" err="1"/>
              <a:t>est</a:t>
            </a:r>
            <a:r>
              <a:rPr lang="en-US"/>
              <a:t>, qui </a:t>
            </a:r>
            <a:r>
              <a:rPr lang="en-US" err="1"/>
              <a:t>sincit</a:t>
            </a:r>
            <a:r>
              <a:rPr lang="en-US"/>
              <a:t>, </a:t>
            </a:r>
            <a:r>
              <a:rPr lang="en-US" err="1"/>
              <a:t>omnimusdae</a:t>
            </a:r>
            <a:r>
              <a:rPr lang="en-US"/>
              <a:t>. </a:t>
            </a:r>
            <a:r>
              <a:rPr lang="en-US" err="1"/>
              <a:t>Icaecatur</a:t>
            </a:r>
            <a:r>
              <a:rPr lang="en-US"/>
              <a:t>. </a:t>
            </a:r>
            <a:r>
              <a:rPr lang="en-US" err="1"/>
              <a:t>Boribus</a:t>
            </a:r>
            <a:r>
              <a:rPr lang="en-US"/>
              <a:t> </a:t>
            </a:r>
            <a:r>
              <a:rPr lang="en-US" err="1"/>
              <a:t>sinctius</a:t>
            </a:r>
            <a:r>
              <a:rPr lang="en-US"/>
              <a:t> </a:t>
            </a:r>
            <a:r>
              <a:rPr lang="en-US" err="1"/>
              <a:t>nimaxime</a:t>
            </a:r>
            <a:r>
              <a:rPr lang="en-US"/>
              <a:t> </a:t>
            </a:r>
            <a:r>
              <a:rPr lang="en-US" err="1"/>
              <a:t>nonsequibus</a:t>
            </a:r>
            <a:r>
              <a:rPr lang="en-US"/>
              <a:t> </a:t>
            </a:r>
            <a:r>
              <a:rPr lang="en-US" err="1"/>
              <a:t>dollendis</a:t>
            </a:r>
            <a:r>
              <a:rPr lang="en-US"/>
              <a:t> as </a:t>
            </a:r>
            <a:r>
              <a:rPr lang="en-US" err="1"/>
              <a:t>autestiatur</a:t>
            </a:r>
            <a:r>
              <a:rPr lang="en-US"/>
              <a:t>. </a:t>
            </a:r>
          </a:p>
        </p:txBody>
      </p:sp>
      <p:pic>
        <p:nvPicPr>
          <p:cNvPr id="46" name="Picture 45">
            <a:extLst>
              <a:ext uri="{FF2B5EF4-FFF2-40B4-BE49-F238E27FC236}">
                <a16:creationId xmlns:a16="http://schemas.microsoft.com/office/drawing/2014/main" id="{15EF402B-0A39-4444-AF7E-380A1C25739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82637" y="2301518"/>
            <a:ext cx="647418" cy="647510"/>
          </a:xfrm>
          <a:prstGeom prst="rect">
            <a:avLst/>
          </a:prstGeom>
        </p:spPr>
      </p:pic>
      <p:pic>
        <p:nvPicPr>
          <p:cNvPr id="47" name="Picture 46">
            <a:extLst>
              <a:ext uri="{FF2B5EF4-FFF2-40B4-BE49-F238E27FC236}">
                <a16:creationId xmlns:a16="http://schemas.microsoft.com/office/drawing/2014/main" id="{3E2F996C-B451-5D43-A1A7-18659348D8D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67498" y="2301518"/>
            <a:ext cx="647418" cy="647510"/>
          </a:xfrm>
          <a:prstGeom prst="rect">
            <a:avLst/>
          </a:prstGeom>
        </p:spPr>
      </p:pic>
      <p:pic>
        <p:nvPicPr>
          <p:cNvPr id="48" name="Picture 47">
            <a:extLst>
              <a:ext uri="{FF2B5EF4-FFF2-40B4-BE49-F238E27FC236}">
                <a16:creationId xmlns:a16="http://schemas.microsoft.com/office/drawing/2014/main" id="{2164D954-D4BE-604E-A1FA-5D4A16CC776D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686028" y="2301518"/>
            <a:ext cx="647418" cy="647510"/>
          </a:xfrm>
          <a:prstGeom prst="rect">
            <a:avLst/>
          </a:prstGeom>
        </p:spPr>
      </p:pic>
      <p:pic>
        <p:nvPicPr>
          <p:cNvPr id="49" name="Picture 48">
            <a:extLst>
              <a:ext uri="{FF2B5EF4-FFF2-40B4-BE49-F238E27FC236}">
                <a16:creationId xmlns:a16="http://schemas.microsoft.com/office/drawing/2014/main" id="{5FC96516-B0E2-964A-9976-F62D8A3CA035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752756" y="2301518"/>
            <a:ext cx="647418" cy="647510"/>
          </a:xfrm>
          <a:prstGeom prst="rect">
            <a:avLst/>
          </a:prstGeom>
        </p:spPr>
      </p:pic>
      <p:pic>
        <p:nvPicPr>
          <p:cNvPr id="50" name="Picture 49">
            <a:extLst>
              <a:ext uri="{FF2B5EF4-FFF2-40B4-BE49-F238E27FC236}">
                <a16:creationId xmlns:a16="http://schemas.microsoft.com/office/drawing/2014/main" id="{C42970E5-3D59-6D4C-802D-2A054118D50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02988" y="2301518"/>
            <a:ext cx="647418" cy="647510"/>
          </a:xfrm>
          <a:prstGeom prst="rect">
            <a:avLst/>
          </a:prstGeom>
        </p:spPr>
      </p:pic>
      <p:pic>
        <p:nvPicPr>
          <p:cNvPr id="51" name="Picture 50">
            <a:extLst>
              <a:ext uri="{FF2B5EF4-FFF2-40B4-BE49-F238E27FC236}">
                <a16:creationId xmlns:a16="http://schemas.microsoft.com/office/drawing/2014/main" id="{32F713FA-C34D-0546-BEC6-2429F7B462C9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2611" y="2301518"/>
            <a:ext cx="647418" cy="6475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8892533"/>
      </p:ext>
    </p:extLst>
  </p:cSld>
  <p:clrMapOvr>
    <a:masterClrMapping/>
  </p:clrMapOvr>
  <p:transition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5995" y="620428"/>
            <a:ext cx="11306469" cy="40313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lnSpc>
                <a:spcPts val="3137"/>
              </a:lnSpc>
              <a:defRPr sz="2745" strike="noStrike">
                <a:solidFill>
                  <a:srgbClr val="000000"/>
                </a:solidFill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8" name="Text Box 3">
            <a:extLst>
              <a:ext uri="{FF2B5EF4-FFF2-40B4-BE49-F238E27FC236}">
                <a16:creationId xmlns:a16="http://schemas.microsoft.com/office/drawing/2014/main" id="{3F1DAFF6-F27C-B74D-96EC-43A1B70AA064}"/>
              </a:ext>
            </a:extLst>
          </p:cNvPr>
          <p:cNvSpPr txBox="1">
            <a:spLocks noChangeArrowheads="1"/>
          </p:cNvSpPr>
          <p:nvPr userDrawn="1"/>
        </p:nvSpPr>
        <p:spPr bwMode="blackWhite">
          <a:xfrm>
            <a:off x="454169" y="6455175"/>
            <a:ext cx="11306469" cy="211083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defTabSz="913924" eaLnBrk="0" hangingPunct="0"/>
            <a:r>
              <a:rPr lang="en-US" sz="686" dirty="0">
                <a:solidFill>
                  <a:schemeClr val="accent6">
                    <a:lumMod val="75000"/>
                  </a:schemeClr>
                </a:solidFill>
                <a:cs typeface="Segoe UI" pitchFamily="34" charset="0"/>
              </a:rPr>
              <a:t>©Microsoft Corporation									                                                                                                                                             Azure 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E7DFE722-CC36-EA44-90F7-B72B2B691858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454437" y="1159604"/>
            <a:ext cx="11306470" cy="370044"/>
          </a:xfrm>
        </p:spPr>
        <p:txBody>
          <a:bodyPr vert="horz" wrap="square" lIns="0" tIns="0" rIns="0" bIns="0" rtlCol="0" anchor="t">
            <a:spAutoFit/>
          </a:bodyPr>
          <a:lstStyle>
            <a:lvl1pPr>
              <a:defRPr lang="en-US" sz="2353" b="0" strike="noStrike" cap="none" smtClean="0">
                <a:ln w="3175">
                  <a:noFill/>
                </a:ln>
                <a:solidFill>
                  <a:schemeClr val="tx2"/>
                </a:solidFill>
                <a:effectLst/>
                <a:latin typeface="+mj-lt"/>
                <a:cs typeface="Segoe UI" pitchFamily="34" charset="0"/>
              </a:defRPr>
            </a:lvl1pPr>
            <a:lvl2pPr>
              <a:defRPr lang="en-US" sz="1568" smtClean="0">
                <a:solidFill>
                  <a:schemeClr val="tx2"/>
                </a:solidFill>
                <a:latin typeface="+mj-lt"/>
              </a:defRPr>
            </a:lvl2pPr>
            <a:lvl3pPr>
              <a:defRPr lang="en-US" sz="1568" smtClean="0">
                <a:solidFill>
                  <a:schemeClr val="tx2"/>
                </a:solidFill>
                <a:latin typeface="+mj-lt"/>
              </a:defRPr>
            </a:lvl3pPr>
            <a:lvl4pPr>
              <a:defRPr lang="en-US" sz="1568" smtClean="0">
                <a:solidFill>
                  <a:schemeClr val="tx2"/>
                </a:solidFill>
                <a:latin typeface="+mj-lt"/>
              </a:defRPr>
            </a:lvl4pPr>
            <a:lvl5pPr>
              <a:defRPr lang="en-US" sz="1568">
                <a:solidFill>
                  <a:schemeClr val="tx2"/>
                </a:solidFill>
                <a:latin typeface="+mj-lt"/>
              </a:defRPr>
            </a:lvl5pPr>
          </a:lstStyle>
          <a:p>
            <a:pPr lvl="0">
              <a:lnSpc>
                <a:spcPts val="3137"/>
              </a:lnSpc>
              <a:spcBef>
                <a:spcPct val="0"/>
              </a:spcBef>
            </a:pPr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54555882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62754DF-CB0E-46F9-AA3C-00BC673EBDF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741109962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3" orient="horz" pos="900">
          <p15:clr>
            <a:srgbClr val="5ACBF0"/>
          </p15:clr>
        </p15:guide>
        <p15:guide id="4" orient="horz" pos="1276">
          <p15:clr>
            <a:srgbClr val="5ACBF0"/>
          </p15:clr>
        </p15:guide>
        <p15:guide id="5" orient="horz" pos="288">
          <p15:clr>
            <a:srgbClr val="5ACBF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5"/>
          <p:cNvSpPr>
            <a:spLocks noGrp="1"/>
          </p:cNvSpPr>
          <p:nvPr>
            <p:ph type="title" hasCustomPrompt="1"/>
          </p:nvPr>
        </p:nvSpPr>
        <p:spPr>
          <a:xfrm>
            <a:off x="455994" y="941692"/>
            <a:ext cx="7454643" cy="3558191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en-US" sz="4705" spc="-49" baseline="0" dirty="0">
                <a:solidFill>
                  <a:srgbClr val="000000"/>
                </a:solidFill>
              </a:defRPr>
            </a:lvl1pPr>
          </a:lstStyle>
          <a:p>
            <a:pPr marL="0" lvl="0">
              <a:lnSpc>
                <a:spcPts val="5490"/>
              </a:lnSpc>
            </a:pPr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946473316"/>
      </p:ext>
    </p:extLst>
  </p:cSld>
  <p:clrMapOvr>
    <a:masterClrMapping/>
  </p:clrMapOvr>
  <p:transition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title 2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35"/>
          <p:cNvSpPr>
            <a:spLocks noGrp="1"/>
          </p:cNvSpPr>
          <p:nvPr>
            <p:ph type="title" hasCustomPrompt="1"/>
          </p:nvPr>
        </p:nvSpPr>
        <p:spPr>
          <a:xfrm>
            <a:off x="455994" y="941692"/>
            <a:ext cx="7454643" cy="3558191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en-US" sz="4705" spc="-49" baseline="0" dirty="0">
                <a:solidFill>
                  <a:srgbClr val="FFFFFF"/>
                </a:solidFill>
              </a:defRPr>
            </a:lvl1pPr>
          </a:lstStyle>
          <a:p>
            <a:pPr marL="0" lvl="0">
              <a:lnSpc>
                <a:spcPts val="5490"/>
              </a:lnSpc>
            </a:pPr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282997237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3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0"/>
            <a:ext cx="12192000" cy="6858000"/>
          </a:xfrm>
          <a:prstGeom prst="rect">
            <a:avLst/>
          </a:prstGeom>
        </p:spPr>
      </p:pic>
      <p:sp>
        <p:nvSpPr>
          <p:cNvPr id="5" name="Title 35">
            <a:extLst>
              <a:ext uri="{FF2B5EF4-FFF2-40B4-BE49-F238E27FC236}">
                <a16:creationId xmlns:a16="http://schemas.microsoft.com/office/drawing/2014/main" id="{60388DA1-8C2D-4FFD-88BD-DE4D7CEFD0D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5994" y="941692"/>
            <a:ext cx="7454643" cy="3558191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en-US" sz="4705" spc="-49" baseline="0" dirty="0">
                <a:solidFill>
                  <a:schemeClr val="tx1"/>
                </a:solidFill>
              </a:defRPr>
            </a:lvl1pPr>
          </a:lstStyle>
          <a:p>
            <a:pPr marL="0" lvl="0">
              <a:lnSpc>
                <a:spcPts val="5490"/>
              </a:lnSpc>
            </a:pPr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341773820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layou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29841" y="0"/>
            <a:ext cx="597379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5995" y="620428"/>
            <a:ext cx="5541959" cy="40313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lnSpc>
                <a:spcPts val="3137"/>
              </a:lnSpc>
              <a:defRPr sz="2745" baseline="0">
                <a:solidFill>
                  <a:srgbClr val="000000"/>
                </a:solidFill>
              </a:defRPr>
            </a:lvl1pPr>
          </a:lstStyle>
          <a:p>
            <a:r>
              <a:rPr lang="en-US"/>
              <a:t>Photo layout 1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E31D123-CA1A-4568-88C8-6B1287D07EE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5994" y="2363622"/>
            <a:ext cx="4822952" cy="49513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1765"/>
              </a:lnSpc>
              <a:spcBef>
                <a:spcPts val="1176"/>
              </a:spcBef>
              <a:buNone/>
              <a:defRPr lang="en-US" sz="1372" b="0" kern="1200" spc="0" baseline="0" dirty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marR="0" indent="0" algn="l" defTabSz="914367" rtl="0" eaLnBrk="1" fontAlgn="auto" latinLnBrk="0" hangingPunct="1">
              <a:lnSpc>
                <a:spcPts val="1765"/>
              </a:lnSpc>
              <a:spcBef>
                <a:spcPts val="441"/>
              </a:spcBef>
              <a:spcAft>
                <a:spcPts val="0"/>
              </a:spcAft>
              <a:buClrTx/>
              <a:buSzPct val="90000"/>
              <a:buFont typeface="Arial" panose="020B0604020202020204" pitchFamily="34" charset="0"/>
              <a:buNone/>
              <a:tabLst/>
              <a:defRPr sz="1372">
                <a:solidFill>
                  <a:srgbClr val="000000"/>
                </a:solidFill>
              </a:defRPr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>
              <a:spcBef>
                <a:spcPts val="1200"/>
              </a:spcBef>
            </a:pPr>
            <a:r>
              <a:rPr lang="en-US" b="0">
                <a:solidFill>
                  <a:schemeClr val="tx2"/>
                </a:solidFill>
                <a:latin typeface="+mj-lt"/>
              </a:rPr>
              <a:t>Paragraph title Segoe UI </a:t>
            </a:r>
            <a:r>
              <a:rPr lang="en-US" b="0" err="1">
                <a:solidFill>
                  <a:schemeClr val="tx2"/>
                </a:solidFill>
                <a:latin typeface="+mj-lt"/>
              </a:rPr>
              <a:t>Semibold</a:t>
            </a:r>
            <a:r>
              <a:rPr lang="en-US" b="0">
                <a:solidFill>
                  <a:schemeClr val="tx2"/>
                </a:solidFill>
                <a:latin typeface="+mj-lt"/>
              </a:rPr>
              <a:t> 14/18</a:t>
            </a:r>
            <a:endParaRPr lang="en-US"/>
          </a:p>
          <a:p>
            <a:pPr lvl="1"/>
            <a:endParaRPr lang="en-US"/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1E56201C-07C6-4B48-97C5-8ACFF3D0A97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5995" y="1922587"/>
            <a:ext cx="4822951" cy="28777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ts val="2353"/>
              </a:lnSpc>
              <a:buNone/>
              <a:defRPr lang="en-US" sz="1961" kern="1200" spc="0" baseline="0" dirty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224097" indent="0">
              <a:buNone/>
              <a:defRPr/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lvl="0"/>
            <a:r>
              <a:rPr lang="en-US"/>
              <a:t>Subhead Segoe UI Regular 20/24. </a:t>
            </a:r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7193607F-5D7C-414A-BD66-EADF11B22CA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229842" y="3121485"/>
            <a:ext cx="5973053" cy="543185"/>
          </a:xfrm>
          <a:prstGeom prst="rect">
            <a:avLst/>
          </a:prstGeo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Drop photo here</a:t>
            </a:r>
          </a:p>
        </p:txBody>
      </p:sp>
      <p:sp>
        <p:nvSpPr>
          <p:cNvPr id="13" name="Text Box 3">
            <a:extLst>
              <a:ext uri="{FF2B5EF4-FFF2-40B4-BE49-F238E27FC236}">
                <a16:creationId xmlns:a16="http://schemas.microsoft.com/office/drawing/2014/main" id="{9B6CD1B2-B033-3544-BC3C-77A135C65972}"/>
              </a:ext>
            </a:extLst>
          </p:cNvPr>
          <p:cNvSpPr txBox="1">
            <a:spLocks noChangeArrowheads="1"/>
          </p:cNvSpPr>
          <p:nvPr userDrawn="1"/>
        </p:nvSpPr>
        <p:spPr bwMode="blackWhite">
          <a:xfrm>
            <a:off x="454169" y="6455175"/>
            <a:ext cx="11306469" cy="211083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defTabSz="913924" eaLnBrk="0" hangingPunct="0"/>
            <a:r>
              <a:rPr lang="en-US" sz="686">
                <a:solidFill>
                  <a:schemeClr val="accent6">
                    <a:lumMod val="75000"/>
                  </a:schemeClr>
                </a:solidFill>
                <a:cs typeface="Segoe UI" pitchFamily="34" charset="0"/>
              </a:rPr>
              <a:t>©Microsoft Corporation									                                                                                                                                             Azure </a:t>
            </a:r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2B8FCD16-3426-8B48-803D-6B6E81EED213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455995" y="2576675"/>
            <a:ext cx="4822951" cy="67467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1765"/>
              </a:lnSpc>
              <a:spcBef>
                <a:spcPts val="0"/>
              </a:spcBef>
              <a:buFont typeface="Arial" panose="020B0604020202020204" pitchFamily="34" charset="0"/>
              <a:buNone/>
              <a:defRPr sz="1372" b="0" i="0" spc="0">
                <a:solidFill>
                  <a:srgbClr val="000000"/>
                </a:solidFill>
                <a:latin typeface="+mn-lt"/>
              </a:defRPr>
            </a:lvl1pPr>
            <a:lvl2pPr marL="0" indent="0">
              <a:lnSpc>
                <a:spcPts val="1765"/>
              </a:lnSpc>
              <a:spcBef>
                <a:spcPts val="0"/>
              </a:spcBef>
              <a:buNone/>
              <a:defRPr sz="1372">
                <a:solidFill>
                  <a:schemeClr val="tx1"/>
                </a:solidFill>
              </a:defRPr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lvl="0"/>
            <a:r>
              <a:rPr lang="en-US"/>
              <a:t>Body copy 14 </a:t>
            </a:r>
            <a:r>
              <a:rPr lang="en-US" err="1"/>
              <a:t>Cavorest</a:t>
            </a:r>
            <a:r>
              <a:rPr lang="en-US"/>
              <a:t> a </a:t>
            </a:r>
            <a:r>
              <a:rPr lang="en-US" err="1"/>
              <a:t>aut</a:t>
            </a:r>
            <a:r>
              <a:rPr lang="en-US"/>
              <a:t> arum </a:t>
            </a:r>
            <a:r>
              <a:rPr lang="en-US" err="1"/>
              <a:t>quam</a:t>
            </a:r>
            <a:r>
              <a:rPr lang="en-US"/>
              <a:t> id eat ape </a:t>
            </a:r>
            <a:r>
              <a:rPr lang="en-US" err="1"/>
              <a:t>est</a:t>
            </a:r>
            <a:r>
              <a:rPr lang="en-US"/>
              <a:t>, qui </a:t>
            </a:r>
            <a:r>
              <a:rPr lang="en-US" err="1"/>
              <a:t>sincit</a:t>
            </a:r>
            <a:r>
              <a:rPr lang="en-US"/>
              <a:t>, </a:t>
            </a:r>
            <a:r>
              <a:rPr lang="en-US" err="1"/>
              <a:t>omnimusdae</a:t>
            </a:r>
            <a:r>
              <a:rPr lang="en-US"/>
              <a:t>. </a:t>
            </a:r>
            <a:r>
              <a:rPr lang="en-US" err="1"/>
              <a:t>Icaecatur</a:t>
            </a:r>
            <a:r>
              <a:rPr lang="en-US"/>
              <a:t>. </a:t>
            </a:r>
            <a:r>
              <a:rPr lang="en-US" err="1"/>
              <a:t>Boribus</a:t>
            </a:r>
            <a:r>
              <a:rPr lang="en-US"/>
              <a:t> </a:t>
            </a:r>
            <a:r>
              <a:rPr lang="en-US" err="1"/>
              <a:t>sinctius</a:t>
            </a:r>
            <a:r>
              <a:rPr lang="en-US"/>
              <a:t> </a:t>
            </a:r>
            <a:r>
              <a:rPr lang="en-US" err="1"/>
              <a:t>nimaxime</a:t>
            </a:r>
            <a:r>
              <a:rPr lang="en-US"/>
              <a:t> </a:t>
            </a:r>
            <a:r>
              <a:rPr lang="en-US" err="1"/>
              <a:t>nonsequibus</a:t>
            </a:r>
            <a:r>
              <a:rPr lang="en-US"/>
              <a:t> </a:t>
            </a:r>
            <a:r>
              <a:rPr lang="en-US" err="1"/>
              <a:t>dollendis</a:t>
            </a:r>
            <a:r>
              <a:rPr lang="en-US"/>
              <a:t> as </a:t>
            </a:r>
            <a:r>
              <a:rPr lang="en-US" err="1"/>
              <a:t>autestiatur</a:t>
            </a:r>
            <a:r>
              <a:rPr lang="en-US"/>
              <a:t>. </a:t>
            </a:r>
          </a:p>
        </p:txBody>
      </p:sp>
      <p:sp>
        <p:nvSpPr>
          <p:cNvPr id="17" name="Text Placeholder 4">
            <a:extLst>
              <a:ext uri="{FF2B5EF4-FFF2-40B4-BE49-F238E27FC236}">
                <a16:creationId xmlns:a16="http://schemas.microsoft.com/office/drawing/2014/main" id="{0D336736-F7E2-BA48-AD3E-B0037BAC6816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455993" y="3428999"/>
            <a:ext cx="4822952" cy="49513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1765"/>
              </a:lnSpc>
              <a:spcBef>
                <a:spcPts val="1176"/>
              </a:spcBef>
              <a:buNone/>
              <a:defRPr lang="en-US" sz="1372" b="0" kern="1200" spc="0" baseline="0" dirty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marR="0" indent="0" algn="l" defTabSz="914367" rtl="0" eaLnBrk="1" fontAlgn="auto" latinLnBrk="0" hangingPunct="1">
              <a:lnSpc>
                <a:spcPts val="1765"/>
              </a:lnSpc>
              <a:spcBef>
                <a:spcPts val="441"/>
              </a:spcBef>
              <a:spcAft>
                <a:spcPts val="0"/>
              </a:spcAft>
              <a:buClrTx/>
              <a:buSzPct val="90000"/>
              <a:buFont typeface="Arial" panose="020B0604020202020204" pitchFamily="34" charset="0"/>
              <a:buNone/>
              <a:tabLst/>
              <a:defRPr sz="1372">
                <a:solidFill>
                  <a:srgbClr val="000000"/>
                </a:solidFill>
              </a:defRPr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>
              <a:spcBef>
                <a:spcPts val="1200"/>
              </a:spcBef>
            </a:pPr>
            <a:r>
              <a:rPr lang="en-US" b="0">
                <a:solidFill>
                  <a:schemeClr val="tx2"/>
                </a:solidFill>
                <a:latin typeface="+mj-lt"/>
              </a:rPr>
              <a:t>Paragraph title Segoe UI </a:t>
            </a:r>
            <a:r>
              <a:rPr lang="en-US" b="0" err="1">
                <a:solidFill>
                  <a:schemeClr val="tx2"/>
                </a:solidFill>
                <a:latin typeface="+mj-lt"/>
              </a:rPr>
              <a:t>Semibold</a:t>
            </a:r>
            <a:r>
              <a:rPr lang="en-US" b="0">
                <a:solidFill>
                  <a:schemeClr val="tx2"/>
                </a:solidFill>
                <a:latin typeface="+mj-lt"/>
              </a:rPr>
              <a:t> 14/18</a:t>
            </a:r>
            <a:endParaRPr lang="en-US"/>
          </a:p>
          <a:p>
            <a:pPr lvl="1"/>
            <a:endParaRPr lang="en-US"/>
          </a:p>
        </p:txBody>
      </p:sp>
      <p:sp>
        <p:nvSpPr>
          <p:cNvPr id="18" name="Text Placeholder 4">
            <a:extLst>
              <a:ext uri="{FF2B5EF4-FFF2-40B4-BE49-F238E27FC236}">
                <a16:creationId xmlns:a16="http://schemas.microsoft.com/office/drawing/2014/main" id="{9FA36614-3522-794F-B70F-0659F06DAB3B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455994" y="3639464"/>
            <a:ext cx="4822951" cy="67467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1765"/>
              </a:lnSpc>
              <a:spcBef>
                <a:spcPts val="0"/>
              </a:spcBef>
              <a:buFont typeface="Arial" panose="020B0604020202020204" pitchFamily="34" charset="0"/>
              <a:buNone/>
              <a:defRPr sz="1372" b="0" i="0" spc="0">
                <a:solidFill>
                  <a:srgbClr val="000000"/>
                </a:solidFill>
                <a:latin typeface="+mn-lt"/>
              </a:defRPr>
            </a:lvl1pPr>
            <a:lvl2pPr marL="0" indent="0">
              <a:lnSpc>
                <a:spcPts val="1765"/>
              </a:lnSpc>
              <a:spcBef>
                <a:spcPts val="0"/>
              </a:spcBef>
              <a:buNone/>
              <a:defRPr sz="1372">
                <a:solidFill>
                  <a:schemeClr val="tx1"/>
                </a:solidFill>
              </a:defRPr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lvl="0"/>
            <a:r>
              <a:rPr lang="en-US"/>
              <a:t>Body copy 14 </a:t>
            </a:r>
            <a:r>
              <a:rPr lang="en-US" err="1"/>
              <a:t>Cavorest</a:t>
            </a:r>
            <a:r>
              <a:rPr lang="en-US"/>
              <a:t> a </a:t>
            </a:r>
            <a:r>
              <a:rPr lang="en-US" err="1"/>
              <a:t>aut</a:t>
            </a:r>
            <a:r>
              <a:rPr lang="en-US"/>
              <a:t> arum </a:t>
            </a:r>
            <a:r>
              <a:rPr lang="en-US" err="1"/>
              <a:t>quam</a:t>
            </a:r>
            <a:r>
              <a:rPr lang="en-US"/>
              <a:t> id eat ape </a:t>
            </a:r>
            <a:r>
              <a:rPr lang="en-US" err="1"/>
              <a:t>est</a:t>
            </a:r>
            <a:r>
              <a:rPr lang="en-US"/>
              <a:t>, qui </a:t>
            </a:r>
            <a:r>
              <a:rPr lang="en-US" err="1"/>
              <a:t>sincit</a:t>
            </a:r>
            <a:r>
              <a:rPr lang="en-US"/>
              <a:t>, </a:t>
            </a:r>
            <a:r>
              <a:rPr lang="en-US" err="1"/>
              <a:t>omnimusdae</a:t>
            </a:r>
            <a:r>
              <a:rPr lang="en-US"/>
              <a:t>. </a:t>
            </a:r>
            <a:r>
              <a:rPr lang="en-US" err="1"/>
              <a:t>Icaecatur</a:t>
            </a:r>
            <a:r>
              <a:rPr lang="en-US"/>
              <a:t>. </a:t>
            </a:r>
            <a:r>
              <a:rPr lang="en-US" err="1"/>
              <a:t>Boribus</a:t>
            </a:r>
            <a:r>
              <a:rPr lang="en-US"/>
              <a:t> </a:t>
            </a:r>
            <a:r>
              <a:rPr lang="en-US" err="1"/>
              <a:t>sinctius</a:t>
            </a:r>
            <a:r>
              <a:rPr lang="en-US"/>
              <a:t> </a:t>
            </a:r>
            <a:r>
              <a:rPr lang="en-US" err="1"/>
              <a:t>nimaxime</a:t>
            </a:r>
            <a:r>
              <a:rPr lang="en-US"/>
              <a:t> </a:t>
            </a:r>
            <a:r>
              <a:rPr lang="en-US" err="1"/>
              <a:t>nonsequibus</a:t>
            </a:r>
            <a:r>
              <a:rPr lang="en-US"/>
              <a:t> </a:t>
            </a:r>
            <a:r>
              <a:rPr lang="en-US" err="1"/>
              <a:t>dollendis</a:t>
            </a:r>
            <a:r>
              <a:rPr lang="en-US"/>
              <a:t> as </a:t>
            </a:r>
            <a:r>
              <a:rPr lang="en-US" err="1"/>
              <a:t>autestiatur</a:t>
            </a:r>
            <a:r>
              <a:rPr lang="en-US"/>
              <a:t>. </a:t>
            </a:r>
          </a:p>
        </p:txBody>
      </p:sp>
    </p:spTree>
    <p:extLst>
      <p:ext uri="{BB962C8B-B14F-4D97-AF65-F5344CB8AC3E}">
        <p14:creationId xmlns:p14="http://schemas.microsoft.com/office/powerpoint/2010/main" val="3303051494"/>
      </p:ext>
    </p:extLst>
  </p:cSld>
  <p:clrMapOvr>
    <a:masterClrMapping/>
  </p:clrMapOvr>
  <p:transition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layou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5995" y="620428"/>
            <a:ext cx="11306469" cy="40313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lnSpc>
                <a:spcPts val="3137"/>
              </a:lnSpc>
              <a:defRPr sz="2745">
                <a:solidFill>
                  <a:srgbClr val="000000"/>
                </a:solidFill>
              </a:defRPr>
            </a:lvl1pPr>
          </a:lstStyle>
          <a:p>
            <a:r>
              <a:rPr lang="en-US"/>
              <a:t>Photo layout 2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455995" y="4927922"/>
            <a:ext cx="3618381" cy="216206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367" rtl="0" eaLnBrk="1" fontAlgn="auto" latinLnBrk="0" hangingPunct="1">
              <a:lnSpc>
                <a:spcPts val="1765"/>
              </a:lnSpc>
              <a:spcBef>
                <a:spcPts val="882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lang="en-US" sz="1372" b="0" kern="1200" spc="0" baseline="0" dirty="0" smtClean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marR="0" indent="0" algn="l" defTabSz="914367" rtl="0" eaLnBrk="1" fontAlgn="auto" latinLnBrk="0" hangingPunct="1">
              <a:lnSpc>
                <a:spcPts val="1765"/>
              </a:lnSpc>
              <a:spcBef>
                <a:spcPts val="441"/>
              </a:spcBef>
              <a:spcAft>
                <a:spcPts val="0"/>
              </a:spcAft>
              <a:buClrTx/>
              <a:buSzPct val="90000"/>
              <a:buFont typeface="Arial" panose="020B0604020202020204" pitchFamily="34" charset="0"/>
              <a:buNone/>
              <a:tabLst/>
              <a:defRPr sz="1372">
                <a:solidFill>
                  <a:srgbClr val="000000"/>
                </a:solidFill>
              </a:defRPr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marL="0" marR="0" lvl="0" indent="0" algn="l" defTabSz="914367" rtl="0" eaLnBrk="1" fontAlgn="auto" latinLnBrk="0" hangingPunct="1">
              <a:lnSpc>
                <a:spcPts val="1765"/>
              </a:lnSpc>
              <a:spcBef>
                <a:spcPts val="882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</a:pPr>
            <a:r>
              <a:rPr lang="en-US"/>
              <a:t>Paragraph title Segoe UI </a:t>
            </a:r>
            <a:r>
              <a:rPr lang="en-US" err="1"/>
              <a:t>Semibold</a:t>
            </a:r>
            <a:r>
              <a:rPr lang="en-US"/>
              <a:t> 14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4300039" y="4927922"/>
            <a:ext cx="3618381" cy="216206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367" rtl="0" eaLnBrk="1" fontAlgn="auto" latinLnBrk="0" hangingPunct="1">
              <a:lnSpc>
                <a:spcPts val="1765"/>
              </a:lnSpc>
              <a:spcBef>
                <a:spcPts val="882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1372">
                <a:solidFill>
                  <a:schemeClr val="tx2"/>
                </a:solidFill>
              </a:defRPr>
            </a:lvl1pPr>
            <a:lvl2pPr marL="0" marR="0" indent="0" algn="l" defTabSz="914367" rtl="0" eaLnBrk="1" fontAlgn="auto" latinLnBrk="0" hangingPunct="1">
              <a:lnSpc>
                <a:spcPts val="1765"/>
              </a:lnSpc>
              <a:spcBef>
                <a:spcPts val="441"/>
              </a:spcBef>
              <a:spcAft>
                <a:spcPts val="0"/>
              </a:spcAft>
              <a:buClrTx/>
              <a:buSzPct val="90000"/>
              <a:buFont typeface="Arial" panose="020B0604020202020204" pitchFamily="34" charset="0"/>
              <a:buNone/>
              <a:tabLst/>
              <a:defRPr sz="1372">
                <a:solidFill>
                  <a:srgbClr val="000000"/>
                </a:solidFill>
              </a:defRPr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marL="0" marR="0" lvl="0" indent="0" algn="l" defTabSz="914367" rtl="0" eaLnBrk="1" fontAlgn="auto" latinLnBrk="0" hangingPunct="1">
              <a:lnSpc>
                <a:spcPts val="1765"/>
              </a:lnSpc>
              <a:spcBef>
                <a:spcPts val="882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</a:pPr>
            <a:r>
              <a:rPr lang="en-US"/>
              <a:t>Paragraph title Segoe UI </a:t>
            </a:r>
            <a:r>
              <a:rPr lang="en-US" err="1"/>
              <a:t>Semibold</a:t>
            </a:r>
            <a:r>
              <a:rPr lang="en-US"/>
              <a:t> 14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8144083" y="4927922"/>
            <a:ext cx="3618381" cy="216206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367" rtl="0" eaLnBrk="1" fontAlgn="auto" latinLnBrk="0" hangingPunct="1">
              <a:lnSpc>
                <a:spcPts val="1765"/>
              </a:lnSpc>
              <a:spcBef>
                <a:spcPts val="882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1372">
                <a:solidFill>
                  <a:schemeClr val="tx2"/>
                </a:solidFill>
              </a:defRPr>
            </a:lvl1pPr>
            <a:lvl2pPr marL="0" marR="0" indent="0" algn="l" defTabSz="914367" rtl="0" eaLnBrk="1" fontAlgn="auto" latinLnBrk="0" hangingPunct="1">
              <a:lnSpc>
                <a:spcPts val="1765"/>
              </a:lnSpc>
              <a:spcBef>
                <a:spcPts val="441"/>
              </a:spcBef>
              <a:spcAft>
                <a:spcPts val="0"/>
              </a:spcAft>
              <a:buClrTx/>
              <a:buSzPct val="90000"/>
              <a:buFont typeface="Arial" panose="020B0604020202020204" pitchFamily="34" charset="0"/>
              <a:buNone/>
              <a:tabLst/>
              <a:defRPr sz="1372">
                <a:solidFill>
                  <a:srgbClr val="000000"/>
                </a:solidFill>
              </a:defRPr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marL="0" marR="0" lvl="0" indent="0" algn="l" defTabSz="914367" rtl="0" eaLnBrk="1" fontAlgn="auto" latinLnBrk="0" hangingPunct="1">
              <a:lnSpc>
                <a:spcPts val="1765"/>
              </a:lnSpc>
              <a:spcBef>
                <a:spcPts val="882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</a:pPr>
            <a:r>
              <a:rPr lang="en-US"/>
              <a:t>Paragraph title Segoe UI </a:t>
            </a:r>
            <a:r>
              <a:rPr lang="en-US" err="1"/>
              <a:t>Semibold</a:t>
            </a:r>
            <a:r>
              <a:rPr lang="en-US"/>
              <a:t> 14</a:t>
            </a:r>
          </a:p>
        </p:txBody>
      </p:sp>
      <p:pic>
        <p:nvPicPr>
          <p:cNvPr id="15" name="Picture 14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1"/>
          <a:stretch/>
        </p:blipFill>
        <p:spPr>
          <a:xfrm>
            <a:off x="8150360" y="2152783"/>
            <a:ext cx="3623053" cy="2589915"/>
          </a:xfrm>
          <a:prstGeom prst="rect">
            <a:avLst/>
          </a:prstGeom>
        </p:spPr>
      </p:pic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25647" y="2152783"/>
            <a:ext cx="3648727" cy="2589915"/>
          </a:xfrm>
          <a:prstGeom prst="rect">
            <a:avLst/>
          </a:prstGeom>
        </p:spPr>
      </p:pic>
      <p:pic>
        <p:nvPicPr>
          <p:cNvPr id="17" name="Picture 16"/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295368" y="2152781"/>
            <a:ext cx="3623052" cy="2589916"/>
          </a:xfrm>
          <a:prstGeom prst="rect">
            <a:avLst/>
          </a:prstGeom>
        </p:spPr>
      </p:pic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2717A0C5-B07A-A34B-9DBC-AEA2B456E25A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426424" y="3193694"/>
            <a:ext cx="3647951" cy="543185"/>
          </a:xfrm>
          <a:prstGeom prst="rect">
            <a:avLst/>
          </a:prstGeo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Drop photo here</a:t>
            </a:r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F5287B92-3963-B94C-821F-3908B3544A42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4300039" y="3186832"/>
            <a:ext cx="3618381" cy="543185"/>
          </a:xfrm>
          <a:prstGeom prst="rect">
            <a:avLst/>
          </a:prstGeo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Drop photo here</a:t>
            </a:r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1DC31788-B7D8-9D46-BE0A-6B7EED7110B6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8150308" y="3186832"/>
            <a:ext cx="3612156" cy="543185"/>
          </a:xfrm>
          <a:prstGeom prst="rect">
            <a:avLst/>
          </a:prstGeo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Drop photo here</a:t>
            </a:r>
          </a:p>
        </p:txBody>
      </p:sp>
      <p:sp>
        <p:nvSpPr>
          <p:cNvPr id="20" name="Text Box 3">
            <a:extLst>
              <a:ext uri="{FF2B5EF4-FFF2-40B4-BE49-F238E27FC236}">
                <a16:creationId xmlns:a16="http://schemas.microsoft.com/office/drawing/2014/main" id="{F848FF14-9025-D34E-A47B-6D1957DCA63E}"/>
              </a:ext>
            </a:extLst>
          </p:cNvPr>
          <p:cNvSpPr txBox="1">
            <a:spLocks noChangeArrowheads="1"/>
          </p:cNvSpPr>
          <p:nvPr userDrawn="1"/>
        </p:nvSpPr>
        <p:spPr bwMode="blackWhite">
          <a:xfrm>
            <a:off x="454169" y="6455175"/>
            <a:ext cx="11306469" cy="211083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defTabSz="913924" eaLnBrk="0" hangingPunct="0"/>
            <a:r>
              <a:rPr lang="en-US" sz="686">
                <a:solidFill>
                  <a:schemeClr val="accent6">
                    <a:lumMod val="75000"/>
                  </a:schemeClr>
                </a:solidFill>
                <a:cs typeface="Segoe UI" pitchFamily="34" charset="0"/>
              </a:rPr>
              <a:t>©Microsoft Corporation									                                                                                                                                             Azure </a:t>
            </a:r>
          </a:p>
        </p:txBody>
      </p:sp>
      <p:sp>
        <p:nvSpPr>
          <p:cNvPr id="22" name="Text Placeholder 4">
            <a:extLst>
              <a:ext uri="{FF2B5EF4-FFF2-40B4-BE49-F238E27FC236}">
                <a16:creationId xmlns:a16="http://schemas.microsoft.com/office/drawing/2014/main" id="{B97163EF-E7E8-4446-98C1-DF17E29E7379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454169" y="5158174"/>
            <a:ext cx="3618381" cy="90550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1765"/>
              </a:lnSpc>
              <a:spcBef>
                <a:spcPts val="0"/>
              </a:spcBef>
              <a:buFont typeface="Arial" panose="020B0604020202020204" pitchFamily="34" charset="0"/>
              <a:buNone/>
              <a:defRPr sz="1372" b="0" i="0" spc="0">
                <a:solidFill>
                  <a:srgbClr val="000000"/>
                </a:solidFill>
                <a:latin typeface="+mn-lt"/>
              </a:defRPr>
            </a:lvl1pPr>
            <a:lvl2pPr marL="0" indent="0">
              <a:lnSpc>
                <a:spcPts val="1765"/>
              </a:lnSpc>
              <a:spcBef>
                <a:spcPts val="0"/>
              </a:spcBef>
              <a:buNone/>
              <a:defRPr sz="1372">
                <a:solidFill>
                  <a:schemeClr val="tx1"/>
                </a:solidFill>
              </a:defRPr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lvl="0"/>
            <a:r>
              <a:rPr lang="en-US"/>
              <a:t>Body copy 14 </a:t>
            </a:r>
            <a:r>
              <a:rPr lang="en-US" err="1"/>
              <a:t>Cavorest</a:t>
            </a:r>
            <a:r>
              <a:rPr lang="en-US"/>
              <a:t> a </a:t>
            </a:r>
            <a:r>
              <a:rPr lang="en-US" err="1"/>
              <a:t>aut</a:t>
            </a:r>
            <a:r>
              <a:rPr lang="en-US"/>
              <a:t> arum </a:t>
            </a:r>
            <a:r>
              <a:rPr lang="en-US" err="1"/>
              <a:t>quam</a:t>
            </a:r>
            <a:r>
              <a:rPr lang="en-US"/>
              <a:t> id eat ape </a:t>
            </a:r>
            <a:r>
              <a:rPr lang="en-US" err="1"/>
              <a:t>est</a:t>
            </a:r>
            <a:r>
              <a:rPr lang="en-US"/>
              <a:t>, qui </a:t>
            </a:r>
            <a:r>
              <a:rPr lang="en-US" err="1"/>
              <a:t>sincit</a:t>
            </a:r>
            <a:r>
              <a:rPr lang="en-US"/>
              <a:t>, </a:t>
            </a:r>
            <a:r>
              <a:rPr lang="en-US" err="1"/>
              <a:t>omnimusdae</a:t>
            </a:r>
            <a:r>
              <a:rPr lang="en-US"/>
              <a:t>. </a:t>
            </a:r>
            <a:r>
              <a:rPr lang="en-US" err="1"/>
              <a:t>Icaecatur</a:t>
            </a:r>
            <a:r>
              <a:rPr lang="en-US"/>
              <a:t>. </a:t>
            </a:r>
            <a:r>
              <a:rPr lang="en-US" err="1"/>
              <a:t>Boribus</a:t>
            </a:r>
            <a:r>
              <a:rPr lang="en-US"/>
              <a:t> </a:t>
            </a:r>
            <a:r>
              <a:rPr lang="en-US" err="1"/>
              <a:t>sinctius</a:t>
            </a:r>
            <a:r>
              <a:rPr lang="en-US"/>
              <a:t> </a:t>
            </a:r>
            <a:r>
              <a:rPr lang="en-US" err="1"/>
              <a:t>nimaxime</a:t>
            </a:r>
            <a:r>
              <a:rPr lang="en-US"/>
              <a:t> </a:t>
            </a:r>
            <a:r>
              <a:rPr lang="en-US" err="1"/>
              <a:t>nonsequibus</a:t>
            </a:r>
            <a:r>
              <a:rPr lang="en-US"/>
              <a:t> </a:t>
            </a:r>
            <a:r>
              <a:rPr lang="en-US" err="1"/>
              <a:t>dollendis</a:t>
            </a:r>
            <a:r>
              <a:rPr lang="en-US"/>
              <a:t> as. </a:t>
            </a:r>
          </a:p>
        </p:txBody>
      </p:sp>
      <p:sp>
        <p:nvSpPr>
          <p:cNvPr id="23" name="Text Placeholder 4">
            <a:extLst>
              <a:ext uri="{FF2B5EF4-FFF2-40B4-BE49-F238E27FC236}">
                <a16:creationId xmlns:a16="http://schemas.microsoft.com/office/drawing/2014/main" id="{8E57B78A-F25C-4D46-917C-E53FD3A557E0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4302175" y="5158174"/>
            <a:ext cx="3616245" cy="90550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1765"/>
              </a:lnSpc>
              <a:spcBef>
                <a:spcPts val="0"/>
              </a:spcBef>
              <a:buFont typeface="Arial" panose="020B0604020202020204" pitchFamily="34" charset="0"/>
              <a:buNone/>
              <a:defRPr sz="1372" b="0" i="0" spc="0">
                <a:solidFill>
                  <a:srgbClr val="000000"/>
                </a:solidFill>
                <a:latin typeface="+mn-lt"/>
              </a:defRPr>
            </a:lvl1pPr>
            <a:lvl2pPr marL="0" indent="0">
              <a:lnSpc>
                <a:spcPts val="1765"/>
              </a:lnSpc>
              <a:spcBef>
                <a:spcPts val="0"/>
              </a:spcBef>
              <a:buNone/>
              <a:defRPr sz="1372">
                <a:solidFill>
                  <a:schemeClr val="tx1"/>
                </a:solidFill>
              </a:defRPr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lvl="0"/>
            <a:r>
              <a:rPr lang="en-US"/>
              <a:t>Body copy 14 </a:t>
            </a:r>
            <a:r>
              <a:rPr lang="en-US" err="1"/>
              <a:t>Cavorest</a:t>
            </a:r>
            <a:r>
              <a:rPr lang="en-US"/>
              <a:t> a </a:t>
            </a:r>
            <a:r>
              <a:rPr lang="en-US" err="1"/>
              <a:t>aut</a:t>
            </a:r>
            <a:r>
              <a:rPr lang="en-US"/>
              <a:t> arum </a:t>
            </a:r>
            <a:r>
              <a:rPr lang="en-US" err="1"/>
              <a:t>quam</a:t>
            </a:r>
            <a:r>
              <a:rPr lang="en-US"/>
              <a:t> id eat ape </a:t>
            </a:r>
            <a:r>
              <a:rPr lang="en-US" err="1"/>
              <a:t>est</a:t>
            </a:r>
            <a:r>
              <a:rPr lang="en-US"/>
              <a:t>, qui </a:t>
            </a:r>
            <a:r>
              <a:rPr lang="en-US" err="1"/>
              <a:t>sincit</a:t>
            </a:r>
            <a:r>
              <a:rPr lang="en-US"/>
              <a:t>, </a:t>
            </a:r>
            <a:r>
              <a:rPr lang="en-US" err="1"/>
              <a:t>omnimusdae</a:t>
            </a:r>
            <a:r>
              <a:rPr lang="en-US"/>
              <a:t>. </a:t>
            </a:r>
            <a:r>
              <a:rPr lang="en-US" err="1"/>
              <a:t>Icaecatur</a:t>
            </a:r>
            <a:r>
              <a:rPr lang="en-US"/>
              <a:t>. </a:t>
            </a:r>
            <a:r>
              <a:rPr lang="en-US" err="1"/>
              <a:t>Boribus</a:t>
            </a:r>
            <a:r>
              <a:rPr lang="en-US"/>
              <a:t> </a:t>
            </a:r>
            <a:r>
              <a:rPr lang="en-US" err="1"/>
              <a:t>sinctius</a:t>
            </a:r>
            <a:r>
              <a:rPr lang="en-US"/>
              <a:t> </a:t>
            </a:r>
            <a:r>
              <a:rPr lang="en-US" err="1"/>
              <a:t>nimaxime</a:t>
            </a:r>
            <a:r>
              <a:rPr lang="en-US"/>
              <a:t> </a:t>
            </a:r>
            <a:r>
              <a:rPr lang="en-US" err="1"/>
              <a:t>nonsequibus</a:t>
            </a:r>
            <a:r>
              <a:rPr lang="en-US"/>
              <a:t> </a:t>
            </a:r>
            <a:r>
              <a:rPr lang="en-US" err="1"/>
              <a:t>dollendis</a:t>
            </a:r>
            <a:r>
              <a:rPr lang="en-US"/>
              <a:t> as. </a:t>
            </a:r>
          </a:p>
        </p:txBody>
      </p:sp>
      <p:sp>
        <p:nvSpPr>
          <p:cNvPr id="24" name="Text Placeholder 4">
            <a:extLst>
              <a:ext uri="{FF2B5EF4-FFF2-40B4-BE49-F238E27FC236}">
                <a16:creationId xmlns:a16="http://schemas.microsoft.com/office/drawing/2014/main" id="{A1AA5291-B66D-8249-B809-BA15DD1EEA3E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8150308" y="5158174"/>
            <a:ext cx="3618381" cy="90550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1765"/>
              </a:lnSpc>
              <a:spcBef>
                <a:spcPts val="0"/>
              </a:spcBef>
              <a:buFont typeface="Arial" panose="020B0604020202020204" pitchFamily="34" charset="0"/>
              <a:buNone/>
              <a:defRPr sz="1372" b="0" i="0" spc="0">
                <a:solidFill>
                  <a:srgbClr val="000000"/>
                </a:solidFill>
                <a:latin typeface="+mn-lt"/>
              </a:defRPr>
            </a:lvl1pPr>
            <a:lvl2pPr marL="0" indent="0">
              <a:lnSpc>
                <a:spcPts val="1765"/>
              </a:lnSpc>
              <a:spcBef>
                <a:spcPts val="0"/>
              </a:spcBef>
              <a:buNone/>
              <a:defRPr sz="1372">
                <a:solidFill>
                  <a:schemeClr val="tx1"/>
                </a:solidFill>
              </a:defRPr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lvl="0"/>
            <a:r>
              <a:rPr lang="en-US"/>
              <a:t>Body copy 14 </a:t>
            </a:r>
            <a:r>
              <a:rPr lang="en-US" err="1"/>
              <a:t>Cavorest</a:t>
            </a:r>
            <a:r>
              <a:rPr lang="en-US"/>
              <a:t> a </a:t>
            </a:r>
            <a:r>
              <a:rPr lang="en-US" err="1"/>
              <a:t>aut</a:t>
            </a:r>
            <a:r>
              <a:rPr lang="en-US"/>
              <a:t> arum </a:t>
            </a:r>
            <a:r>
              <a:rPr lang="en-US" err="1"/>
              <a:t>quam</a:t>
            </a:r>
            <a:r>
              <a:rPr lang="en-US"/>
              <a:t> id eat ape </a:t>
            </a:r>
            <a:r>
              <a:rPr lang="en-US" err="1"/>
              <a:t>est</a:t>
            </a:r>
            <a:r>
              <a:rPr lang="en-US"/>
              <a:t>, qui </a:t>
            </a:r>
            <a:r>
              <a:rPr lang="en-US" err="1"/>
              <a:t>sincit</a:t>
            </a:r>
            <a:r>
              <a:rPr lang="en-US"/>
              <a:t>, </a:t>
            </a:r>
            <a:r>
              <a:rPr lang="en-US" err="1"/>
              <a:t>omnimusdae</a:t>
            </a:r>
            <a:r>
              <a:rPr lang="en-US"/>
              <a:t>. </a:t>
            </a:r>
            <a:r>
              <a:rPr lang="en-US" err="1"/>
              <a:t>Icaecatur</a:t>
            </a:r>
            <a:r>
              <a:rPr lang="en-US"/>
              <a:t>. </a:t>
            </a:r>
            <a:r>
              <a:rPr lang="en-US" err="1"/>
              <a:t>Boribus</a:t>
            </a:r>
            <a:r>
              <a:rPr lang="en-US"/>
              <a:t> </a:t>
            </a:r>
            <a:r>
              <a:rPr lang="en-US" err="1"/>
              <a:t>sinctius</a:t>
            </a:r>
            <a:r>
              <a:rPr lang="en-US"/>
              <a:t> </a:t>
            </a:r>
            <a:r>
              <a:rPr lang="en-US" err="1"/>
              <a:t>nimaxime</a:t>
            </a:r>
            <a:r>
              <a:rPr lang="en-US"/>
              <a:t> </a:t>
            </a:r>
            <a:r>
              <a:rPr lang="en-US" err="1"/>
              <a:t>nonsequibus</a:t>
            </a:r>
            <a:r>
              <a:rPr lang="en-US"/>
              <a:t> </a:t>
            </a:r>
            <a:r>
              <a:rPr lang="en-US" err="1"/>
              <a:t>dollendis</a:t>
            </a:r>
            <a:r>
              <a:rPr lang="en-US"/>
              <a:t> as. </a:t>
            </a:r>
          </a:p>
        </p:txBody>
      </p:sp>
    </p:spTree>
    <p:extLst>
      <p:ext uri="{BB962C8B-B14F-4D97-AF65-F5344CB8AC3E}">
        <p14:creationId xmlns:p14="http://schemas.microsoft.com/office/powerpoint/2010/main" val="1889138417"/>
      </p:ext>
    </p:extLst>
  </p:cSld>
  <p:clrMapOvr>
    <a:masterClrMapping/>
  </p:clrMapOvr>
  <p:transition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ice layou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>
            <a:extLst>
              <a:ext uri="{FF2B5EF4-FFF2-40B4-BE49-F238E27FC236}">
                <a16:creationId xmlns:a16="http://schemas.microsoft.com/office/drawing/2014/main" id="{C4B95F29-56C3-4C85-A12B-0B0BE769E70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444774" y="418150"/>
            <a:ext cx="7747227" cy="6439851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5995" y="620428"/>
            <a:ext cx="11306469" cy="40313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lnSpc>
                <a:spcPts val="3137"/>
              </a:lnSpc>
              <a:defRPr sz="2745">
                <a:solidFill>
                  <a:srgbClr val="000000"/>
                </a:solidFill>
              </a:defRPr>
            </a:lvl1pPr>
          </a:lstStyle>
          <a:p>
            <a:r>
              <a:rPr lang="en-US"/>
              <a:t>Device layout 1: one column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55995" y="1922802"/>
            <a:ext cx="4758211" cy="60353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ts val="2353"/>
              </a:lnSpc>
              <a:buNone/>
              <a:defRPr sz="1961" b="0" i="0">
                <a:solidFill>
                  <a:srgbClr val="000000"/>
                </a:solidFill>
                <a:latin typeface="+mn-lt"/>
              </a:defRPr>
            </a:lvl1pPr>
            <a:lvl2pPr marL="224097" indent="0">
              <a:buNone/>
              <a:defRPr/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lvl="0"/>
            <a:r>
              <a:rPr lang="pt-BR"/>
              <a:t>Large subhead Segoe UI Regular 20/24. Em volor resequaectur.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455995" y="2707597"/>
            <a:ext cx="4758210" cy="2521331"/>
          </a:xfrm>
          <a:prstGeom prst="rect">
            <a:avLst/>
          </a:prstGeom>
        </p:spPr>
        <p:txBody>
          <a:bodyPr lIns="0" tIns="0" rIns="0" bIns="0"/>
          <a:lstStyle>
            <a:lvl1pPr marL="280121" indent="-280121">
              <a:lnSpc>
                <a:spcPts val="1765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372" b="0" i="0" spc="0">
                <a:solidFill>
                  <a:srgbClr val="000000"/>
                </a:solidFill>
                <a:latin typeface="+mn-lt"/>
              </a:defRPr>
            </a:lvl1pPr>
            <a:lvl2pPr marL="0" indent="0">
              <a:lnSpc>
                <a:spcPts val="1765"/>
              </a:lnSpc>
              <a:spcBef>
                <a:spcPts val="0"/>
              </a:spcBef>
              <a:buNone/>
              <a:defRPr sz="1372">
                <a:solidFill>
                  <a:schemeClr val="tx1"/>
                </a:solidFill>
              </a:defRPr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lvl="0"/>
            <a:r>
              <a:rPr lang="en-US"/>
              <a:t>Body copy 14 </a:t>
            </a:r>
            <a:r>
              <a:rPr lang="en-US" err="1"/>
              <a:t>Cavorest</a:t>
            </a:r>
            <a:r>
              <a:rPr lang="en-US"/>
              <a:t> a </a:t>
            </a:r>
            <a:r>
              <a:rPr lang="en-US" err="1"/>
              <a:t>aut</a:t>
            </a:r>
            <a:r>
              <a:rPr lang="en-US"/>
              <a:t> arum </a:t>
            </a:r>
            <a:r>
              <a:rPr lang="en-US" err="1"/>
              <a:t>quam</a:t>
            </a:r>
            <a:r>
              <a:rPr lang="en-US"/>
              <a:t> id eat ape </a:t>
            </a:r>
            <a:r>
              <a:rPr lang="en-US" err="1"/>
              <a:t>est</a:t>
            </a:r>
            <a:r>
              <a:rPr lang="en-US"/>
              <a:t>, qui </a:t>
            </a:r>
            <a:r>
              <a:rPr lang="en-US" err="1"/>
              <a:t>sincit</a:t>
            </a:r>
            <a:r>
              <a:rPr lang="en-US"/>
              <a:t>, </a:t>
            </a:r>
            <a:r>
              <a:rPr lang="en-US" err="1"/>
              <a:t>omnimusdae</a:t>
            </a:r>
            <a:r>
              <a:rPr lang="en-US"/>
              <a:t>. </a:t>
            </a:r>
            <a:r>
              <a:rPr lang="en-US" err="1"/>
              <a:t>Icaecatur</a:t>
            </a:r>
            <a:r>
              <a:rPr lang="en-US"/>
              <a:t>. </a:t>
            </a:r>
            <a:r>
              <a:rPr lang="en-US" err="1"/>
              <a:t>Boribus</a:t>
            </a:r>
            <a:r>
              <a:rPr lang="en-US"/>
              <a:t> </a:t>
            </a:r>
            <a:r>
              <a:rPr lang="en-US" err="1"/>
              <a:t>sinctius</a:t>
            </a:r>
            <a:r>
              <a:rPr lang="en-US"/>
              <a:t> </a:t>
            </a:r>
            <a:r>
              <a:rPr lang="en-US" err="1"/>
              <a:t>nimaxime</a:t>
            </a:r>
            <a:r>
              <a:rPr lang="en-US"/>
              <a:t> </a:t>
            </a:r>
            <a:r>
              <a:rPr lang="en-US" err="1"/>
              <a:t>nonsequibus</a:t>
            </a:r>
            <a:r>
              <a:rPr lang="en-US"/>
              <a:t> </a:t>
            </a:r>
            <a:r>
              <a:rPr lang="en-US" err="1"/>
              <a:t>dollendis</a:t>
            </a:r>
            <a:r>
              <a:rPr lang="en-US"/>
              <a:t> as </a:t>
            </a:r>
            <a:r>
              <a:rPr lang="en-US" err="1"/>
              <a:t>autestiatur</a:t>
            </a:r>
            <a:r>
              <a:rPr lang="en-US"/>
              <a:t>. </a:t>
            </a:r>
          </a:p>
          <a:p>
            <a:pPr lvl="0"/>
            <a:endParaRPr lang="en-US"/>
          </a:p>
          <a:p>
            <a:pPr lvl="0"/>
            <a:r>
              <a:rPr lang="en-US"/>
              <a:t>Body copy 14 </a:t>
            </a:r>
            <a:r>
              <a:rPr lang="en-US" err="1"/>
              <a:t>Cavorest</a:t>
            </a:r>
            <a:r>
              <a:rPr lang="en-US"/>
              <a:t> a </a:t>
            </a:r>
            <a:r>
              <a:rPr lang="en-US" err="1"/>
              <a:t>aut</a:t>
            </a:r>
            <a:r>
              <a:rPr lang="en-US"/>
              <a:t> arum </a:t>
            </a:r>
            <a:r>
              <a:rPr lang="en-US" err="1"/>
              <a:t>quam</a:t>
            </a:r>
            <a:r>
              <a:rPr lang="en-US"/>
              <a:t> id eat ape </a:t>
            </a:r>
            <a:r>
              <a:rPr lang="en-US" err="1"/>
              <a:t>est</a:t>
            </a:r>
            <a:r>
              <a:rPr lang="en-US"/>
              <a:t>, qui </a:t>
            </a:r>
            <a:r>
              <a:rPr lang="en-US" err="1"/>
              <a:t>sincit</a:t>
            </a:r>
            <a:r>
              <a:rPr lang="en-US"/>
              <a:t>, </a:t>
            </a:r>
            <a:r>
              <a:rPr lang="en-US" err="1"/>
              <a:t>omnimusdae</a:t>
            </a:r>
            <a:r>
              <a:rPr lang="en-US"/>
              <a:t>. </a:t>
            </a:r>
            <a:r>
              <a:rPr lang="en-US" err="1"/>
              <a:t>Icaecatur</a:t>
            </a:r>
            <a:r>
              <a:rPr lang="en-US"/>
              <a:t>. </a:t>
            </a:r>
            <a:r>
              <a:rPr lang="en-US" err="1"/>
              <a:t>Boribus</a:t>
            </a:r>
            <a:r>
              <a:rPr lang="en-US"/>
              <a:t> </a:t>
            </a:r>
            <a:r>
              <a:rPr lang="en-US" err="1"/>
              <a:t>sinctius</a:t>
            </a:r>
            <a:r>
              <a:rPr lang="en-US"/>
              <a:t> </a:t>
            </a:r>
            <a:r>
              <a:rPr lang="en-US" err="1"/>
              <a:t>nimaxime</a:t>
            </a:r>
            <a:r>
              <a:rPr lang="en-US"/>
              <a:t> </a:t>
            </a:r>
            <a:r>
              <a:rPr lang="en-US" err="1"/>
              <a:t>nonsequibus</a:t>
            </a:r>
            <a:r>
              <a:rPr lang="en-US"/>
              <a:t> </a:t>
            </a:r>
            <a:r>
              <a:rPr lang="en-US" err="1"/>
              <a:t>dollendis</a:t>
            </a:r>
            <a:r>
              <a:rPr lang="en-US"/>
              <a:t> as </a:t>
            </a:r>
            <a:r>
              <a:rPr lang="en-US" err="1"/>
              <a:t>autestiatur</a:t>
            </a:r>
            <a:r>
              <a:rPr lang="en-US"/>
              <a:t>. </a:t>
            </a:r>
          </a:p>
          <a:p>
            <a:pPr lvl="0"/>
            <a:endParaRPr lang="en-US"/>
          </a:p>
          <a:p>
            <a:pPr lvl="0"/>
            <a:r>
              <a:rPr lang="en-US"/>
              <a:t>Body copy 14 </a:t>
            </a:r>
            <a:r>
              <a:rPr lang="en-US" err="1"/>
              <a:t>Cavorest</a:t>
            </a:r>
            <a:r>
              <a:rPr lang="en-US"/>
              <a:t> a </a:t>
            </a:r>
            <a:r>
              <a:rPr lang="en-US" err="1"/>
              <a:t>aut</a:t>
            </a:r>
            <a:r>
              <a:rPr lang="en-US"/>
              <a:t> arum </a:t>
            </a:r>
            <a:r>
              <a:rPr lang="en-US" err="1"/>
              <a:t>quam</a:t>
            </a:r>
            <a:r>
              <a:rPr lang="en-US"/>
              <a:t> id eat ape </a:t>
            </a:r>
            <a:r>
              <a:rPr lang="en-US" err="1"/>
              <a:t>est</a:t>
            </a:r>
            <a:r>
              <a:rPr lang="en-US"/>
              <a:t>, qui </a:t>
            </a:r>
            <a:r>
              <a:rPr lang="en-US" err="1"/>
              <a:t>sincit</a:t>
            </a:r>
            <a:r>
              <a:rPr lang="en-US"/>
              <a:t>, </a:t>
            </a:r>
            <a:r>
              <a:rPr lang="en-US" err="1"/>
              <a:t>omnimusdae</a:t>
            </a:r>
            <a:r>
              <a:rPr lang="en-US"/>
              <a:t>. </a:t>
            </a:r>
            <a:r>
              <a:rPr lang="en-US" err="1"/>
              <a:t>Icaecatur</a:t>
            </a:r>
            <a:r>
              <a:rPr lang="en-US"/>
              <a:t>. </a:t>
            </a:r>
            <a:r>
              <a:rPr lang="en-US" err="1"/>
              <a:t>Boribus</a:t>
            </a:r>
            <a:r>
              <a:rPr lang="en-US"/>
              <a:t> </a:t>
            </a:r>
            <a:r>
              <a:rPr lang="en-US" err="1"/>
              <a:t>sinctius</a:t>
            </a:r>
            <a:r>
              <a:rPr lang="en-US"/>
              <a:t> </a:t>
            </a:r>
            <a:r>
              <a:rPr lang="en-US" err="1"/>
              <a:t>nimaxime</a:t>
            </a:r>
            <a:r>
              <a:rPr lang="en-US"/>
              <a:t> </a:t>
            </a:r>
            <a:r>
              <a:rPr lang="en-US" err="1"/>
              <a:t>nonsequibus</a:t>
            </a:r>
            <a:r>
              <a:rPr lang="en-US"/>
              <a:t> </a:t>
            </a:r>
            <a:r>
              <a:rPr lang="en-US" err="1"/>
              <a:t>dollendis</a:t>
            </a:r>
            <a:r>
              <a:rPr lang="en-US"/>
              <a:t> as </a:t>
            </a:r>
            <a:r>
              <a:rPr lang="en-US" err="1"/>
              <a:t>autestiatur</a:t>
            </a:r>
            <a:r>
              <a:rPr lang="en-US"/>
              <a:t>.</a:t>
            </a:r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934476FE-7091-4DE7-A55E-3EF5A6569A7D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357959" y="3239966"/>
            <a:ext cx="5834041" cy="908839"/>
          </a:xfrm>
          <a:prstGeom prst="rect">
            <a:avLst/>
          </a:prstGeom>
        </p:spPr>
        <p:txBody>
          <a:bodyPr anchor="ctr" anchorCtr="0"/>
          <a:lstStyle>
            <a:lvl1pPr algn="ctr">
              <a:defRPr>
                <a:solidFill>
                  <a:srgbClr val="000000"/>
                </a:solidFill>
              </a:defRPr>
            </a:lvl1pPr>
          </a:lstStyle>
          <a:p>
            <a:r>
              <a:rPr lang="en-US"/>
              <a:t>Drag picture to placeholder or click icon to add</a:t>
            </a:r>
          </a:p>
        </p:txBody>
      </p:sp>
      <p:sp>
        <p:nvSpPr>
          <p:cNvPr id="14" name="Text Box 3">
            <a:extLst>
              <a:ext uri="{FF2B5EF4-FFF2-40B4-BE49-F238E27FC236}">
                <a16:creationId xmlns:a16="http://schemas.microsoft.com/office/drawing/2014/main" id="{9732C163-B0E6-5B41-A1A7-C570F404A2CB}"/>
              </a:ext>
            </a:extLst>
          </p:cNvPr>
          <p:cNvSpPr txBox="1">
            <a:spLocks noChangeArrowheads="1"/>
          </p:cNvSpPr>
          <p:nvPr userDrawn="1"/>
        </p:nvSpPr>
        <p:spPr bwMode="blackWhite">
          <a:xfrm>
            <a:off x="454169" y="6455175"/>
            <a:ext cx="11306469" cy="211083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defTabSz="913924" eaLnBrk="0" hangingPunct="0"/>
            <a:r>
              <a:rPr lang="en-US" sz="686">
                <a:solidFill>
                  <a:schemeClr val="accent6">
                    <a:lumMod val="75000"/>
                  </a:schemeClr>
                </a:solidFill>
                <a:cs typeface="Segoe UI" pitchFamily="34" charset="0"/>
              </a:rPr>
              <a:t>©Microsoft Corporation									                                                                                                                                             Azure </a:t>
            </a:r>
          </a:p>
        </p:txBody>
      </p:sp>
    </p:spTree>
    <p:extLst>
      <p:ext uri="{BB962C8B-B14F-4D97-AF65-F5344CB8AC3E}">
        <p14:creationId xmlns:p14="http://schemas.microsoft.com/office/powerpoint/2010/main" val="3004389700"/>
      </p:ext>
    </p:extLst>
  </p:cSld>
  <p:clrMapOvr>
    <a:masterClrMapping/>
  </p:clrMapOvr>
  <p:transition>
    <p:fad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ice layou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C99DE98C-91A8-4163-A280-8BB561692C8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444774" y="418150"/>
            <a:ext cx="7747227" cy="6439851"/>
          </a:xfrm>
          <a:prstGeom prst="rect">
            <a:avLst/>
          </a:prstGeom>
        </p:spPr>
      </p:pic>
      <p:sp>
        <p:nvSpPr>
          <p:cNvPr id="9" name="Picture Placeholder 11">
            <a:extLst>
              <a:ext uri="{FF2B5EF4-FFF2-40B4-BE49-F238E27FC236}">
                <a16:creationId xmlns:a16="http://schemas.microsoft.com/office/drawing/2014/main" id="{784CA30E-A92E-4E40-944A-73B1CF9EEE0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357959" y="3239966"/>
            <a:ext cx="5834041" cy="908839"/>
          </a:xfrm>
          <a:prstGeom prst="rect">
            <a:avLst/>
          </a:prstGeom>
        </p:spPr>
        <p:txBody>
          <a:bodyPr anchor="ctr" anchorCtr="0"/>
          <a:lstStyle>
            <a:lvl1pPr algn="ctr">
              <a:defRPr>
                <a:solidFill>
                  <a:srgbClr val="000000"/>
                </a:solidFill>
              </a:defRPr>
            </a:lvl1pPr>
          </a:lstStyle>
          <a:p>
            <a:r>
              <a:rPr lang="en-US"/>
              <a:t>Drag picture to placeholder or click icon to add</a:t>
            </a:r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8D17D4B4-B6B9-4273-ACCB-7A5ED46F35A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57672" y="2000739"/>
            <a:ext cx="1693247" cy="44253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1765"/>
              </a:lnSpc>
              <a:spcBef>
                <a:spcPts val="882"/>
              </a:spcBef>
              <a:buNone/>
              <a:defRPr lang="en-US" sz="1372" b="0" kern="1200" spc="0" baseline="0" dirty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marR="0" indent="0" algn="l" defTabSz="914367" rtl="0" eaLnBrk="1" fontAlgn="auto" latinLnBrk="0" hangingPunct="1">
              <a:lnSpc>
                <a:spcPts val="1765"/>
              </a:lnSpc>
              <a:spcBef>
                <a:spcPts val="441"/>
              </a:spcBef>
              <a:spcAft>
                <a:spcPts val="0"/>
              </a:spcAft>
              <a:buClrTx/>
              <a:buSzPct val="90000"/>
              <a:buFont typeface="Arial" panose="020B0604020202020204" pitchFamily="34" charset="0"/>
              <a:buNone/>
              <a:tabLst/>
              <a:defRPr sz="1372">
                <a:solidFill>
                  <a:srgbClr val="000000"/>
                </a:solidFill>
              </a:defRPr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marL="0" marR="0" lvl="0" indent="0" algn="l" defTabSz="914367" rtl="0" eaLnBrk="1" fontAlgn="auto" latinLnBrk="0" hangingPunct="1">
              <a:lnSpc>
                <a:spcPts val="1765"/>
              </a:lnSpc>
              <a:spcBef>
                <a:spcPts val="882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</a:pPr>
            <a:r>
              <a:rPr lang="en-US"/>
              <a:t>Paragraph title Segoe UI </a:t>
            </a:r>
            <a:r>
              <a:rPr lang="en-US" err="1"/>
              <a:t>Semibold</a:t>
            </a:r>
            <a:endParaRPr lang="en-US"/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FB204BE2-B985-4315-8D5B-9C54B1074DD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385798" y="2000739"/>
            <a:ext cx="1693247" cy="44253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1765"/>
              </a:lnSpc>
              <a:spcBef>
                <a:spcPts val="882"/>
              </a:spcBef>
              <a:buNone/>
              <a:defRPr lang="en-US" sz="1372" b="0" kern="1200" spc="0" baseline="0" dirty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marR="0" indent="0" algn="l" defTabSz="914367" rtl="0" eaLnBrk="1" fontAlgn="auto" latinLnBrk="0" hangingPunct="1">
              <a:lnSpc>
                <a:spcPts val="1765"/>
              </a:lnSpc>
              <a:spcBef>
                <a:spcPts val="441"/>
              </a:spcBef>
              <a:spcAft>
                <a:spcPts val="0"/>
              </a:spcAft>
              <a:buClrTx/>
              <a:buSzPct val="90000"/>
              <a:buFont typeface="Arial" panose="020B0604020202020204" pitchFamily="34" charset="0"/>
              <a:buNone/>
              <a:tabLst/>
              <a:defRPr sz="1372">
                <a:solidFill>
                  <a:srgbClr val="000000"/>
                </a:solidFill>
              </a:defRPr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marL="0" marR="0" lvl="0" indent="0" algn="l" defTabSz="914367" rtl="0" eaLnBrk="1" fontAlgn="auto" latinLnBrk="0" hangingPunct="1">
              <a:lnSpc>
                <a:spcPts val="1765"/>
              </a:lnSpc>
              <a:spcBef>
                <a:spcPts val="882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</a:pPr>
            <a:r>
              <a:rPr lang="en-US"/>
              <a:t>Paragraph title Segoe UI </a:t>
            </a:r>
            <a:r>
              <a:rPr lang="en-US" err="1"/>
              <a:t>Semibold</a:t>
            </a:r>
            <a:endParaRPr lang="en-US"/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889045D2-7C49-4F5C-A376-228A5A2B01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5995" y="620428"/>
            <a:ext cx="11306469" cy="40313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lnSpc>
                <a:spcPts val="3137"/>
              </a:lnSpc>
              <a:defRPr sz="2745">
                <a:solidFill>
                  <a:srgbClr val="000000"/>
                </a:solidFill>
              </a:defRPr>
            </a:lvl1pPr>
          </a:lstStyle>
          <a:p>
            <a:r>
              <a:rPr lang="en-US"/>
              <a:t>Device layout 2: two columns</a:t>
            </a:r>
          </a:p>
        </p:txBody>
      </p:sp>
      <p:sp>
        <p:nvSpPr>
          <p:cNvPr id="17" name="Text Box 3">
            <a:extLst>
              <a:ext uri="{FF2B5EF4-FFF2-40B4-BE49-F238E27FC236}">
                <a16:creationId xmlns:a16="http://schemas.microsoft.com/office/drawing/2014/main" id="{E9958694-2D93-5A49-BF9C-C2FD1753BAA3}"/>
              </a:ext>
            </a:extLst>
          </p:cNvPr>
          <p:cNvSpPr txBox="1">
            <a:spLocks noChangeArrowheads="1"/>
          </p:cNvSpPr>
          <p:nvPr userDrawn="1"/>
        </p:nvSpPr>
        <p:spPr bwMode="blackWhite">
          <a:xfrm>
            <a:off x="454169" y="6455175"/>
            <a:ext cx="11306469" cy="211083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defTabSz="913924" eaLnBrk="0" hangingPunct="0"/>
            <a:r>
              <a:rPr lang="en-US" sz="686">
                <a:solidFill>
                  <a:schemeClr val="accent6">
                    <a:lumMod val="75000"/>
                  </a:schemeClr>
                </a:solidFill>
                <a:cs typeface="Segoe UI" pitchFamily="34" charset="0"/>
              </a:rPr>
              <a:t>©Microsoft Corporation									                                                                                                                                             Azure </a:t>
            </a:r>
          </a:p>
        </p:txBody>
      </p:sp>
      <p:sp>
        <p:nvSpPr>
          <p:cNvPr id="18" name="Text Placeholder 4">
            <a:extLst>
              <a:ext uri="{FF2B5EF4-FFF2-40B4-BE49-F238E27FC236}">
                <a16:creationId xmlns:a16="http://schemas.microsoft.com/office/drawing/2014/main" id="{02963930-27DC-A146-BED0-307A0CE5F43A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454170" y="2452758"/>
            <a:ext cx="1693247" cy="229049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1765"/>
              </a:lnSpc>
              <a:spcBef>
                <a:spcPts val="0"/>
              </a:spcBef>
              <a:buFont typeface="Arial" panose="020B0604020202020204" pitchFamily="34" charset="0"/>
              <a:buNone/>
              <a:defRPr sz="1372" b="0" i="0" spc="0">
                <a:solidFill>
                  <a:srgbClr val="000000"/>
                </a:solidFill>
                <a:latin typeface="+mn-lt"/>
              </a:defRPr>
            </a:lvl1pPr>
            <a:lvl2pPr marL="0" indent="0">
              <a:lnSpc>
                <a:spcPts val="1765"/>
              </a:lnSpc>
              <a:spcBef>
                <a:spcPts val="0"/>
              </a:spcBef>
              <a:buNone/>
              <a:defRPr sz="1372">
                <a:solidFill>
                  <a:schemeClr val="tx1"/>
                </a:solidFill>
              </a:defRPr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lvl="0"/>
            <a:r>
              <a:rPr lang="en-US"/>
              <a:t>Body copy 14 </a:t>
            </a:r>
            <a:r>
              <a:rPr lang="en-US" err="1"/>
              <a:t>Cavorest</a:t>
            </a:r>
            <a:r>
              <a:rPr lang="en-US"/>
              <a:t> a </a:t>
            </a:r>
            <a:r>
              <a:rPr lang="en-US" err="1"/>
              <a:t>aut</a:t>
            </a:r>
            <a:r>
              <a:rPr lang="en-US"/>
              <a:t> arum </a:t>
            </a:r>
            <a:r>
              <a:rPr lang="en-US" err="1"/>
              <a:t>quam</a:t>
            </a:r>
            <a:r>
              <a:rPr lang="en-US"/>
              <a:t> id eat ape </a:t>
            </a:r>
            <a:r>
              <a:rPr lang="en-US" err="1"/>
              <a:t>est</a:t>
            </a:r>
            <a:r>
              <a:rPr lang="en-US"/>
              <a:t>, qui </a:t>
            </a:r>
            <a:r>
              <a:rPr lang="en-US" err="1"/>
              <a:t>sincit</a:t>
            </a:r>
            <a:r>
              <a:rPr lang="en-US"/>
              <a:t>, </a:t>
            </a:r>
            <a:r>
              <a:rPr lang="en-US" err="1"/>
              <a:t>omnimusdae</a:t>
            </a:r>
            <a:r>
              <a:rPr lang="en-US"/>
              <a:t>. </a:t>
            </a:r>
            <a:r>
              <a:rPr lang="en-US" err="1"/>
              <a:t>Icaecatur</a:t>
            </a:r>
            <a:r>
              <a:rPr lang="en-US"/>
              <a:t>. </a:t>
            </a:r>
            <a:r>
              <a:rPr lang="en-US" err="1"/>
              <a:t>Boribus</a:t>
            </a:r>
            <a:r>
              <a:rPr lang="en-US"/>
              <a:t> </a:t>
            </a:r>
            <a:r>
              <a:rPr lang="en-US" err="1"/>
              <a:t>sinctius</a:t>
            </a:r>
            <a:r>
              <a:rPr lang="en-US"/>
              <a:t> </a:t>
            </a:r>
            <a:r>
              <a:rPr lang="en-US" err="1"/>
              <a:t>nimaxime</a:t>
            </a:r>
            <a:r>
              <a:rPr lang="en-US"/>
              <a:t> </a:t>
            </a:r>
            <a:r>
              <a:rPr lang="en-US" err="1"/>
              <a:t>nonsequibus</a:t>
            </a:r>
            <a:r>
              <a:rPr lang="en-US"/>
              <a:t> </a:t>
            </a:r>
            <a:r>
              <a:rPr lang="en-US" err="1"/>
              <a:t>dollendis</a:t>
            </a:r>
            <a:r>
              <a:rPr lang="en-US"/>
              <a:t> as </a:t>
            </a:r>
            <a:r>
              <a:rPr lang="en-US" err="1"/>
              <a:t>autestiatur</a:t>
            </a:r>
            <a:r>
              <a:rPr lang="en-US"/>
              <a:t>. </a:t>
            </a:r>
          </a:p>
        </p:txBody>
      </p:sp>
      <p:sp>
        <p:nvSpPr>
          <p:cNvPr id="19" name="Text Placeholder 4">
            <a:extLst>
              <a:ext uri="{FF2B5EF4-FFF2-40B4-BE49-F238E27FC236}">
                <a16:creationId xmlns:a16="http://schemas.microsoft.com/office/drawing/2014/main" id="{8EE99189-A4FF-8C44-809C-285F33AF913B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2385530" y="2452758"/>
            <a:ext cx="1693247" cy="229049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1765"/>
              </a:lnSpc>
              <a:spcBef>
                <a:spcPts val="0"/>
              </a:spcBef>
              <a:buFont typeface="Arial" panose="020B0604020202020204" pitchFamily="34" charset="0"/>
              <a:buNone/>
              <a:defRPr sz="1372" b="0" i="0" spc="0">
                <a:solidFill>
                  <a:srgbClr val="000000"/>
                </a:solidFill>
                <a:latin typeface="+mn-lt"/>
              </a:defRPr>
            </a:lvl1pPr>
            <a:lvl2pPr marL="0" indent="0">
              <a:lnSpc>
                <a:spcPts val="1765"/>
              </a:lnSpc>
              <a:spcBef>
                <a:spcPts val="0"/>
              </a:spcBef>
              <a:buNone/>
              <a:defRPr sz="1372">
                <a:solidFill>
                  <a:schemeClr val="tx1"/>
                </a:solidFill>
              </a:defRPr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lvl="0"/>
            <a:r>
              <a:rPr lang="en-US"/>
              <a:t>Body copy 14 </a:t>
            </a:r>
            <a:r>
              <a:rPr lang="en-US" err="1"/>
              <a:t>Cavorest</a:t>
            </a:r>
            <a:r>
              <a:rPr lang="en-US"/>
              <a:t> a </a:t>
            </a:r>
            <a:r>
              <a:rPr lang="en-US" err="1"/>
              <a:t>aut</a:t>
            </a:r>
            <a:r>
              <a:rPr lang="en-US"/>
              <a:t> arum </a:t>
            </a:r>
            <a:r>
              <a:rPr lang="en-US" err="1"/>
              <a:t>quam</a:t>
            </a:r>
            <a:r>
              <a:rPr lang="en-US"/>
              <a:t> id eat ape </a:t>
            </a:r>
            <a:r>
              <a:rPr lang="en-US" err="1"/>
              <a:t>est</a:t>
            </a:r>
            <a:r>
              <a:rPr lang="en-US"/>
              <a:t>, qui </a:t>
            </a:r>
            <a:r>
              <a:rPr lang="en-US" err="1"/>
              <a:t>sincit</a:t>
            </a:r>
            <a:r>
              <a:rPr lang="en-US"/>
              <a:t>, </a:t>
            </a:r>
            <a:r>
              <a:rPr lang="en-US" err="1"/>
              <a:t>omnimusdae</a:t>
            </a:r>
            <a:r>
              <a:rPr lang="en-US"/>
              <a:t>. </a:t>
            </a:r>
            <a:r>
              <a:rPr lang="en-US" err="1"/>
              <a:t>Icaecatur</a:t>
            </a:r>
            <a:r>
              <a:rPr lang="en-US"/>
              <a:t>. </a:t>
            </a:r>
            <a:r>
              <a:rPr lang="en-US" err="1"/>
              <a:t>Boribus</a:t>
            </a:r>
            <a:r>
              <a:rPr lang="en-US"/>
              <a:t> </a:t>
            </a:r>
            <a:r>
              <a:rPr lang="en-US" err="1"/>
              <a:t>sinctius</a:t>
            </a:r>
            <a:r>
              <a:rPr lang="en-US"/>
              <a:t> </a:t>
            </a:r>
            <a:r>
              <a:rPr lang="en-US" err="1"/>
              <a:t>nimaxime</a:t>
            </a:r>
            <a:r>
              <a:rPr lang="en-US"/>
              <a:t> </a:t>
            </a:r>
            <a:r>
              <a:rPr lang="en-US" err="1"/>
              <a:t>nonsequibus</a:t>
            </a:r>
            <a:r>
              <a:rPr lang="en-US"/>
              <a:t> </a:t>
            </a:r>
            <a:r>
              <a:rPr lang="en-US" err="1"/>
              <a:t>dollendis</a:t>
            </a:r>
            <a:r>
              <a:rPr lang="en-US"/>
              <a:t> as </a:t>
            </a:r>
            <a:r>
              <a:rPr lang="en-US" err="1"/>
              <a:t>autestiatur</a:t>
            </a:r>
            <a:r>
              <a:rPr lang="en-US"/>
              <a:t>. </a:t>
            </a:r>
          </a:p>
        </p:txBody>
      </p:sp>
    </p:spTree>
    <p:extLst>
      <p:ext uri="{BB962C8B-B14F-4D97-AF65-F5344CB8AC3E}">
        <p14:creationId xmlns:p14="http://schemas.microsoft.com/office/powerpoint/2010/main" val="1127614639"/>
      </p:ext>
    </p:extLst>
  </p:cSld>
  <p:clrMapOvr>
    <a:masterClrMapping/>
  </p:clrMapOvr>
  <p:transition>
    <p:fade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ice layou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73CDB1EA-72FB-46B3-89D4-DEE1F2EF724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84249" y="486947"/>
            <a:ext cx="10869930" cy="6371053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5995" y="620428"/>
            <a:ext cx="11306469" cy="40313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lnSpc>
                <a:spcPts val="3137"/>
              </a:lnSpc>
              <a:defRPr sz="2745">
                <a:solidFill>
                  <a:srgbClr val="000000"/>
                </a:solidFill>
              </a:defRPr>
            </a:lvl1pPr>
          </a:lstStyle>
          <a:p>
            <a:r>
              <a:rPr lang="en-US"/>
              <a:t>Device layout 3</a:t>
            </a:r>
          </a:p>
        </p:txBody>
      </p:sp>
      <p:sp>
        <p:nvSpPr>
          <p:cNvPr id="8" name="Picture Placeholder 11">
            <a:extLst>
              <a:ext uri="{FF2B5EF4-FFF2-40B4-BE49-F238E27FC236}">
                <a16:creationId xmlns:a16="http://schemas.microsoft.com/office/drawing/2014/main" id="{0473E679-3B6D-497A-A0F6-454C968B7607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2293976" y="3490037"/>
            <a:ext cx="7678751" cy="543185"/>
          </a:xfrm>
          <a:prstGeom prst="rect">
            <a:avLst/>
          </a:prstGeom>
        </p:spPr>
        <p:txBody>
          <a:bodyPr anchor="ctr" anchorCtr="0"/>
          <a:lstStyle>
            <a:lvl1pPr algn="ctr">
              <a:defRPr>
                <a:solidFill>
                  <a:srgbClr val="000000"/>
                </a:solidFill>
              </a:defRPr>
            </a:lvl1pPr>
          </a:lstStyle>
          <a:p>
            <a:r>
              <a:rPr lang="en-US"/>
              <a:t>Drag picture to placeholder or click icon to add</a:t>
            </a:r>
          </a:p>
        </p:txBody>
      </p:sp>
      <p:sp>
        <p:nvSpPr>
          <p:cNvPr id="12" name="Text Box 3">
            <a:extLst>
              <a:ext uri="{FF2B5EF4-FFF2-40B4-BE49-F238E27FC236}">
                <a16:creationId xmlns:a16="http://schemas.microsoft.com/office/drawing/2014/main" id="{A8F5F40B-56C9-1D43-9521-8583515F1C5D}"/>
              </a:ext>
            </a:extLst>
          </p:cNvPr>
          <p:cNvSpPr txBox="1">
            <a:spLocks noChangeArrowheads="1"/>
          </p:cNvSpPr>
          <p:nvPr userDrawn="1"/>
        </p:nvSpPr>
        <p:spPr bwMode="blackWhite">
          <a:xfrm>
            <a:off x="454169" y="6455175"/>
            <a:ext cx="11306469" cy="211083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defTabSz="913924" eaLnBrk="0" hangingPunct="0"/>
            <a:r>
              <a:rPr lang="en-US" sz="686">
                <a:solidFill>
                  <a:schemeClr val="accent6">
                    <a:lumMod val="75000"/>
                  </a:schemeClr>
                </a:solidFill>
                <a:cs typeface="Segoe UI" pitchFamily="34" charset="0"/>
              </a:rPr>
              <a:t>©Microsoft Corporation									                                                                                                                                             Azure </a:t>
            </a:r>
          </a:p>
        </p:txBody>
      </p:sp>
    </p:spTree>
    <p:extLst>
      <p:ext uri="{BB962C8B-B14F-4D97-AF65-F5344CB8AC3E}">
        <p14:creationId xmlns:p14="http://schemas.microsoft.com/office/powerpoint/2010/main" val="718471703"/>
      </p:ext>
    </p:extLst>
  </p:cSld>
  <p:clrMapOvr>
    <a:masterClrMapping/>
  </p:clrMapOvr>
  <p:transition>
    <p:fade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hart Placeholder 6"/>
          <p:cNvSpPr>
            <a:spLocks noGrp="1"/>
          </p:cNvSpPr>
          <p:nvPr>
            <p:ph type="chart" sz="quarter" idx="21"/>
          </p:nvPr>
        </p:nvSpPr>
        <p:spPr>
          <a:xfrm>
            <a:off x="455996" y="1950780"/>
            <a:ext cx="3618377" cy="3534843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ctr">
              <a:buNone/>
              <a:defRPr sz="2353">
                <a:solidFill>
                  <a:srgbClr val="000000"/>
                </a:solidFill>
              </a:defRPr>
            </a:lvl1pPr>
          </a:lstStyle>
          <a:p>
            <a:r>
              <a:rPr lang="en-US"/>
              <a:t>Click icon to add chart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5995" y="620428"/>
            <a:ext cx="11306469" cy="40313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lnSpc>
                <a:spcPts val="3137"/>
              </a:lnSpc>
              <a:defRPr sz="2745">
                <a:solidFill>
                  <a:srgbClr val="000000"/>
                </a:solidFill>
              </a:defRPr>
            </a:lvl1pPr>
          </a:lstStyle>
          <a:p>
            <a:r>
              <a:rPr lang="en-US"/>
              <a:t>Chart examples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455992" y="5857162"/>
            <a:ext cx="3618381" cy="30177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1176"/>
              </a:lnSpc>
              <a:spcBef>
                <a:spcPts val="882"/>
              </a:spcBef>
              <a:buFont typeface="Arial" panose="020B0604020202020204" pitchFamily="34" charset="0"/>
              <a:buNone/>
              <a:defRPr sz="980" b="0" i="0" spc="0">
                <a:solidFill>
                  <a:srgbClr val="000000"/>
                </a:solidFill>
                <a:latin typeface="+mn-lt"/>
              </a:defRPr>
            </a:lvl1pPr>
            <a:lvl2pPr marL="0" marR="0" indent="0" algn="l" defTabSz="914367" rtl="0" eaLnBrk="1" fontAlgn="auto" latinLnBrk="0" hangingPunct="1">
              <a:lnSpc>
                <a:spcPts val="1176"/>
              </a:lnSpc>
              <a:spcBef>
                <a:spcPts val="441"/>
              </a:spcBef>
              <a:spcAft>
                <a:spcPts val="0"/>
              </a:spcAft>
              <a:buClrTx/>
              <a:buSzPct val="90000"/>
              <a:buFont typeface="Arial" panose="020B0604020202020204" pitchFamily="34" charset="0"/>
              <a:buNone/>
              <a:tabLst/>
              <a:defRPr sz="980">
                <a:solidFill>
                  <a:schemeClr val="tx1"/>
                </a:solidFill>
              </a:defRPr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lvl="0"/>
            <a:r>
              <a:rPr lang="en-US"/>
              <a:t>Caption body copy Segoe Regular 10/12. </a:t>
            </a:r>
            <a:r>
              <a:rPr lang="en-US" err="1"/>
              <a:t>Cavorest</a:t>
            </a:r>
            <a:r>
              <a:rPr lang="en-US"/>
              <a:t> a </a:t>
            </a:r>
            <a:r>
              <a:rPr lang="en-US" err="1"/>
              <a:t>aut</a:t>
            </a:r>
            <a:r>
              <a:rPr lang="en-US"/>
              <a:t> arum </a:t>
            </a:r>
            <a:r>
              <a:rPr lang="en-US" err="1"/>
              <a:t>quam</a:t>
            </a:r>
            <a:r>
              <a:rPr lang="en-US"/>
              <a:t> id eat.</a:t>
            </a:r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8" hasCustomPrompt="1"/>
          </p:nvPr>
        </p:nvSpPr>
        <p:spPr>
          <a:xfrm>
            <a:off x="4303152" y="5857162"/>
            <a:ext cx="3607487" cy="30177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tabLst/>
              <a:defRPr lang="en-US" sz="980" b="0" i="0" spc="0" dirty="0" smtClean="0">
                <a:solidFill>
                  <a:srgbClr val="000000"/>
                </a:solidFill>
                <a:latin typeface="+mn-lt"/>
              </a:defRPr>
            </a:lvl1pPr>
          </a:lstStyle>
          <a:p>
            <a:pPr marL="0" lvl="0" indent="0">
              <a:lnSpc>
                <a:spcPts val="1176"/>
              </a:lnSpc>
              <a:spcBef>
                <a:spcPts val="882"/>
              </a:spcBef>
              <a:buFont typeface="Arial" panose="020B0604020202020204" pitchFamily="34" charset="0"/>
              <a:buNone/>
            </a:pPr>
            <a:r>
              <a:rPr lang="en-US"/>
              <a:t>Caption body copy Segoe Regular 10/12. </a:t>
            </a:r>
            <a:r>
              <a:rPr lang="en-US" err="1"/>
              <a:t>Cavorest</a:t>
            </a:r>
            <a:r>
              <a:rPr lang="en-US"/>
              <a:t> a </a:t>
            </a:r>
            <a:r>
              <a:rPr lang="en-US" err="1"/>
              <a:t>aut</a:t>
            </a:r>
            <a:r>
              <a:rPr lang="en-US"/>
              <a:t> arum </a:t>
            </a:r>
            <a:r>
              <a:rPr lang="en-US" err="1"/>
              <a:t>quam</a:t>
            </a:r>
            <a:r>
              <a:rPr lang="en-US"/>
              <a:t> id eat.</a:t>
            </a:r>
          </a:p>
        </p:txBody>
      </p:sp>
      <p:sp>
        <p:nvSpPr>
          <p:cNvPr id="20" name="Chart Placeholder 6"/>
          <p:cNvSpPr>
            <a:spLocks noGrp="1"/>
          </p:cNvSpPr>
          <p:nvPr>
            <p:ph type="chart" sz="quarter" idx="22"/>
          </p:nvPr>
        </p:nvSpPr>
        <p:spPr>
          <a:xfrm>
            <a:off x="4303152" y="1950780"/>
            <a:ext cx="3607487" cy="3534843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ctr">
              <a:buNone/>
              <a:defRPr sz="2353">
                <a:solidFill>
                  <a:srgbClr val="000000"/>
                </a:solidFill>
              </a:defRPr>
            </a:lvl1pPr>
          </a:lstStyle>
          <a:p>
            <a:r>
              <a:rPr lang="en-US"/>
              <a:t>Click icon to add chart</a:t>
            </a:r>
          </a:p>
        </p:txBody>
      </p:sp>
      <p:sp>
        <p:nvSpPr>
          <p:cNvPr id="21" name="Chart Placeholder 6"/>
          <p:cNvSpPr>
            <a:spLocks noGrp="1"/>
          </p:cNvSpPr>
          <p:nvPr>
            <p:ph type="chart" sz="quarter" idx="23"/>
          </p:nvPr>
        </p:nvSpPr>
        <p:spPr>
          <a:xfrm>
            <a:off x="8139412" y="1950780"/>
            <a:ext cx="3623051" cy="3534843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ctr">
              <a:buNone/>
              <a:defRPr sz="2353">
                <a:solidFill>
                  <a:srgbClr val="000000"/>
                </a:solidFill>
              </a:defRPr>
            </a:lvl1pPr>
          </a:lstStyle>
          <a:p>
            <a:r>
              <a:rPr lang="en-US"/>
              <a:t>Click icon to add chart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DBB6B82-41EF-4F96-AC4D-4B6DF0A1F54E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55991" y="5670381"/>
            <a:ext cx="3629278" cy="241415"/>
          </a:xfrm>
          <a:prstGeom prst="rect">
            <a:avLst/>
          </a:prstGeom>
        </p:spPr>
        <p:txBody>
          <a:bodyPr tIns="0"/>
          <a:lstStyle>
            <a:lvl1pPr>
              <a:defRPr lang="en-US" sz="980" b="1" kern="1200" spc="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aption title Segoe bold 10/12. 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D4EEFC93-5F54-47F0-9569-BECC76A76C96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314044" y="5670381"/>
            <a:ext cx="3629278" cy="241415"/>
          </a:xfrm>
          <a:prstGeom prst="rect">
            <a:avLst/>
          </a:prstGeom>
        </p:spPr>
        <p:txBody>
          <a:bodyPr tIns="0"/>
          <a:lstStyle>
            <a:lvl1pPr>
              <a:defRPr lang="en-US" sz="980" b="1" kern="1200" spc="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aption title Segoe bold 10/12. </a:t>
            </a:r>
          </a:p>
        </p:txBody>
      </p:sp>
      <p:sp>
        <p:nvSpPr>
          <p:cNvPr id="23" name="Text Placeholder 3">
            <a:extLst>
              <a:ext uri="{FF2B5EF4-FFF2-40B4-BE49-F238E27FC236}">
                <a16:creationId xmlns:a16="http://schemas.microsoft.com/office/drawing/2014/main" id="{5EDACCCB-301A-4273-9EA6-AD055BB5B0A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139413" y="5670381"/>
            <a:ext cx="3629278" cy="241415"/>
          </a:xfrm>
          <a:prstGeom prst="rect">
            <a:avLst/>
          </a:prstGeom>
        </p:spPr>
        <p:txBody>
          <a:bodyPr tIns="0"/>
          <a:lstStyle>
            <a:lvl1pPr>
              <a:defRPr lang="en-US" sz="980" b="1" kern="1200" spc="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aption title Segoe bold 10/12. </a:t>
            </a:r>
          </a:p>
        </p:txBody>
      </p:sp>
      <p:sp>
        <p:nvSpPr>
          <p:cNvPr id="24" name="Text Placeholder 4">
            <a:extLst>
              <a:ext uri="{FF2B5EF4-FFF2-40B4-BE49-F238E27FC236}">
                <a16:creationId xmlns:a16="http://schemas.microsoft.com/office/drawing/2014/main" id="{37057046-E219-41F6-8045-1E763292CBB4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139413" y="5857162"/>
            <a:ext cx="3607487" cy="30177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tabLst/>
              <a:defRPr lang="en-US" sz="980" b="0" i="0" spc="0" dirty="0" smtClean="0">
                <a:solidFill>
                  <a:srgbClr val="000000"/>
                </a:solidFill>
                <a:latin typeface="+mn-lt"/>
              </a:defRPr>
            </a:lvl1pPr>
          </a:lstStyle>
          <a:p>
            <a:pPr marL="0" lvl="0" indent="0">
              <a:lnSpc>
                <a:spcPts val="1176"/>
              </a:lnSpc>
              <a:spcBef>
                <a:spcPts val="882"/>
              </a:spcBef>
              <a:buFont typeface="Arial" panose="020B0604020202020204" pitchFamily="34" charset="0"/>
              <a:buNone/>
            </a:pPr>
            <a:r>
              <a:rPr lang="en-US"/>
              <a:t>Caption body copy Segoe Regular 10/12. </a:t>
            </a:r>
            <a:r>
              <a:rPr lang="en-US" err="1"/>
              <a:t>Cavorest</a:t>
            </a:r>
            <a:r>
              <a:rPr lang="en-US"/>
              <a:t> a </a:t>
            </a:r>
            <a:r>
              <a:rPr lang="en-US" err="1"/>
              <a:t>aut</a:t>
            </a:r>
            <a:r>
              <a:rPr lang="en-US"/>
              <a:t> arum </a:t>
            </a:r>
            <a:r>
              <a:rPr lang="en-US" err="1"/>
              <a:t>quam</a:t>
            </a:r>
            <a:r>
              <a:rPr lang="en-US"/>
              <a:t> id eat.</a:t>
            </a:r>
          </a:p>
        </p:txBody>
      </p:sp>
      <p:sp>
        <p:nvSpPr>
          <p:cNvPr id="19" name="Text Box 3">
            <a:extLst>
              <a:ext uri="{FF2B5EF4-FFF2-40B4-BE49-F238E27FC236}">
                <a16:creationId xmlns:a16="http://schemas.microsoft.com/office/drawing/2014/main" id="{DD3304D6-24AF-6742-A22C-8D78DC39B073}"/>
              </a:ext>
            </a:extLst>
          </p:cNvPr>
          <p:cNvSpPr txBox="1">
            <a:spLocks noChangeArrowheads="1"/>
          </p:cNvSpPr>
          <p:nvPr userDrawn="1"/>
        </p:nvSpPr>
        <p:spPr bwMode="blackWhite">
          <a:xfrm>
            <a:off x="454169" y="6455175"/>
            <a:ext cx="11306469" cy="211083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defTabSz="913924" eaLnBrk="0" hangingPunct="0"/>
            <a:r>
              <a:rPr lang="en-US" sz="686">
                <a:solidFill>
                  <a:schemeClr val="accent6">
                    <a:lumMod val="75000"/>
                  </a:schemeClr>
                </a:solidFill>
                <a:cs typeface="Segoe UI" pitchFamily="34" charset="0"/>
              </a:rPr>
              <a:t>©Microsoft Corporation									                                                                                                                                             Azure </a:t>
            </a:r>
          </a:p>
        </p:txBody>
      </p:sp>
    </p:spTree>
    <p:extLst>
      <p:ext uri="{BB962C8B-B14F-4D97-AF65-F5344CB8AC3E}">
        <p14:creationId xmlns:p14="http://schemas.microsoft.com/office/powerpoint/2010/main" val="3569587504"/>
      </p:ext>
    </p:extLst>
  </p:cSld>
  <p:clrMapOvr>
    <a:masterClrMapping/>
  </p:clrMapOvr>
  <p:transition>
    <p:fade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abl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5995" y="620428"/>
            <a:ext cx="11306469" cy="40313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lnSpc>
                <a:spcPts val="3137"/>
              </a:lnSpc>
              <a:defRPr sz="2745">
                <a:solidFill>
                  <a:srgbClr val="000000"/>
                </a:solidFill>
              </a:defRPr>
            </a:lvl1pPr>
          </a:lstStyle>
          <a:p>
            <a:r>
              <a:rPr lang="en-US"/>
              <a:t>Table styling</a:t>
            </a:r>
          </a:p>
        </p:txBody>
      </p:sp>
      <p:sp>
        <p:nvSpPr>
          <p:cNvPr id="4" name="Table Placeholder 3"/>
          <p:cNvSpPr>
            <a:spLocks noGrp="1"/>
          </p:cNvSpPr>
          <p:nvPr>
            <p:ph type="tbl" sz="quarter" idx="10"/>
          </p:nvPr>
        </p:nvSpPr>
        <p:spPr>
          <a:xfrm>
            <a:off x="455995" y="3924852"/>
            <a:ext cx="11306469" cy="546753"/>
          </a:xfrm>
          <a:prstGeom prst="rect">
            <a:avLst/>
          </a:prstGeom>
        </p:spPr>
        <p:txBody>
          <a:bodyPr anchor="ctr" anchorCtr="0"/>
          <a:lstStyle>
            <a:lvl1pPr algn="ctr">
              <a:defRPr/>
            </a:lvl1pPr>
          </a:lstStyle>
          <a:p>
            <a:r>
              <a:rPr lang="en-US"/>
              <a:t>Click icon to add table</a:t>
            </a:r>
          </a:p>
        </p:txBody>
      </p:sp>
      <p:sp>
        <p:nvSpPr>
          <p:cNvPr id="10" name="Text Box 3">
            <a:extLst>
              <a:ext uri="{FF2B5EF4-FFF2-40B4-BE49-F238E27FC236}">
                <a16:creationId xmlns:a16="http://schemas.microsoft.com/office/drawing/2014/main" id="{AD9F5927-827C-2E4D-8781-07CF39C27494}"/>
              </a:ext>
            </a:extLst>
          </p:cNvPr>
          <p:cNvSpPr txBox="1">
            <a:spLocks noChangeArrowheads="1"/>
          </p:cNvSpPr>
          <p:nvPr userDrawn="1"/>
        </p:nvSpPr>
        <p:spPr bwMode="blackWhite">
          <a:xfrm>
            <a:off x="454169" y="6455175"/>
            <a:ext cx="11306469" cy="211083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defTabSz="913924" eaLnBrk="0" hangingPunct="0"/>
            <a:r>
              <a:rPr lang="en-US" sz="686">
                <a:solidFill>
                  <a:schemeClr val="accent6">
                    <a:lumMod val="75000"/>
                  </a:schemeClr>
                </a:solidFill>
                <a:cs typeface="Segoe UI" pitchFamily="34" charset="0"/>
              </a:rPr>
              <a:t>©Microsoft Corporation									                                                                                                                                             Azure </a:t>
            </a:r>
          </a:p>
        </p:txBody>
      </p:sp>
    </p:spTree>
    <p:extLst>
      <p:ext uri="{BB962C8B-B14F-4D97-AF65-F5344CB8AC3E}">
        <p14:creationId xmlns:p14="http://schemas.microsoft.com/office/powerpoint/2010/main" val="2832550614"/>
      </p:ext>
    </p:extLst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0AAD849-7CFE-4AF7-A7C5-6BBD50C88C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613585931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2">
          <p15:clr>
            <a:srgbClr val="A4A3A4"/>
          </p15:clr>
        </p15:guide>
        <p15:guide id="8" pos="1373">
          <p15:clr>
            <a:srgbClr val="A4A3A4"/>
          </p15:clr>
        </p15:guide>
        <p15:guide id="9" pos="1556">
          <p15:clr>
            <a:srgbClr val="A4A3A4"/>
          </p15:clr>
        </p15:guide>
        <p15:guide id="10" pos="1967">
          <p15:clr>
            <a:srgbClr val="A4A3A4"/>
          </p15:clr>
        </p15:guide>
        <p15:guide id="11" pos="2150">
          <p15:clr>
            <a:srgbClr val="A4A3A4"/>
          </p15:clr>
        </p15:guide>
        <p15:guide id="12" pos="2561">
          <p15:clr>
            <a:srgbClr val="A4A3A4"/>
          </p15:clr>
        </p15:guide>
        <p15:guide id="13" pos="2744">
          <p15:clr>
            <a:srgbClr val="A4A3A4"/>
          </p15:clr>
        </p15:guide>
        <p15:guide id="14" pos="3155">
          <p15:clr>
            <a:srgbClr val="A4A3A4"/>
          </p15:clr>
        </p15:guide>
        <p15:guide id="15" pos="3338">
          <p15:clr>
            <a:srgbClr val="A4A3A4"/>
          </p15:clr>
        </p15:guide>
        <p15:guide id="16" pos="3749">
          <p15:clr>
            <a:srgbClr val="A4A3A4"/>
          </p15:clr>
        </p15:guide>
        <p15:guide id="17" pos="3932">
          <p15:clr>
            <a:srgbClr val="A4A3A4"/>
          </p15:clr>
        </p15:guide>
        <p15:guide id="18" pos="4343">
          <p15:clr>
            <a:srgbClr val="A4A3A4"/>
          </p15:clr>
        </p15:guide>
        <p15:guide id="19" pos="4526">
          <p15:clr>
            <a:srgbClr val="A4A3A4"/>
          </p15:clr>
        </p15:guide>
        <p15:guide id="20" pos="4937">
          <p15:clr>
            <a:srgbClr val="A4A3A4"/>
          </p15:clr>
        </p15:guide>
        <p15:guide id="21" pos="5120">
          <p15:clr>
            <a:srgbClr val="A4A3A4"/>
          </p15:clr>
        </p15:guide>
        <p15:guide id="22" pos="5529">
          <p15:clr>
            <a:srgbClr val="A4A3A4"/>
          </p15:clr>
        </p15:guide>
        <p15:guide id="23" pos="5714">
          <p15:clr>
            <a:srgbClr val="A4A3A4"/>
          </p15:clr>
        </p15:guide>
        <p15:guide id="24" pos="6123">
          <p15:clr>
            <a:srgbClr val="A4A3A4"/>
          </p15:clr>
        </p15:guide>
        <p15:guide id="25" pos="6308">
          <p15:clr>
            <a:srgbClr val="A4A3A4"/>
          </p15:clr>
        </p15:guide>
        <p15:guide id="26" pos="6717">
          <p15:clr>
            <a:srgbClr val="A4A3A4"/>
          </p15:clr>
        </p15:guide>
        <p15:guide id="27" pos="6900">
          <p15:clr>
            <a:srgbClr val="A4A3A4"/>
          </p15:clr>
        </p15:guide>
        <p15:guide id="28" orient="horz" pos="905">
          <p15:clr>
            <a:srgbClr val="5ACBF0"/>
          </p15:clr>
        </p15:guide>
        <p15:guide id="29" orient="horz" pos="1271">
          <p15:clr>
            <a:srgbClr val="5ACBF0"/>
          </p15:clr>
        </p15:guide>
        <p15:guide id="30" orient="horz" pos="288">
          <p15:clr>
            <a:srgbClr val="5ACBF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slide 1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>
            <a:extLst>
              <a:ext uri="{FF2B5EF4-FFF2-40B4-BE49-F238E27FC236}">
                <a16:creationId xmlns:a16="http://schemas.microsoft.com/office/drawing/2014/main" id="{3C370E04-F3D7-44F1-9863-6604D12FE02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5995" y="1845277"/>
            <a:ext cx="7454644" cy="1473396"/>
          </a:xfrm>
          <a:prstGeom prst="rect">
            <a:avLst/>
          </a:prstGeom>
          <a:noFill/>
        </p:spPr>
        <p:txBody>
          <a:bodyPr lIns="0" tIns="0" rIns="0" bIns="0" anchor="t" anchorCtr="0"/>
          <a:lstStyle>
            <a:lvl1pPr>
              <a:lnSpc>
                <a:spcPct val="100000"/>
              </a:lnSpc>
              <a:spcAft>
                <a:spcPts val="1274"/>
              </a:spcAft>
              <a:defRPr sz="2549" spc="-49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Thank you.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DC1F9C5D-BBFD-AE42-A1D5-DA2C27C2E90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4170" y="439310"/>
            <a:ext cx="1335673" cy="190278"/>
          </a:xfrm>
          <a:prstGeom prst="rect">
            <a:avLst/>
          </a:prstGeom>
        </p:spPr>
      </p:pic>
      <p:sp>
        <p:nvSpPr>
          <p:cNvPr id="6" name="Text Box 3">
            <a:extLst>
              <a:ext uri="{FF2B5EF4-FFF2-40B4-BE49-F238E27FC236}">
                <a16:creationId xmlns:a16="http://schemas.microsoft.com/office/drawing/2014/main" id="{4071864E-755E-AD40-A80D-10E454980F16}"/>
              </a:ext>
            </a:extLst>
          </p:cNvPr>
          <p:cNvSpPr txBox="1">
            <a:spLocks noChangeArrowheads="1"/>
          </p:cNvSpPr>
          <p:nvPr userDrawn="1"/>
        </p:nvSpPr>
        <p:spPr bwMode="blackWhite">
          <a:xfrm>
            <a:off x="454170" y="6451197"/>
            <a:ext cx="4482124" cy="105619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defTabSz="913924" eaLnBrk="0" hangingPunct="0"/>
            <a:r>
              <a:rPr lang="en-US" sz="686">
                <a:solidFill>
                  <a:schemeClr val="bg1"/>
                </a:solidFill>
                <a:cs typeface="Segoe UI" pitchFamily="34" charset="0"/>
              </a:rPr>
              <a:t>© Copyright Microsoft Corporation. All rights reserved. </a:t>
            </a:r>
          </a:p>
        </p:txBody>
      </p:sp>
    </p:spTree>
    <p:extLst>
      <p:ext uri="{BB962C8B-B14F-4D97-AF65-F5344CB8AC3E}">
        <p14:creationId xmlns:p14="http://schemas.microsoft.com/office/powerpoint/2010/main" val="306470238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losing slide 2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>
            <a:extLst>
              <a:ext uri="{FF2B5EF4-FFF2-40B4-BE49-F238E27FC236}">
                <a16:creationId xmlns:a16="http://schemas.microsoft.com/office/drawing/2014/main" id="{3C370E04-F3D7-44F1-9863-6604D12FE02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5995" y="1845277"/>
            <a:ext cx="7454644" cy="1473396"/>
          </a:xfrm>
          <a:prstGeom prst="rect">
            <a:avLst/>
          </a:prstGeom>
          <a:noFill/>
        </p:spPr>
        <p:txBody>
          <a:bodyPr lIns="0" tIns="0" rIns="0" bIns="0" anchor="t" anchorCtr="0"/>
          <a:lstStyle>
            <a:lvl1pPr>
              <a:lnSpc>
                <a:spcPct val="100000"/>
              </a:lnSpc>
              <a:spcAft>
                <a:spcPts val="1274"/>
              </a:spcAft>
              <a:defRPr sz="2549" spc="-49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Thank you.</a:t>
            </a:r>
          </a:p>
        </p:txBody>
      </p:sp>
      <p:sp>
        <p:nvSpPr>
          <p:cNvPr id="5" name="Text Box 3">
            <a:extLst>
              <a:ext uri="{FF2B5EF4-FFF2-40B4-BE49-F238E27FC236}">
                <a16:creationId xmlns:a16="http://schemas.microsoft.com/office/drawing/2014/main" id="{0AFD6FAE-B215-4CF5-A1C7-AE7803BB4E41}"/>
              </a:ext>
            </a:extLst>
          </p:cNvPr>
          <p:cNvSpPr txBox="1">
            <a:spLocks noChangeArrowheads="1"/>
          </p:cNvSpPr>
          <p:nvPr userDrawn="1"/>
        </p:nvSpPr>
        <p:spPr bwMode="blackWhite">
          <a:xfrm>
            <a:off x="454170" y="6451197"/>
            <a:ext cx="4482124" cy="105619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defTabSz="913924" eaLnBrk="0" hangingPunct="0"/>
            <a:r>
              <a:rPr lang="en-US" sz="686">
                <a:solidFill>
                  <a:schemeClr val="bg1"/>
                </a:solidFill>
                <a:cs typeface="Segoe UI" pitchFamily="34" charset="0"/>
              </a:rPr>
              <a:t>© Copyright Microsoft Corporation. All rights reserved. 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DC1F9C5D-BBFD-AE42-A1D5-DA2C27C2E90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4170" y="439310"/>
            <a:ext cx="1335673" cy="1902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003262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91A556B-5696-4F59-BE14-193CEE0818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892A572-30F2-46CC-A4DF-D0797111B8A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45DF8DE-B889-4A94-AFC9-FE0C02264C3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For more info on - Azure Migrate appliance overview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FBACF26-C4B7-4C48-BAE4-784F18DDA66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EDE403-A82E-4384-A8BB-E630BBCAC42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41003874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Only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62754DF-CB0E-46F9-AA3C-00BC673EBDF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39273227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Word"/>
      </p:transition>
    </mc:Choice>
    <mc:Fallback xmlns="">
      <p:transition spd="slow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5995" y="620428"/>
            <a:ext cx="11306469" cy="40313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lnSpc>
                <a:spcPts val="3137"/>
              </a:lnSpc>
              <a:defRPr sz="2745" strike="noStrike">
                <a:solidFill>
                  <a:srgbClr val="000000"/>
                </a:solidFill>
              </a:defRPr>
            </a:lvl1pPr>
          </a:lstStyle>
          <a:p>
            <a:r>
              <a:rPr lang="en-US" dirty="0"/>
              <a:t>Title</a:t>
            </a:r>
          </a:p>
        </p:txBody>
      </p:sp>
      <p:sp>
        <p:nvSpPr>
          <p:cNvPr id="8" name="Text Box 3">
            <a:extLst>
              <a:ext uri="{FF2B5EF4-FFF2-40B4-BE49-F238E27FC236}">
                <a16:creationId xmlns:a16="http://schemas.microsoft.com/office/drawing/2014/main" id="{3F1DAFF6-F27C-B74D-96EC-43A1B70AA064}"/>
              </a:ext>
            </a:extLst>
          </p:cNvPr>
          <p:cNvSpPr txBox="1">
            <a:spLocks noChangeArrowheads="1"/>
          </p:cNvSpPr>
          <p:nvPr userDrawn="1"/>
        </p:nvSpPr>
        <p:spPr bwMode="blackWhite">
          <a:xfrm>
            <a:off x="454169" y="6455175"/>
            <a:ext cx="11306469" cy="211083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defTabSz="913924" eaLnBrk="0" hangingPunct="0"/>
            <a:r>
              <a:rPr lang="en-US" sz="686" dirty="0">
                <a:solidFill>
                  <a:schemeClr val="accent6">
                    <a:lumMod val="75000"/>
                  </a:schemeClr>
                </a:solidFill>
                <a:cs typeface="Segoe UI" pitchFamily="34" charset="0"/>
              </a:rPr>
              <a:t>©Microsoft Corporation									                                                                                                                                             Azure </a:t>
            </a:r>
          </a:p>
        </p:txBody>
      </p:sp>
    </p:spTree>
    <p:extLst>
      <p:ext uri="{BB962C8B-B14F-4D97-AF65-F5344CB8AC3E}">
        <p14:creationId xmlns:p14="http://schemas.microsoft.com/office/powerpoint/2010/main" val="1141502844"/>
      </p:ext>
    </p:extLst>
  </p:cSld>
  <p:clrMapOvr>
    <a:masterClrMapping/>
  </p:clrMapOvr>
  <p:transition>
    <p:fade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ppendix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D57C5EDF-361A-4236-B112-44913FF7095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3369" y="2918699"/>
            <a:ext cx="11081177" cy="1020602"/>
          </a:xfrm>
        </p:spPr>
        <p:txBody>
          <a:bodyPr anchor="ctr"/>
          <a:lstStyle>
            <a:lvl1pPr>
              <a:defRPr sz="3200">
                <a:solidFill>
                  <a:schemeClr val="accent3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419609793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" name="Group 11">
            <a:extLst>
              <a:ext uri="{FF2B5EF4-FFF2-40B4-BE49-F238E27FC236}">
                <a16:creationId xmlns:a16="http://schemas.microsoft.com/office/drawing/2014/main" id="{11F330D1-63A8-5044-9B93-F4BD649D48A3}"/>
              </a:ext>
            </a:extLst>
          </p:cNvPr>
          <p:cNvGrpSpPr/>
          <p:nvPr userDrawn="1"/>
        </p:nvGrpSpPr>
        <p:grpSpPr>
          <a:xfrm>
            <a:off x="0" y="482600"/>
            <a:ext cx="12191999" cy="5892799"/>
            <a:chOff x="242711" y="451304"/>
            <a:chExt cx="11706578" cy="5892799"/>
          </a:xfrm>
        </p:grpSpPr>
        <p:cxnSp>
          <p:nvCxnSpPr>
            <p:cNvPr id="2" name="Straight Connector 1">
              <a:extLst>
                <a:ext uri="{FF2B5EF4-FFF2-40B4-BE49-F238E27FC236}">
                  <a16:creationId xmlns:a16="http://schemas.microsoft.com/office/drawing/2014/main" id="{88E37676-0487-C74E-AEA6-DD02373EBA88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242711" y="5034589"/>
              <a:ext cx="11706578" cy="0"/>
            </a:xfrm>
            <a:prstGeom prst="line">
              <a:avLst/>
            </a:prstGeom>
            <a:noFill/>
            <a:ln w="25400" cap="flat" cmpd="sng" algn="ctr">
              <a:gradFill>
                <a:gsLst>
                  <a:gs pos="0">
                    <a:sysClr val="windowText" lastClr="000000">
                      <a:alpha val="20000"/>
                    </a:sysClr>
                  </a:gs>
                  <a:gs pos="23000">
                    <a:srgbClr val="0078D4">
                      <a:alpha val="20000"/>
                    </a:srgbClr>
                  </a:gs>
                  <a:gs pos="77000">
                    <a:srgbClr val="0078D4">
                      <a:alpha val="20000"/>
                    </a:srgbClr>
                  </a:gs>
                  <a:gs pos="100000">
                    <a:sysClr val="windowText" lastClr="000000">
                      <a:alpha val="20000"/>
                    </a:sysClr>
                  </a:gs>
                </a:gsLst>
                <a:lin ang="0" scaled="0"/>
              </a:gradFill>
              <a:prstDash val="solid"/>
              <a:miter lim="800000"/>
              <a:headEnd type="none" w="lg" len="med"/>
              <a:tailEnd type="none" w="lg" len="med"/>
            </a:ln>
            <a:effectLst/>
          </p:spPr>
        </p:cxnSp>
        <p:cxnSp>
          <p:nvCxnSpPr>
            <p:cNvPr id="3" name="Straight Connector 2">
              <a:extLst>
                <a:ext uri="{FF2B5EF4-FFF2-40B4-BE49-F238E27FC236}">
                  <a16:creationId xmlns:a16="http://schemas.microsoft.com/office/drawing/2014/main" id="{F4FA8952-5535-8B45-89BE-680C4C7DE5A7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242711" y="4379834"/>
              <a:ext cx="11706578" cy="0"/>
            </a:xfrm>
            <a:prstGeom prst="line">
              <a:avLst/>
            </a:prstGeom>
            <a:noFill/>
            <a:ln w="25400" cap="flat" cmpd="sng" algn="ctr">
              <a:gradFill>
                <a:gsLst>
                  <a:gs pos="0">
                    <a:sysClr val="windowText" lastClr="000000">
                      <a:alpha val="20000"/>
                    </a:sysClr>
                  </a:gs>
                  <a:gs pos="23000">
                    <a:srgbClr val="0078D4">
                      <a:alpha val="20000"/>
                    </a:srgbClr>
                  </a:gs>
                  <a:gs pos="77000">
                    <a:srgbClr val="0078D4">
                      <a:alpha val="20000"/>
                    </a:srgbClr>
                  </a:gs>
                  <a:gs pos="100000">
                    <a:sysClr val="windowText" lastClr="000000">
                      <a:alpha val="20000"/>
                    </a:sysClr>
                  </a:gs>
                </a:gsLst>
                <a:lin ang="0" scaled="0"/>
              </a:gradFill>
              <a:prstDash val="solid"/>
              <a:miter lim="800000"/>
              <a:headEnd type="none" w="lg" len="med"/>
              <a:tailEnd type="none" w="lg" len="med"/>
            </a:ln>
            <a:effectLst/>
          </p:spPr>
        </p:cxnSp>
        <p:cxnSp>
          <p:nvCxnSpPr>
            <p:cNvPr id="4" name="Straight Connector 3">
              <a:extLst>
                <a:ext uri="{FF2B5EF4-FFF2-40B4-BE49-F238E27FC236}">
                  <a16:creationId xmlns:a16="http://schemas.microsoft.com/office/drawing/2014/main" id="{DD6E825F-BFCA-684F-A165-9F206ADFFAF1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242711" y="3725079"/>
              <a:ext cx="11706578" cy="0"/>
            </a:xfrm>
            <a:prstGeom prst="line">
              <a:avLst/>
            </a:prstGeom>
            <a:noFill/>
            <a:ln w="25400" cap="flat" cmpd="sng" algn="ctr">
              <a:gradFill>
                <a:gsLst>
                  <a:gs pos="0">
                    <a:sysClr val="windowText" lastClr="000000">
                      <a:alpha val="20000"/>
                    </a:sysClr>
                  </a:gs>
                  <a:gs pos="23000">
                    <a:srgbClr val="0078D4">
                      <a:alpha val="20000"/>
                    </a:srgbClr>
                  </a:gs>
                  <a:gs pos="77000">
                    <a:srgbClr val="0078D4">
                      <a:alpha val="20000"/>
                    </a:srgbClr>
                  </a:gs>
                  <a:gs pos="100000">
                    <a:sysClr val="windowText" lastClr="000000">
                      <a:alpha val="20000"/>
                    </a:sysClr>
                  </a:gs>
                </a:gsLst>
                <a:lin ang="0" scaled="0"/>
              </a:gradFill>
              <a:prstDash val="solid"/>
              <a:miter lim="800000"/>
              <a:headEnd type="none" w="lg" len="med"/>
              <a:tailEnd type="none" w="lg" len="med"/>
            </a:ln>
            <a:effectLst/>
          </p:spPr>
        </p:cxnSp>
        <p:cxnSp>
          <p:nvCxnSpPr>
            <p:cNvPr id="5" name="Straight Connector 4">
              <a:extLst>
                <a:ext uri="{FF2B5EF4-FFF2-40B4-BE49-F238E27FC236}">
                  <a16:creationId xmlns:a16="http://schemas.microsoft.com/office/drawing/2014/main" id="{E91BADE4-21AF-6E40-81D1-9AADCF53DC0C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242711" y="3070324"/>
              <a:ext cx="11706578" cy="0"/>
            </a:xfrm>
            <a:prstGeom prst="line">
              <a:avLst/>
            </a:prstGeom>
            <a:noFill/>
            <a:ln w="25400" cap="flat" cmpd="sng" algn="ctr">
              <a:gradFill>
                <a:gsLst>
                  <a:gs pos="0">
                    <a:sysClr val="windowText" lastClr="000000">
                      <a:alpha val="20000"/>
                    </a:sysClr>
                  </a:gs>
                  <a:gs pos="23000">
                    <a:srgbClr val="0078D4">
                      <a:alpha val="20000"/>
                    </a:srgbClr>
                  </a:gs>
                  <a:gs pos="77000">
                    <a:srgbClr val="0078D4">
                      <a:alpha val="20000"/>
                    </a:srgbClr>
                  </a:gs>
                  <a:gs pos="100000">
                    <a:sysClr val="windowText" lastClr="000000">
                      <a:alpha val="20000"/>
                    </a:sysClr>
                  </a:gs>
                </a:gsLst>
                <a:lin ang="0" scaled="0"/>
              </a:gradFill>
              <a:prstDash val="solid"/>
              <a:miter lim="800000"/>
              <a:headEnd type="none" w="lg" len="med"/>
              <a:tailEnd type="none" w="lg" len="med"/>
            </a:ln>
            <a:effectLst/>
          </p:spPr>
        </p:cxnSp>
        <p:cxnSp>
          <p:nvCxnSpPr>
            <p:cNvPr id="6" name="Straight Connector 5">
              <a:extLst>
                <a:ext uri="{FF2B5EF4-FFF2-40B4-BE49-F238E27FC236}">
                  <a16:creationId xmlns:a16="http://schemas.microsoft.com/office/drawing/2014/main" id="{7E655961-33DF-B84E-8D2C-729DDA3CF89E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242711" y="2415569"/>
              <a:ext cx="11706578" cy="0"/>
            </a:xfrm>
            <a:prstGeom prst="line">
              <a:avLst/>
            </a:prstGeom>
            <a:noFill/>
            <a:ln w="25400" cap="flat" cmpd="sng" algn="ctr">
              <a:gradFill>
                <a:gsLst>
                  <a:gs pos="0">
                    <a:sysClr val="windowText" lastClr="000000">
                      <a:alpha val="20000"/>
                    </a:sysClr>
                  </a:gs>
                  <a:gs pos="23000">
                    <a:srgbClr val="0078D4">
                      <a:alpha val="20000"/>
                    </a:srgbClr>
                  </a:gs>
                  <a:gs pos="77000">
                    <a:srgbClr val="0078D4">
                      <a:alpha val="20000"/>
                    </a:srgbClr>
                  </a:gs>
                  <a:gs pos="100000">
                    <a:sysClr val="windowText" lastClr="000000">
                      <a:alpha val="20000"/>
                    </a:sysClr>
                  </a:gs>
                </a:gsLst>
                <a:lin ang="0" scaled="0"/>
              </a:gradFill>
              <a:prstDash val="solid"/>
              <a:miter lim="800000"/>
              <a:headEnd type="none" w="lg" len="med"/>
              <a:tailEnd type="none" w="lg" len="med"/>
            </a:ln>
            <a:effectLst/>
          </p:spPr>
        </p:cxnSp>
        <p:cxnSp>
          <p:nvCxnSpPr>
            <p:cNvPr id="7" name="Straight Connector 6">
              <a:extLst>
                <a:ext uri="{FF2B5EF4-FFF2-40B4-BE49-F238E27FC236}">
                  <a16:creationId xmlns:a16="http://schemas.microsoft.com/office/drawing/2014/main" id="{044AA87B-E28B-984B-816D-5FBDF57CAAD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242711" y="1760814"/>
              <a:ext cx="11706578" cy="0"/>
            </a:xfrm>
            <a:prstGeom prst="line">
              <a:avLst/>
            </a:prstGeom>
            <a:noFill/>
            <a:ln w="25400" cap="flat" cmpd="sng" algn="ctr">
              <a:gradFill>
                <a:gsLst>
                  <a:gs pos="0">
                    <a:sysClr val="windowText" lastClr="000000">
                      <a:alpha val="20000"/>
                    </a:sysClr>
                  </a:gs>
                  <a:gs pos="23000">
                    <a:srgbClr val="0078D4">
                      <a:alpha val="20000"/>
                    </a:srgbClr>
                  </a:gs>
                  <a:gs pos="77000">
                    <a:srgbClr val="0078D4">
                      <a:alpha val="20000"/>
                    </a:srgbClr>
                  </a:gs>
                  <a:gs pos="100000">
                    <a:sysClr val="windowText" lastClr="000000">
                      <a:alpha val="20000"/>
                    </a:sysClr>
                  </a:gs>
                </a:gsLst>
                <a:lin ang="0" scaled="0"/>
              </a:gradFill>
              <a:prstDash val="solid"/>
              <a:miter lim="800000"/>
              <a:headEnd type="none" w="lg" len="med"/>
              <a:tailEnd type="none" w="lg" len="med"/>
            </a:ln>
            <a:effectLst/>
          </p:spPr>
        </p:cxnSp>
        <p:cxnSp>
          <p:nvCxnSpPr>
            <p:cNvPr id="8" name="Straight Connector 7">
              <a:extLst>
                <a:ext uri="{FF2B5EF4-FFF2-40B4-BE49-F238E27FC236}">
                  <a16:creationId xmlns:a16="http://schemas.microsoft.com/office/drawing/2014/main" id="{14F1F786-51BF-C149-84DE-27BE6B1C8CFD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242711" y="1106059"/>
              <a:ext cx="11706578" cy="0"/>
            </a:xfrm>
            <a:prstGeom prst="line">
              <a:avLst/>
            </a:prstGeom>
            <a:noFill/>
            <a:ln w="25400" cap="flat" cmpd="sng" algn="ctr">
              <a:gradFill>
                <a:gsLst>
                  <a:gs pos="0">
                    <a:sysClr val="windowText" lastClr="000000">
                      <a:alpha val="20000"/>
                    </a:sysClr>
                  </a:gs>
                  <a:gs pos="23000">
                    <a:srgbClr val="0078D4">
                      <a:alpha val="20000"/>
                    </a:srgbClr>
                  </a:gs>
                  <a:gs pos="77000">
                    <a:srgbClr val="0078D4">
                      <a:alpha val="20000"/>
                    </a:srgbClr>
                  </a:gs>
                  <a:gs pos="100000">
                    <a:sysClr val="windowText" lastClr="000000">
                      <a:alpha val="20000"/>
                    </a:sysClr>
                  </a:gs>
                </a:gsLst>
                <a:lin ang="0" scaled="0"/>
              </a:gradFill>
              <a:prstDash val="solid"/>
              <a:miter lim="800000"/>
              <a:headEnd type="none" w="lg" len="med"/>
              <a:tailEnd type="none" w="lg" len="med"/>
            </a:ln>
            <a:effectLst/>
          </p:spPr>
        </p:cxnSp>
        <p:cxnSp>
          <p:nvCxnSpPr>
            <p:cNvPr id="9" name="Straight Connector 8">
              <a:extLst>
                <a:ext uri="{FF2B5EF4-FFF2-40B4-BE49-F238E27FC236}">
                  <a16:creationId xmlns:a16="http://schemas.microsoft.com/office/drawing/2014/main" id="{1684B076-A78F-E043-90B7-49D81FE11A7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242711" y="451304"/>
              <a:ext cx="11706578" cy="0"/>
            </a:xfrm>
            <a:prstGeom prst="line">
              <a:avLst/>
            </a:prstGeom>
            <a:noFill/>
            <a:ln w="25400" cap="flat" cmpd="sng" algn="ctr">
              <a:gradFill>
                <a:gsLst>
                  <a:gs pos="0">
                    <a:sysClr val="windowText" lastClr="000000">
                      <a:alpha val="20000"/>
                    </a:sysClr>
                  </a:gs>
                  <a:gs pos="23000">
                    <a:srgbClr val="0078D4">
                      <a:alpha val="20000"/>
                    </a:srgbClr>
                  </a:gs>
                  <a:gs pos="77000">
                    <a:srgbClr val="0078D4">
                      <a:alpha val="20000"/>
                    </a:srgbClr>
                  </a:gs>
                  <a:gs pos="100000">
                    <a:sysClr val="windowText" lastClr="000000">
                      <a:alpha val="20000"/>
                    </a:sysClr>
                  </a:gs>
                </a:gsLst>
                <a:lin ang="0" scaled="0"/>
              </a:gradFill>
              <a:prstDash val="solid"/>
              <a:miter lim="800000"/>
              <a:headEnd type="none" w="lg" len="med"/>
              <a:tailEnd type="none" w="lg" len="med"/>
            </a:ln>
            <a:effectLst/>
          </p:spPr>
        </p:cxnSp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FBA4344D-225C-2440-B70E-4E68D3496B61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242711" y="5689344"/>
              <a:ext cx="11706578" cy="0"/>
            </a:xfrm>
            <a:prstGeom prst="line">
              <a:avLst/>
            </a:prstGeom>
            <a:noFill/>
            <a:ln w="25400" cap="flat" cmpd="sng" algn="ctr">
              <a:gradFill>
                <a:gsLst>
                  <a:gs pos="0">
                    <a:sysClr val="windowText" lastClr="000000">
                      <a:alpha val="20000"/>
                    </a:sysClr>
                  </a:gs>
                  <a:gs pos="23000">
                    <a:srgbClr val="0078D4">
                      <a:alpha val="20000"/>
                    </a:srgbClr>
                  </a:gs>
                  <a:gs pos="77000">
                    <a:srgbClr val="0078D4">
                      <a:alpha val="20000"/>
                    </a:srgbClr>
                  </a:gs>
                  <a:gs pos="100000">
                    <a:sysClr val="windowText" lastClr="000000">
                      <a:alpha val="20000"/>
                    </a:sysClr>
                  </a:gs>
                </a:gsLst>
                <a:lin ang="0" scaled="0"/>
              </a:gradFill>
              <a:prstDash val="solid"/>
              <a:miter lim="800000"/>
              <a:headEnd type="none" w="lg" len="med"/>
              <a:tailEnd type="none" w="lg" len="med"/>
            </a:ln>
            <a:effectLst/>
          </p:spPr>
        </p:cxnSp>
        <p:cxnSp>
          <p:nvCxnSpPr>
            <p:cNvPr id="11" name="Straight Connector 10">
              <a:extLst>
                <a:ext uri="{FF2B5EF4-FFF2-40B4-BE49-F238E27FC236}">
                  <a16:creationId xmlns:a16="http://schemas.microsoft.com/office/drawing/2014/main" id="{39221951-1DA5-8748-842C-3DF8ED9E8476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242711" y="6344103"/>
              <a:ext cx="11706578" cy="0"/>
            </a:xfrm>
            <a:prstGeom prst="line">
              <a:avLst/>
            </a:prstGeom>
            <a:noFill/>
            <a:ln w="25400" cap="flat" cmpd="sng" algn="ctr">
              <a:gradFill>
                <a:gsLst>
                  <a:gs pos="0">
                    <a:sysClr val="windowText" lastClr="000000">
                      <a:alpha val="20000"/>
                    </a:sysClr>
                  </a:gs>
                  <a:gs pos="23000">
                    <a:srgbClr val="0078D4">
                      <a:alpha val="20000"/>
                    </a:srgbClr>
                  </a:gs>
                  <a:gs pos="77000">
                    <a:srgbClr val="0078D4">
                      <a:alpha val="20000"/>
                    </a:srgbClr>
                  </a:gs>
                  <a:gs pos="100000">
                    <a:sysClr val="windowText" lastClr="000000">
                      <a:alpha val="20000"/>
                    </a:sysClr>
                  </a:gs>
                </a:gsLst>
                <a:lin ang="0" scaled="0"/>
              </a:gradFill>
              <a:prstDash val="solid"/>
              <a:miter lim="800000"/>
              <a:headEnd type="none" w="lg" len="med"/>
              <a:tailEnd type="none" w="lg" len="med"/>
            </a:ln>
            <a:effectLst/>
          </p:spPr>
        </p:cxnSp>
      </p:grpSp>
      <p:grpSp>
        <p:nvGrpSpPr>
          <p:cNvPr id="35" name="Group 34">
            <a:extLst>
              <a:ext uri="{FF2B5EF4-FFF2-40B4-BE49-F238E27FC236}">
                <a16:creationId xmlns:a16="http://schemas.microsoft.com/office/drawing/2014/main" id="{C4D84924-4A99-6D4D-B23D-82959E1EF25D}"/>
              </a:ext>
            </a:extLst>
          </p:cNvPr>
          <p:cNvGrpSpPr/>
          <p:nvPr userDrawn="1"/>
        </p:nvGrpSpPr>
        <p:grpSpPr>
          <a:xfrm>
            <a:off x="1462178" y="0"/>
            <a:ext cx="9164917" cy="6857997"/>
            <a:chOff x="1431356" y="0"/>
            <a:chExt cx="9164917" cy="6857997"/>
          </a:xfrm>
        </p:grpSpPr>
        <p:grpSp>
          <p:nvGrpSpPr>
            <p:cNvPr id="13" name="Group 12">
              <a:extLst>
                <a:ext uri="{FF2B5EF4-FFF2-40B4-BE49-F238E27FC236}">
                  <a16:creationId xmlns:a16="http://schemas.microsoft.com/office/drawing/2014/main" id="{3922506C-3307-E54A-9431-206EA9CF2E28}"/>
                </a:ext>
              </a:extLst>
            </p:cNvPr>
            <p:cNvGrpSpPr/>
            <p:nvPr userDrawn="1"/>
          </p:nvGrpSpPr>
          <p:grpSpPr>
            <a:xfrm rot="5400000">
              <a:off x="948757" y="482599"/>
              <a:ext cx="6857997" cy="5892799"/>
              <a:chOff x="242711" y="451304"/>
              <a:chExt cx="11706578" cy="5892799"/>
            </a:xfrm>
          </p:grpSpPr>
          <p:cxnSp>
            <p:nvCxnSpPr>
              <p:cNvPr id="14" name="Straight Connector 13">
                <a:extLst>
                  <a:ext uri="{FF2B5EF4-FFF2-40B4-BE49-F238E27FC236}">
                    <a16:creationId xmlns:a16="http://schemas.microsoft.com/office/drawing/2014/main" id="{6237BE07-AA2C-804F-9981-77F6890C4EC6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242711" y="5034589"/>
                <a:ext cx="11706578" cy="0"/>
              </a:xfrm>
              <a:prstGeom prst="line">
                <a:avLst/>
              </a:prstGeom>
              <a:noFill/>
              <a:ln w="25400" cap="flat" cmpd="sng" algn="ctr">
                <a:gradFill>
                  <a:gsLst>
                    <a:gs pos="0">
                      <a:sysClr val="windowText" lastClr="000000">
                        <a:alpha val="20000"/>
                      </a:sysClr>
                    </a:gs>
                    <a:gs pos="23000">
                      <a:srgbClr val="0078D4">
                        <a:alpha val="20000"/>
                      </a:srgbClr>
                    </a:gs>
                    <a:gs pos="77000">
                      <a:srgbClr val="0078D4">
                        <a:alpha val="20000"/>
                      </a:srgbClr>
                    </a:gs>
                    <a:gs pos="100000">
                      <a:sysClr val="windowText" lastClr="000000">
                        <a:alpha val="20000"/>
                      </a:sysClr>
                    </a:gs>
                  </a:gsLst>
                  <a:lin ang="0" scaled="0"/>
                </a:gradFill>
                <a:prstDash val="solid"/>
                <a:miter lim="800000"/>
                <a:headEnd type="none" w="lg" len="med"/>
                <a:tailEnd type="none" w="lg" len="med"/>
              </a:ln>
              <a:effectLst/>
            </p:spPr>
          </p:cxnSp>
          <p:cxnSp>
            <p:nvCxnSpPr>
              <p:cNvPr id="15" name="Straight Connector 14">
                <a:extLst>
                  <a:ext uri="{FF2B5EF4-FFF2-40B4-BE49-F238E27FC236}">
                    <a16:creationId xmlns:a16="http://schemas.microsoft.com/office/drawing/2014/main" id="{7678F37B-C899-594E-801A-91189F94A326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242711" y="4379834"/>
                <a:ext cx="11706578" cy="0"/>
              </a:xfrm>
              <a:prstGeom prst="line">
                <a:avLst/>
              </a:prstGeom>
              <a:noFill/>
              <a:ln w="25400" cap="flat" cmpd="sng" algn="ctr">
                <a:gradFill>
                  <a:gsLst>
                    <a:gs pos="0">
                      <a:sysClr val="windowText" lastClr="000000">
                        <a:alpha val="20000"/>
                      </a:sysClr>
                    </a:gs>
                    <a:gs pos="23000">
                      <a:srgbClr val="0078D4">
                        <a:alpha val="20000"/>
                      </a:srgbClr>
                    </a:gs>
                    <a:gs pos="77000">
                      <a:srgbClr val="0078D4">
                        <a:alpha val="20000"/>
                      </a:srgbClr>
                    </a:gs>
                    <a:gs pos="100000">
                      <a:sysClr val="windowText" lastClr="000000">
                        <a:alpha val="20000"/>
                      </a:sysClr>
                    </a:gs>
                  </a:gsLst>
                  <a:lin ang="0" scaled="0"/>
                </a:gradFill>
                <a:prstDash val="solid"/>
                <a:miter lim="800000"/>
                <a:headEnd type="none" w="lg" len="med"/>
                <a:tailEnd type="none" w="lg" len="med"/>
              </a:ln>
              <a:effectLst/>
            </p:spPr>
          </p:cxnSp>
          <p:cxnSp>
            <p:nvCxnSpPr>
              <p:cNvPr id="16" name="Straight Connector 15">
                <a:extLst>
                  <a:ext uri="{FF2B5EF4-FFF2-40B4-BE49-F238E27FC236}">
                    <a16:creationId xmlns:a16="http://schemas.microsoft.com/office/drawing/2014/main" id="{8A50166B-D324-5E49-928A-EE7075BE3BA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242711" y="3725079"/>
                <a:ext cx="11706578" cy="0"/>
              </a:xfrm>
              <a:prstGeom prst="line">
                <a:avLst/>
              </a:prstGeom>
              <a:noFill/>
              <a:ln w="25400" cap="flat" cmpd="sng" algn="ctr">
                <a:gradFill>
                  <a:gsLst>
                    <a:gs pos="0">
                      <a:sysClr val="windowText" lastClr="000000">
                        <a:alpha val="20000"/>
                      </a:sysClr>
                    </a:gs>
                    <a:gs pos="23000">
                      <a:srgbClr val="0078D4">
                        <a:alpha val="20000"/>
                      </a:srgbClr>
                    </a:gs>
                    <a:gs pos="77000">
                      <a:srgbClr val="0078D4">
                        <a:alpha val="20000"/>
                      </a:srgbClr>
                    </a:gs>
                    <a:gs pos="100000">
                      <a:sysClr val="windowText" lastClr="000000">
                        <a:alpha val="20000"/>
                      </a:sysClr>
                    </a:gs>
                  </a:gsLst>
                  <a:lin ang="0" scaled="0"/>
                </a:gradFill>
                <a:prstDash val="solid"/>
                <a:miter lim="800000"/>
                <a:headEnd type="none" w="lg" len="med"/>
                <a:tailEnd type="none" w="lg" len="med"/>
              </a:ln>
              <a:effectLst/>
            </p:spPr>
          </p:cxnSp>
          <p:cxnSp>
            <p:nvCxnSpPr>
              <p:cNvPr id="17" name="Straight Connector 16">
                <a:extLst>
                  <a:ext uri="{FF2B5EF4-FFF2-40B4-BE49-F238E27FC236}">
                    <a16:creationId xmlns:a16="http://schemas.microsoft.com/office/drawing/2014/main" id="{6C34674A-7D19-E840-862E-A34B88DAA58E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242711" y="3070324"/>
                <a:ext cx="11706578" cy="0"/>
              </a:xfrm>
              <a:prstGeom prst="line">
                <a:avLst/>
              </a:prstGeom>
              <a:noFill/>
              <a:ln w="25400" cap="flat" cmpd="sng" algn="ctr">
                <a:gradFill>
                  <a:gsLst>
                    <a:gs pos="0">
                      <a:sysClr val="windowText" lastClr="000000">
                        <a:alpha val="20000"/>
                      </a:sysClr>
                    </a:gs>
                    <a:gs pos="23000">
                      <a:srgbClr val="0078D4">
                        <a:alpha val="20000"/>
                      </a:srgbClr>
                    </a:gs>
                    <a:gs pos="77000">
                      <a:srgbClr val="0078D4">
                        <a:alpha val="20000"/>
                      </a:srgbClr>
                    </a:gs>
                    <a:gs pos="100000">
                      <a:sysClr val="windowText" lastClr="000000">
                        <a:alpha val="20000"/>
                      </a:sysClr>
                    </a:gs>
                  </a:gsLst>
                  <a:lin ang="0" scaled="0"/>
                </a:gradFill>
                <a:prstDash val="solid"/>
                <a:miter lim="800000"/>
                <a:headEnd type="none" w="lg" len="med"/>
                <a:tailEnd type="none" w="lg" len="med"/>
              </a:ln>
              <a:effectLst/>
            </p:spPr>
          </p:cxnSp>
          <p:cxnSp>
            <p:nvCxnSpPr>
              <p:cNvPr id="18" name="Straight Connector 17">
                <a:extLst>
                  <a:ext uri="{FF2B5EF4-FFF2-40B4-BE49-F238E27FC236}">
                    <a16:creationId xmlns:a16="http://schemas.microsoft.com/office/drawing/2014/main" id="{5204306E-0B45-8C41-8F02-394537B3AABB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242711" y="2415569"/>
                <a:ext cx="11706578" cy="0"/>
              </a:xfrm>
              <a:prstGeom prst="line">
                <a:avLst/>
              </a:prstGeom>
              <a:noFill/>
              <a:ln w="25400" cap="flat" cmpd="sng" algn="ctr">
                <a:gradFill>
                  <a:gsLst>
                    <a:gs pos="0">
                      <a:sysClr val="windowText" lastClr="000000">
                        <a:alpha val="20000"/>
                      </a:sysClr>
                    </a:gs>
                    <a:gs pos="23000">
                      <a:srgbClr val="0078D4">
                        <a:alpha val="20000"/>
                      </a:srgbClr>
                    </a:gs>
                    <a:gs pos="77000">
                      <a:srgbClr val="0078D4">
                        <a:alpha val="20000"/>
                      </a:srgbClr>
                    </a:gs>
                    <a:gs pos="100000">
                      <a:sysClr val="windowText" lastClr="000000">
                        <a:alpha val="20000"/>
                      </a:sysClr>
                    </a:gs>
                  </a:gsLst>
                  <a:lin ang="0" scaled="0"/>
                </a:gradFill>
                <a:prstDash val="solid"/>
                <a:miter lim="800000"/>
                <a:headEnd type="none" w="lg" len="med"/>
                <a:tailEnd type="none" w="lg" len="med"/>
              </a:ln>
              <a:effectLst/>
            </p:spPr>
          </p:cxnSp>
          <p:cxnSp>
            <p:nvCxnSpPr>
              <p:cNvPr id="19" name="Straight Connector 18">
                <a:extLst>
                  <a:ext uri="{FF2B5EF4-FFF2-40B4-BE49-F238E27FC236}">
                    <a16:creationId xmlns:a16="http://schemas.microsoft.com/office/drawing/2014/main" id="{306ECCBF-E8EA-9649-92F2-87A427E3C5E6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242711" y="1760814"/>
                <a:ext cx="11706578" cy="0"/>
              </a:xfrm>
              <a:prstGeom prst="line">
                <a:avLst/>
              </a:prstGeom>
              <a:noFill/>
              <a:ln w="25400" cap="flat" cmpd="sng" algn="ctr">
                <a:gradFill>
                  <a:gsLst>
                    <a:gs pos="0">
                      <a:sysClr val="windowText" lastClr="000000">
                        <a:alpha val="20000"/>
                      </a:sysClr>
                    </a:gs>
                    <a:gs pos="23000">
                      <a:srgbClr val="0078D4">
                        <a:alpha val="20000"/>
                      </a:srgbClr>
                    </a:gs>
                    <a:gs pos="77000">
                      <a:srgbClr val="0078D4">
                        <a:alpha val="20000"/>
                      </a:srgbClr>
                    </a:gs>
                    <a:gs pos="100000">
                      <a:sysClr val="windowText" lastClr="000000">
                        <a:alpha val="20000"/>
                      </a:sysClr>
                    </a:gs>
                  </a:gsLst>
                  <a:lin ang="0" scaled="0"/>
                </a:gradFill>
                <a:prstDash val="solid"/>
                <a:miter lim="800000"/>
                <a:headEnd type="none" w="lg" len="med"/>
                <a:tailEnd type="none" w="lg" len="med"/>
              </a:ln>
              <a:effectLst/>
            </p:spPr>
          </p:cxnSp>
          <p:cxnSp>
            <p:nvCxnSpPr>
              <p:cNvPr id="20" name="Straight Connector 19">
                <a:extLst>
                  <a:ext uri="{FF2B5EF4-FFF2-40B4-BE49-F238E27FC236}">
                    <a16:creationId xmlns:a16="http://schemas.microsoft.com/office/drawing/2014/main" id="{9B2EBF02-0727-2940-91A2-CB83FBFBD24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242711" y="1106059"/>
                <a:ext cx="11706578" cy="0"/>
              </a:xfrm>
              <a:prstGeom prst="line">
                <a:avLst/>
              </a:prstGeom>
              <a:noFill/>
              <a:ln w="25400" cap="flat" cmpd="sng" algn="ctr">
                <a:gradFill>
                  <a:gsLst>
                    <a:gs pos="0">
                      <a:sysClr val="windowText" lastClr="000000">
                        <a:alpha val="20000"/>
                      </a:sysClr>
                    </a:gs>
                    <a:gs pos="23000">
                      <a:srgbClr val="0078D4">
                        <a:alpha val="20000"/>
                      </a:srgbClr>
                    </a:gs>
                    <a:gs pos="77000">
                      <a:srgbClr val="0078D4">
                        <a:alpha val="20000"/>
                      </a:srgbClr>
                    </a:gs>
                    <a:gs pos="100000">
                      <a:sysClr val="windowText" lastClr="000000">
                        <a:alpha val="20000"/>
                      </a:sysClr>
                    </a:gs>
                  </a:gsLst>
                  <a:lin ang="0" scaled="0"/>
                </a:gradFill>
                <a:prstDash val="solid"/>
                <a:miter lim="800000"/>
                <a:headEnd type="none" w="lg" len="med"/>
                <a:tailEnd type="none" w="lg" len="med"/>
              </a:ln>
              <a:effectLst/>
            </p:spPr>
          </p:cxnSp>
          <p:cxnSp>
            <p:nvCxnSpPr>
              <p:cNvPr id="21" name="Straight Connector 20">
                <a:extLst>
                  <a:ext uri="{FF2B5EF4-FFF2-40B4-BE49-F238E27FC236}">
                    <a16:creationId xmlns:a16="http://schemas.microsoft.com/office/drawing/2014/main" id="{A5237484-2E45-434C-9632-41C122A35AA4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242711" y="451304"/>
                <a:ext cx="11706578" cy="0"/>
              </a:xfrm>
              <a:prstGeom prst="line">
                <a:avLst/>
              </a:prstGeom>
              <a:noFill/>
              <a:ln w="25400" cap="flat" cmpd="sng" algn="ctr">
                <a:gradFill>
                  <a:gsLst>
                    <a:gs pos="0">
                      <a:sysClr val="windowText" lastClr="000000">
                        <a:alpha val="20000"/>
                      </a:sysClr>
                    </a:gs>
                    <a:gs pos="23000">
                      <a:srgbClr val="0078D4">
                        <a:alpha val="20000"/>
                      </a:srgbClr>
                    </a:gs>
                    <a:gs pos="77000">
                      <a:srgbClr val="0078D4">
                        <a:alpha val="20000"/>
                      </a:srgbClr>
                    </a:gs>
                    <a:gs pos="100000">
                      <a:sysClr val="windowText" lastClr="000000">
                        <a:alpha val="20000"/>
                      </a:sysClr>
                    </a:gs>
                  </a:gsLst>
                  <a:lin ang="0" scaled="0"/>
                </a:gradFill>
                <a:prstDash val="solid"/>
                <a:miter lim="800000"/>
                <a:headEnd type="none" w="lg" len="med"/>
                <a:tailEnd type="none" w="lg" len="med"/>
              </a:ln>
              <a:effectLst/>
            </p:spPr>
          </p:cxnSp>
          <p:cxnSp>
            <p:nvCxnSpPr>
              <p:cNvPr id="22" name="Straight Connector 21">
                <a:extLst>
                  <a:ext uri="{FF2B5EF4-FFF2-40B4-BE49-F238E27FC236}">
                    <a16:creationId xmlns:a16="http://schemas.microsoft.com/office/drawing/2014/main" id="{F7EA3B2C-83E0-EE4A-AB6A-EE82F631BF9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242711" y="5689344"/>
                <a:ext cx="11706578" cy="0"/>
              </a:xfrm>
              <a:prstGeom prst="line">
                <a:avLst/>
              </a:prstGeom>
              <a:noFill/>
              <a:ln w="25400" cap="flat" cmpd="sng" algn="ctr">
                <a:gradFill>
                  <a:gsLst>
                    <a:gs pos="0">
                      <a:sysClr val="windowText" lastClr="000000">
                        <a:alpha val="20000"/>
                      </a:sysClr>
                    </a:gs>
                    <a:gs pos="23000">
                      <a:srgbClr val="0078D4">
                        <a:alpha val="20000"/>
                      </a:srgbClr>
                    </a:gs>
                    <a:gs pos="77000">
                      <a:srgbClr val="0078D4">
                        <a:alpha val="20000"/>
                      </a:srgbClr>
                    </a:gs>
                    <a:gs pos="100000">
                      <a:sysClr val="windowText" lastClr="000000">
                        <a:alpha val="20000"/>
                      </a:sysClr>
                    </a:gs>
                  </a:gsLst>
                  <a:lin ang="0" scaled="0"/>
                </a:gradFill>
                <a:prstDash val="solid"/>
                <a:miter lim="800000"/>
                <a:headEnd type="none" w="lg" len="med"/>
                <a:tailEnd type="none" w="lg" len="med"/>
              </a:ln>
              <a:effectLst/>
            </p:spPr>
          </p:cxnSp>
          <p:cxnSp>
            <p:nvCxnSpPr>
              <p:cNvPr id="23" name="Straight Connector 22">
                <a:extLst>
                  <a:ext uri="{FF2B5EF4-FFF2-40B4-BE49-F238E27FC236}">
                    <a16:creationId xmlns:a16="http://schemas.microsoft.com/office/drawing/2014/main" id="{CC88777A-C5B7-994B-946F-22E7FFAFD2ED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242711" y="6344103"/>
                <a:ext cx="11706578" cy="0"/>
              </a:xfrm>
              <a:prstGeom prst="line">
                <a:avLst/>
              </a:prstGeom>
              <a:noFill/>
              <a:ln w="25400" cap="flat" cmpd="sng" algn="ctr">
                <a:gradFill>
                  <a:gsLst>
                    <a:gs pos="0">
                      <a:sysClr val="windowText" lastClr="000000">
                        <a:alpha val="20000"/>
                      </a:sysClr>
                    </a:gs>
                    <a:gs pos="23000">
                      <a:srgbClr val="0078D4">
                        <a:alpha val="20000"/>
                      </a:srgbClr>
                    </a:gs>
                    <a:gs pos="77000">
                      <a:srgbClr val="0078D4">
                        <a:alpha val="20000"/>
                      </a:srgbClr>
                    </a:gs>
                    <a:gs pos="100000">
                      <a:sysClr val="windowText" lastClr="000000">
                        <a:alpha val="20000"/>
                      </a:sysClr>
                    </a:gs>
                  </a:gsLst>
                  <a:lin ang="0" scaled="0"/>
                </a:gradFill>
                <a:prstDash val="solid"/>
                <a:miter lim="800000"/>
                <a:headEnd type="none" w="lg" len="med"/>
                <a:tailEnd type="none" w="lg" len="med"/>
              </a:ln>
              <a:effectLst/>
            </p:spPr>
          </p:cxnSp>
        </p:grpSp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1E41ED1C-5FCE-C24D-8EC5-351C427DF770}"/>
                </a:ext>
              </a:extLst>
            </p:cNvPr>
            <p:cNvCxnSpPr>
              <a:cxnSpLocks/>
            </p:cNvCxnSpPr>
            <p:nvPr userDrawn="1"/>
          </p:nvCxnSpPr>
          <p:spPr>
            <a:xfrm rot="5400000">
              <a:off x="5857764" y="3428999"/>
              <a:ext cx="6857997" cy="0"/>
            </a:xfrm>
            <a:prstGeom prst="line">
              <a:avLst/>
            </a:prstGeom>
            <a:noFill/>
            <a:ln w="25400" cap="flat" cmpd="sng" algn="ctr">
              <a:gradFill>
                <a:gsLst>
                  <a:gs pos="0">
                    <a:sysClr val="windowText" lastClr="000000">
                      <a:alpha val="20000"/>
                    </a:sysClr>
                  </a:gs>
                  <a:gs pos="23000">
                    <a:srgbClr val="0078D4">
                      <a:alpha val="20000"/>
                    </a:srgbClr>
                  </a:gs>
                  <a:gs pos="77000">
                    <a:srgbClr val="0078D4">
                      <a:alpha val="20000"/>
                    </a:srgbClr>
                  </a:gs>
                  <a:gs pos="100000">
                    <a:sysClr val="windowText" lastClr="000000">
                      <a:alpha val="20000"/>
                    </a:sysClr>
                  </a:gs>
                </a:gsLst>
                <a:lin ang="0" scaled="0"/>
              </a:gradFill>
              <a:prstDash val="solid"/>
              <a:miter lim="800000"/>
              <a:headEnd type="none" w="lg" len="med"/>
              <a:tailEnd type="none" w="lg" len="med"/>
            </a:ln>
            <a:effectLst/>
          </p:spPr>
        </p:cxnSp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A6438303-334C-1040-AEDF-7FB16E2E182C}"/>
                </a:ext>
              </a:extLst>
            </p:cNvPr>
            <p:cNvCxnSpPr>
              <a:cxnSpLocks/>
            </p:cNvCxnSpPr>
            <p:nvPr userDrawn="1"/>
          </p:nvCxnSpPr>
          <p:spPr>
            <a:xfrm rot="5400000">
              <a:off x="6512519" y="3428999"/>
              <a:ext cx="6857997" cy="0"/>
            </a:xfrm>
            <a:prstGeom prst="line">
              <a:avLst/>
            </a:prstGeom>
            <a:noFill/>
            <a:ln w="25400" cap="flat" cmpd="sng" algn="ctr">
              <a:gradFill>
                <a:gsLst>
                  <a:gs pos="0">
                    <a:sysClr val="windowText" lastClr="000000">
                      <a:alpha val="20000"/>
                    </a:sysClr>
                  </a:gs>
                  <a:gs pos="23000">
                    <a:srgbClr val="0078D4">
                      <a:alpha val="20000"/>
                    </a:srgbClr>
                  </a:gs>
                  <a:gs pos="77000">
                    <a:srgbClr val="0078D4">
                      <a:alpha val="20000"/>
                    </a:srgbClr>
                  </a:gs>
                  <a:gs pos="100000">
                    <a:sysClr val="windowText" lastClr="000000">
                      <a:alpha val="20000"/>
                    </a:sysClr>
                  </a:gs>
                </a:gsLst>
                <a:lin ang="0" scaled="0"/>
              </a:gradFill>
              <a:prstDash val="solid"/>
              <a:miter lim="800000"/>
              <a:headEnd type="none" w="lg" len="med"/>
              <a:tailEnd type="none" w="lg" len="med"/>
            </a:ln>
            <a:effectLst/>
          </p:spPr>
        </p:cxnSp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EAF83951-984B-794F-ACC2-B5F71B28BC21}"/>
                </a:ext>
              </a:extLst>
            </p:cNvPr>
            <p:cNvCxnSpPr>
              <a:cxnSpLocks/>
            </p:cNvCxnSpPr>
            <p:nvPr userDrawn="1"/>
          </p:nvCxnSpPr>
          <p:spPr>
            <a:xfrm rot="5400000">
              <a:off x="7167274" y="3428999"/>
              <a:ext cx="6857997" cy="0"/>
            </a:xfrm>
            <a:prstGeom prst="line">
              <a:avLst/>
            </a:prstGeom>
            <a:noFill/>
            <a:ln w="25400" cap="flat" cmpd="sng" algn="ctr">
              <a:gradFill>
                <a:gsLst>
                  <a:gs pos="0">
                    <a:sysClr val="windowText" lastClr="000000">
                      <a:alpha val="20000"/>
                    </a:sysClr>
                  </a:gs>
                  <a:gs pos="23000">
                    <a:srgbClr val="0078D4">
                      <a:alpha val="20000"/>
                    </a:srgbClr>
                  </a:gs>
                  <a:gs pos="77000">
                    <a:srgbClr val="0078D4">
                      <a:alpha val="20000"/>
                    </a:srgbClr>
                  </a:gs>
                  <a:gs pos="100000">
                    <a:sysClr val="windowText" lastClr="000000">
                      <a:alpha val="20000"/>
                    </a:sysClr>
                  </a:gs>
                </a:gsLst>
                <a:lin ang="0" scaled="0"/>
              </a:gradFill>
              <a:prstDash val="solid"/>
              <a:miter lim="800000"/>
              <a:headEnd type="none" w="lg" len="med"/>
              <a:tailEnd type="none" w="lg" len="med"/>
            </a:ln>
            <a:effectLst/>
          </p:spPr>
        </p:cxnSp>
        <p:cxnSp>
          <p:nvCxnSpPr>
            <p:cNvPr id="33" name="Straight Connector 32">
              <a:extLst>
                <a:ext uri="{FF2B5EF4-FFF2-40B4-BE49-F238E27FC236}">
                  <a16:creationId xmlns:a16="http://schemas.microsoft.com/office/drawing/2014/main" id="{1675B5DC-7C03-AC4A-A7AB-51B6C2EBDDB3}"/>
                </a:ext>
              </a:extLst>
            </p:cNvPr>
            <p:cNvCxnSpPr>
              <a:cxnSpLocks/>
            </p:cNvCxnSpPr>
            <p:nvPr userDrawn="1"/>
          </p:nvCxnSpPr>
          <p:spPr>
            <a:xfrm rot="5400000">
              <a:off x="5203009" y="3428999"/>
              <a:ext cx="6857997" cy="0"/>
            </a:xfrm>
            <a:prstGeom prst="line">
              <a:avLst/>
            </a:prstGeom>
            <a:noFill/>
            <a:ln w="25400" cap="flat" cmpd="sng" algn="ctr">
              <a:gradFill>
                <a:gsLst>
                  <a:gs pos="0">
                    <a:sysClr val="windowText" lastClr="000000">
                      <a:alpha val="20000"/>
                    </a:sysClr>
                  </a:gs>
                  <a:gs pos="23000">
                    <a:srgbClr val="0078D4">
                      <a:alpha val="20000"/>
                    </a:srgbClr>
                  </a:gs>
                  <a:gs pos="77000">
                    <a:srgbClr val="0078D4">
                      <a:alpha val="20000"/>
                    </a:srgbClr>
                  </a:gs>
                  <a:gs pos="100000">
                    <a:sysClr val="windowText" lastClr="000000">
                      <a:alpha val="20000"/>
                    </a:sysClr>
                  </a:gs>
                </a:gsLst>
                <a:lin ang="0" scaled="0"/>
              </a:gradFill>
              <a:prstDash val="solid"/>
              <a:miter lim="800000"/>
              <a:headEnd type="none" w="lg" len="med"/>
              <a:tailEnd type="none" w="lg" len="med"/>
            </a:ln>
            <a:effectLst/>
          </p:spPr>
        </p:cxnSp>
        <p:cxnSp>
          <p:nvCxnSpPr>
            <p:cNvPr id="34" name="Straight Connector 33">
              <a:extLst>
                <a:ext uri="{FF2B5EF4-FFF2-40B4-BE49-F238E27FC236}">
                  <a16:creationId xmlns:a16="http://schemas.microsoft.com/office/drawing/2014/main" id="{24B79D8F-9C79-8E4D-ABE0-618EBF5D5356}"/>
                </a:ext>
              </a:extLst>
            </p:cNvPr>
            <p:cNvCxnSpPr>
              <a:cxnSpLocks/>
            </p:cNvCxnSpPr>
            <p:nvPr userDrawn="1"/>
          </p:nvCxnSpPr>
          <p:spPr>
            <a:xfrm rot="5400000">
              <a:off x="4548250" y="3428999"/>
              <a:ext cx="6857997" cy="0"/>
            </a:xfrm>
            <a:prstGeom prst="line">
              <a:avLst/>
            </a:prstGeom>
            <a:noFill/>
            <a:ln w="25400" cap="flat" cmpd="sng" algn="ctr">
              <a:gradFill>
                <a:gsLst>
                  <a:gs pos="0">
                    <a:sysClr val="windowText" lastClr="000000">
                      <a:alpha val="20000"/>
                    </a:sysClr>
                  </a:gs>
                  <a:gs pos="23000">
                    <a:srgbClr val="0078D4">
                      <a:alpha val="20000"/>
                    </a:srgbClr>
                  </a:gs>
                  <a:gs pos="77000">
                    <a:srgbClr val="0078D4">
                      <a:alpha val="20000"/>
                    </a:srgbClr>
                  </a:gs>
                  <a:gs pos="100000">
                    <a:sysClr val="windowText" lastClr="000000">
                      <a:alpha val="20000"/>
                    </a:sysClr>
                  </a:gs>
                </a:gsLst>
                <a:lin ang="0" scaled="0"/>
              </a:gradFill>
              <a:prstDash val="solid"/>
              <a:miter lim="800000"/>
              <a:headEnd type="none" w="lg" len="med"/>
              <a:tailEnd type="none" w="lg" len="med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1638923677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1272">
          <p15:clr>
            <a:srgbClr val="5ACBF0"/>
          </p15:clr>
        </p15:guide>
        <p15:guide id="2" orient="horz" pos="904">
          <p15:clr>
            <a:srgbClr val="5ACBF0"/>
          </p15:clr>
        </p15:guide>
        <p15:guide id="3" orient="horz" pos="288">
          <p15:clr>
            <a:srgbClr val="5ACBF0"/>
          </p15:clr>
        </p15:guide>
        <p15:guide id="4" orient="horz" pos="768">
          <p15:clr>
            <a:srgbClr val="FBAE40"/>
          </p15:clr>
        </p15:guide>
        <p15:guide id="5" orient="horz" pos="3552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Title Only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63369" y="473236"/>
            <a:ext cx="11081177" cy="1020602"/>
          </a:xfrm>
        </p:spPr>
        <p:txBody>
          <a:bodyPr/>
          <a:lstStyle>
            <a:lvl1pPr>
              <a:lnSpc>
                <a:spcPct val="100000"/>
              </a:lnSpc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35098CE-1BC0-4F62-97B9-03F11A4C0A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734143" y="6401594"/>
            <a:ext cx="366667" cy="365125"/>
          </a:xfrm>
        </p:spPr>
        <p:txBody>
          <a:bodyPr/>
          <a:lstStyle/>
          <a:p>
            <a:fld id="{7B76384A-BF72-4EC3-9EB1-950545506B9E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5051086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id="{1C092228-98FB-4B79-86CD-EB9BF7C81EE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4200" y="457200"/>
            <a:ext cx="11018520" cy="553998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64023117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3" orient="horz" pos="900">
          <p15:clr>
            <a:srgbClr val="5ACBF0"/>
          </p15:clr>
        </p15:guide>
        <p15:guide id="4" orient="horz" pos="1276">
          <p15:clr>
            <a:srgbClr val="5ACBF0"/>
          </p15:clr>
        </p15:guide>
        <p15:guide id="5" orient="horz" pos="288">
          <p15:clr>
            <a:srgbClr val="5ACBF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92315348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1272">
          <p15:clr>
            <a:srgbClr val="5ACBF0"/>
          </p15:clr>
        </p15:guide>
        <p15:guide id="2" orient="horz" pos="904">
          <p15:clr>
            <a:srgbClr val="5ACBF0"/>
          </p15:clr>
        </p15:guide>
        <p15:guide id="3" orient="horz" pos="288">
          <p15:clr>
            <a:srgbClr val="5ACBF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5413180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2FCFEFD-88E5-4869-B5C3-1611B0B50E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8A212C2-8B30-4835-8711-AA981B6CFBE1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584200" y="1435100"/>
            <a:ext cx="11018838" cy="483393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4F9662A5-6E2F-47B0-9B6E-E87983D3753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 userDrawn="1"/>
        </p:nvSpPr>
        <p:spPr>
          <a:xfrm>
            <a:off x="12355721" y="-203944"/>
            <a:ext cx="577081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000">
                <a:solidFill>
                  <a:srgbClr val="A3A3A3"/>
                </a:solidFill>
              </a:rPr>
              <a:t>ELT layout</a:t>
            </a:r>
          </a:p>
        </p:txBody>
      </p:sp>
    </p:spTree>
    <p:extLst>
      <p:ext uri="{BB962C8B-B14F-4D97-AF65-F5344CB8AC3E}">
        <p14:creationId xmlns:p14="http://schemas.microsoft.com/office/powerpoint/2010/main" val="242364421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2" orient="horz" pos="1272">
          <p15:clr>
            <a:srgbClr val="5ACBF0"/>
          </p15:clr>
        </p15:guide>
        <p15:guide id="3" orient="horz" pos="288">
          <p15:clr>
            <a:srgbClr val="5ACBF0"/>
          </p15:clr>
        </p15:guide>
        <p15:guide id="5" orient="horz" pos="904">
          <p15:clr>
            <a:srgbClr val="5ACBF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9018508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heme" Target="../theme/theme2.xml"/><Relationship Id="rId3" Type="http://schemas.openxmlformats.org/officeDocument/2006/relationships/slideLayout" Target="../slideLayouts/slideLayout4.xml"/><Relationship Id="rId7" Type="http://schemas.openxmlformats.org/officeDocument/2006/relationships/slideLayout" Target="../slideLayouts/slideLayout8.xml"/><Relationship Id="rId2" Type="http://schemas.openxmlformats.org/officeDocument/2006/relationships/slideLayout" Target="../slideLayouts/slideLayout3.xml"/><Relationship Id="rId1" Type="http://schemas.openxmlformats.org/officeDocument/2006/relationships/slideLayout" Target="../slideLayouts/slideLayout2.xml"/><Relationship Id="rId6" Type="http://schemas.openxmlformats.org/officeDocument/2006/relationships/slideLayout" Target="../slideLayouts/slideLayout7.xml"/><Relationship Id="rId5" Type="http://schemas.openxmlformats.org/officeDocument/2006/relationships/slideLayout" Target="../slideLayouts/slideLayout6.xml"/><Relationship Id="rId4" Type="http://schemas.openxmlformats.org/officeDocument/2006/relationships/slideLayout" Target="../slideLayouts/slideLayout5.xml"/></Relationships>
</file>

<file path=ppt/slideMasters/_rels/slideMaster3.xml.rels><?xml version="1.0" encoding="UTF-8" standalone="yes"?>
<Relationships xmlns="http://schemas.openxmlformats.org/package/2006/relationships"><Relationship Id="rId2" Type="http://schemas.openxmlformats.org/officeDocument/2006/relationships/theme" Target="../theme/theme3.xml"/><Relationship Id="rId1" Type="http://schemas.openxmlformats.org/officeDocument/2006/relationships/slideLayout" Target="../slideLayouts/slideLayout9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.xml"/><Relationship Id="rId13" Type="http://schemas.openxmlformats.org/officeDocument/2006/relationships/slideLayout" Target="../slideLayouts/slideLayout22.xml"/><Relationship Id="rId18" Type="http://schemas.openxmlformats.org/officeDocument/2006/relationships/slideLayout" Target="../slideLayouts/slideLayout27.xml"/><Relationship Id="rId26" Type="http://schemas.openxmlformats.org/officeDocument/2006/relationships/slideLayout" Target="../slideLayouts/slideLayout35.xml"/><Relationship Id="rId3" Type="http://schemas.openxmlformats.org/officeDocument/2006/relationships/slideLayout" Target="../slideLayouts/slideLayout12.xml"/><Relationship Id="rId21" Type="http://schemas.openxmlformats.org/officeDocument/2006/relationships/slideLayout" Target="../slideLayouts/slideLayout30.xml"/><Relationship Id="rId7" Type="http://schemas.openxmlformats.org/officeDocument/2006/relationships/slideLayout" Target="../slideLayouts/slideLayout16.xml"/><Relationship Id="rId12" Type="http://schemas.openxmlformats.org/officeDocument/2006/relationships/slideLayout" Target="../slideLayouts/slideLayout21.xml"/><Relationship Id="rId17" Type="http://schemas.openxmlformats.org/officeDocument/2006/relationships/slideLayout" Target="../slideLayouts/slideLayout26.xml"/><Relationship Id="rId25" Type="http://schemas.openxmlformats.org/officeDocument/2006/relationships/slideLayout" Target="../slideLayouts/slideLayout34.xml"/><Relationship Id="rId2" Type="http://schemas.openxmlformats.org/officeDocument/2006/relationships/slideLayout" Target="../slideLayouts/slideLayout11.xml"/><Relationship Id="rId16" Type="http://schemas.openxmlformats.org/officeDocument/2006/relationships/slideLayout" Target="../slideLayouts/slideLayout25.xml"/><Relationship Id="rId20" Type="http://schemas.openxmlformats.org/officeDocument/2006/relationships/slideLayout" Target="../slideLayouts/slideLayout29.xml"/><Relationship Id="rId29" Type="http://schemas.openxmlformats.org/officeDocument/2006/relationships/image" Target="../media/image1.png"/><Relationship Id="rId1" Type="http://schemas.openxmlformats.org/officeDocument/2006/relationships/slideLayout" Target="../slideLayouts/slideLayout10.xml"/><Relationship Id="rId6" Type="http://schemas.openxmlformats.org/officeDocument/2006/relationships/slideLayout" Target="../slideLayouts/slideLayout15.xml"/><Relationship Id="rId11" Type="http://schemas.openxmlformats.org/officeDocument/2006/relationships/slideLayout" Target="../slideLayouts/slideLayout20.xml"/><Relationship Id="rId24" Type="http://schemas.openxmlformats.org/officeDocument/2006/relationships/slideLayout" Target="../slideLayouts/slideLayout33.xml"/><Relationship Id="rId5" Type="http://schemas.openxmlformats.org/officeDocument/2006/relationships/slideLayout" Target="../slideLayouts/slideLayout14.xml"/><Relationship Id="rId15" Type="http://schemas.openxmlformats.org/officeDocument/2006/relationships/slideLayout" Target="../slideLayouts/slideLayout24.xml"/><Relationship Id="rId23" Type="http://schemas.openxmlformats.org/officeDocument/2006/relationships/slideLayout" Target="../slideLayouts/slideLayout32.xml"/><Relationship Id="rId28" Type="http://schemas.openxmlformats.org/officeDocument/2006/relationships/theme" Target="../theme/theme4.xml"/><Relationship Id="rId10" Type="http://schemas.openxmlformats.org/officeDocument/2006/relationships/slideLayout" Target="../slideLayouts/slideLayout19.xml"/><Relationship Id="rId19" Type="http://schemas.openxmlformats.org/officeDocument/2006/relationships/slideLayout" Target="../slideLayouts/slideLayout28.xml"/><Relationship Id="rId4" Type="http://schemas.openxmlformats.org/officeDocument/2006/relationships/slideLayout" Target="../slideLayouts/slideLayout13.xml"/><Relationship Id="rId9" Type="http://schemas.openxmlformats.org/officeDocument/2006/relationships/slideLayout" Target="../slideLayouts/slideLayout18.xml"/><Relationship Id="rId14" Type="http://schemas.openxmlformats.org/officeDocument/2006/relationships/slideLayout" Target="../slideLayouts/slideLayout23.xml"/><Relationship Id="rId22" Type="http://schemas.openxmlformats.org/officeDocument/2006/relationships/slideLayout" Target="../slideLayouts/slideLayout31.xml"/><Relationship Id="rId27" Type="http://schemas.openxmlformats.org/officeDocument/2006/relationships/slideLayout" Target="../slideLayouts/slideLayout3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E8575DDC-91FA-4B4F-80F0-5119D2F5809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4478E08-C72A-480F-ADD1-265F2671A4C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4407181-FFBA-43A8-B972-BE01A1F6928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D166CC3-2FA3-4A9F-B81C-05C6AF79D458}" type="datetimeFigureOut">
              <a:rPr lang="en-GB" smtClean="0"/>
              <a:t>13/04/2021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2D19B70-BBA9-426B-A589-777E945CC49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183AB89-0F00-4EBE-9829-49309505F7F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92A695C-8393-4B06-A8D5-00C7959ABC09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422681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967" r:id="rId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1" y="1"/>
            <a:ext cx="12192000" cy="654367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bk object 17"/>
          <p:cNvSpPr/>
          <p:nvPr userDrawn="1"/>
        </p:nvSpPr>
        <p:spPr>
          <a:xfrm>
            <a:off x="0" y="6497955"/>
            <a:ext cx="12192000" cy="360045"/>
          </a:xfrm>
          <a:custGeom>
            <a:avLst/>
            <a:gdLst/>
            <a:ahLst/>
            <a:cxnLst/>
            <a:rect l="l" t="t" r="r" b="b"/>
            <a:pathLst>
              <a:path w="12434570" h="360045">
                <a:moveTo>
                  <a:pt x="0" y="359994"/>
                </a:moveTo>
                <a:lnTo>
                  <a:pt x="12434404" y="359994"/>
                </a:lnTo>
                <a:lnTo>
                  <a:pt x="12434404" y="0"/>
                </a:lnTo>
                <a:lnTo>
                  <a:pt x="0" y="0"/>
                </a:lnTo>
                <a:lnTo>
                  <a:pt x="0" y="359994"/>
                </a:lnTo>
                <a:close/>
              </a:path>
            </a:pathLst>
          </a:custGeom>
          <a:solidFill>
            <a:srgbClr val="007FBA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" name="TextBox 8"/>
          <p:cNvSpPr txBox="1"/>
          <p:nvPr userDrawn="1"/>
        </p:nvSpPr>
        <p:spPr>
          <a:xfrm>
            <a:off x="7278010" y="6591175"/>
            <a:ext cx="425867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100" b="0" i="0" kern="0" spc="-20" baseline="0" dirty="0">
                <a:solidFill>
                  <a:schemeClr val="bg1"/>
                </a:solidFill>
                <a:latin typeface="Segoe UI Semibold" charset="0"/>
              </a:rPr>
              <a:t>Microsoft Azure    </a:t>
            </a:r>
            <a:r>
              <a:rPr lang="en-US" sz="1100" b="0" i="0" kern="0" spc="-20" baseline="0" dirty="0">
                <a:solidFill>
                  <a:schemeClr val="bg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|  @</a:t>
            </a:r>
            <a:r>
              <a:rPr lang="en-US" sz="1100" b="0" i="0" kern="0" spc="-20" baseline="0" dirty="0" err="1">
                <a:solidFill>
                  <a:schemeClr val="bg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Techielass</a:t>
            </a:r>
            <a:endParaRPr lang="en-US" sz="1100" b="0" i="0" kern="0" spc="-20" baseline="0" dirty="0">
              <a:solidFill>
                <a:schemeClr val="bg1"/>
              </a:solidFill>
              <a:latin typeface="Segoe UI Semilight" panose="020B0402040204020203" pitchFamily="34" charset="0"/>
              <a:ea typeface="Segoe UI Semilight" charset="0"/>
              <a:cs typeface="Segoe UI Semilight" panose="020B04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3698153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955" r:id="rId1"/>
    <p:sldLayoutId id="2147484954" r:id="rId2"/>
    <p:sldLayoutId id="2147484965" r:id="rId3"/>
    <p:sldLayoutId id="2147484952" r:id="rId4"/>
    <p:sldLayoutId id="2147484951" r:id="rId5"/>
    <p:sldLayoutId id="2147484950" r:id="rId6"/>
    <p:sldLayoutId id="2147484996" r:id="rId7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1" y="1"/>
            <a:ext cx="12192000" cy="6543674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bk object 17"/>
          <p:cNvSpPr/>
          <p:nvPr userDrawn="1"/>
        </p:nvSpPr>
        <p:spPr>
          <a:xfrm>
            <a:off x="0" y="6497955"/>
            <a:ext cx="12192000" cy="360045"/>
          </a:xfrm>
          <a:custGeom>
            <a:avLst/>
            <a:gdLst/>
            <a:ahLst/>
            <a:cxnLst/>
            <a:rect l="l" t="t" r="r" b="b"/>
            <a:pathLst>
              <a:path w="12434570" h="360045">
                <a:moveTo>
                  <a:pt x="0" y="359994"/>
                </a:moveTo>
                <a:lnTo>
                  <a:pt x="12434404" y="359994"/>
                </a:lnTo>
                <a:lnTo>
                  <a:pt x="12434404" y="0"/>
                </a:lnTo>
                <a:lnTo>
                  <a:pt x="0" y="0"/>
                </a:lnTo>
                <a:lnTo>
                  <a:pt x="0" y="359994"/>
                </a:lnTo>
                <a:close/>
              </a:path>
            </a:pathLst>
          </a:custGeom>
          <a:solidFill>
            <a:srgbClr val="007FBA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" name="TextBox 8"/>
          <p:cNvSpPr txBox="1"/>
          <p:nvPr userDrawn="1"/>
        </p:nvSpPr>
        <p:spPr>
          <a:xfrm>
            <a:off x="7278010" y="6591175"/>
            <a:ext cx="425867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100" b="0" i="0" kern="0" spc="-20" baseline="0" dirty="0">
                <a:solidFill>
                  <a:schemeClr val="bg1"/>
                </a:solidFill>
                <a:latin typeface="Segoe UI Semibold" charset="0"/>
              </a:rPr>
              <a:t>Microsoft Azure    </a:t>
            </a:r>
            <a:r>
              <a:rPr lang="en-US" sz="1100" b="0" i="0" kern="0" spc="-20" baseline="0" dirty="0">
                <a:solidFill>
                  <a:schemeClr val="bg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|  @</a:t>
            </a:r>
            <a:r>
              <a:rPr lang="en-US" sz="1100" b="0" i="0" kern="0" spc="-20" baseline="0" dirty="0" err="1">
                <a:solidFill>
                  <a:schemeClr val="bg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Techielass</a:t>
            </a:r>
            <a:endParaRPr lang="en-US" sz="1100" b="0" i="0" kern="0" spc="-20" baseline="0" dirty="0">
              <a:solidFill>
                <a:schemeClr val="bg1"/>
              </a:solidFill>
              <a:latin typeface="Segoe UI Semilight" panose="020B0402040204020203" pitchFamily="34" charset="0"/>
              <a:ea typeface="Segoe UI Semilight" charset="0"/>
              <a:cs typeface="Segoe UI Semilight" panose="020B04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251574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958" r:id="rId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5994" y="432718"/>
            <a:ext cx="11303917" cy="813819"/>
          </a:xfrm>
          <a:prstGeom prst="rect">
            <a:avLst/>
          </a:prstGeom>
        </p:spPr>
        <p:txBody>
          <a:bodyPr vert="horz" wrap="square" lIns="0" tIns="91440" rIns="146304" bIns="91440" rtlCol="0" anchor="t">
            <a:noAutofit/>
          </a:bodyPr>
          <a:lstStyle/>
          <a:p>
            <a:r>
              <a:rPr lang="en-US"/>
              <a:t>Heading Segoe UI </a:t>
            </a:r>
            <a:r>
              <a:rPr lang="en-US" err="1"/>
              <a:t>Semibold</a:t>
            </a:r>
            <a:r>
              <a:rPr lang="en-US"/>
              <a:t> 28/32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455994" y="1817560"/>
            <a:ext cx="11231768" cy="2021853"/>
          </a:xfrm>
          <a:prstGeom prst="rect">
            <a:avLst/>
          </a:prstGeom>
        </p:spPr>
        <p:txBody>
          <a:bodyPr vert="horz" wrap="square" lIns="0" tIns="91440" rIns="146304" bIns="91440" rtlCol="0">
            <a:spAutoFit/>
          </a:bodyPr>
          <a:lstStyle/>
          <a:p>
            <a:pPr lvl="1"/>
            <a:r>
              <a:rPr lang="en-US"/>
              <a:t>Large: subhead Segoe UI Regular 20/24</a:t>
            </a:r>
          </a:p>
          <a:p>
            <a:pPr lvl="1"/>
            <a:endParaRPr lang="en-US"/>
          </a:p>
          <a:p>
            <a:pPr lvl="2"/>
            <a:r>
              <a:rPr lang="en-US"/>
              <a:t>Medium: paragraph heading Segoe UI </a:t>
            </a:r>
            <a:r>
              <a:rPr lang="en-US" err="1"/>
              <a:t>Semibold</a:t>
            </a:r>
            <a:r>
              <a:rPr lang="en-US"/>
              <a:t> 14/18</a:t>
            </a:r>
          </a:p>
          <a:p>
            <a:pPr lvl="3"/>
            <a:r>
              <a:rPr lang="en-US"/>
              <a:t>Medium: paragraph body copy Segoe UI Regular 14/18</a:t>
            </a:r>
          </a:p>
          <a:p>
            <a:pPr lvl="3"/>
            <a:endParaRPr lang="en-US"/>
          </a:p>
          <a:p>
            <a:pPr lvl="4"/>
            <a:r>
              <a:rPr lang="en-US"/>
              <a:t>Small: caption heading Segoe UI Bold 10/12</a:t>
            </a:r>
          </a:p>
          <a:p>
            <a:pPr lvl="6"/>
            <a:r>
              <a:rPr lang="en-US"/>
              <a:t>Small: caption body copy Segoe UI Regular 10/12</a:t>
            </a:r>
          </a:p>
          <a:p>
            <a:pPr lvl="6"/>
            <a:endParaRPr lang="en-US"/>
          </a:p>
          <a:p>
            <a:pPr lvl="6"/>
            <a:endParaRPr lang="en-US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5400000">
            <a:off x="9432277" y="2842059"/>
            <a:ext cx="6843271" cy="11647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731992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969" r:id="rId1"/>
    <p:sldLayoutId id="2147484970" r:id="rId2"/>
    <p:sldLayoutId id="2147484971" r:id="rId3"/>
    <p:sldLayoutId id="2147484972" r:id="rId4"/>
    <p:sldLayoutId id="2147484973" r:id="rId5"/>
    <p:sldLayoutId id="2147484974" r:id="rId6"/>
    <p:sldLayoutId id="2147484975" r:id="rId7"/>
    <p:sldLayoutId id="2147484976" r:id="rId8"/>
    <p:sldLayoutId id="2147484977" r:id="rId9"/>
    <p:sldLayoutId id="2147484978" r:id="rId10"/>
    <p:sldLayoutId id="2147484979" r:id="rId11"/>
    <p:sldLayoutId id="2147484980" r:id="rId12"/>
    <p:sldLayoutId id="2147484981" r:id="rId13"/>
    <p:sldLayoutId id="2147484982" r:id="rId14"/>
    <p:sldLayoutId id="2147484983" r:id="rId15"/>
    <p:sldLayoutId id="2147484984" r:id="rId16"/>
    <p:sldLayoutId id="2147484985" r:id="rId17"/>
    <p:sldLayoutId id="2147484986" r:id="rId18"/>
    <p:sldLayoutId id="2147484987" r:id="rId19"/>
    <p:sldLayoutId id="2147484988" r:id="rId20"/>
    <p:sldLayoutId id="2147484989" r:id="rId21"/>
    <p:sldLayoutId id="2147484990" r:id="rId22"/>
    <p:sldLayoutId id="2147484991" r:id="rId23"/>
    <p:sldLayoutId id="2147484992" r:id="rId24"/>
    <p:sldLayoutId id="2147484993" r:id="rId25"/>
    <p:sldLayoutId id="2147484994" r:id="rId26"/>
    <p:sldLayoutId id="2147484995" r:id="rId27"/>
  </p:sldLayoutIdLst>
  <p:transition>
    <p:fade/>
  </p:transition>
  <p:hf sldNum="0" hdr="0" ftr="0" dt="0"/>
  <p:txStyles>
    <p:titleStyle>
      <a:lvl1pPr algn="l" defTabSz="914367" rtl="0" eaLnBrk="1" latinLnBrk="0" hangingPunct="1">
        <a:lnSpc>
          <a:spcPct val="90000"/>
        </a:lnSpc>
        <a:spcBef>
          <a:spcPct val="0"/>
        </a:spcBef>
        <a:buNone/>
        <a:defRPr lang="en-US" sz="3137" b="0" kern="1200" cap="none" spc="-49" baseline="0" dirty="0" smtClean="0">
          <a:ln w="3175">
            <a:noFill/>
          </a:ln>
          <a:solidFill>
            <a:srgbClr val="000000"/>
          </a:solidFill>
          <a:effectLst/>
          <a:latin typeface="+mj-lt"/>
          <a:ea typeface="+mn-ea"/>
          <a:cs typeface="Segoe UI" pitchFamily="34" charset="0"/>
        </a:defRPr>
      </a:lvl1pPr>
    </p:titleStyle>
    <p:bodyStyle>
      <a:lvl1pPr marL="0" marR="0" indent="0" algn="l" defTabSz="914367" rtl="0" eaLnBrk="1" fontAlgn="auto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Pct val="90000"/>
        <a:buFont typeface="Wingdings" panose="05000000000000000000" pitchFamily="2" charset="2"/>
        <a:buNone/>
        <a:tabLst/>
        <a:defRPr sz="2353" kern="1200" spc="-49" baseline="0">
          <a:solidFill>
            <a:srgbClr val="000000"/>
          </a:solidFill>
          <a:latin typeface="+mj-lt"/>
          <a:ea typeface="+mn-ea"/>
          <a:cs typeface="+mn-cs"/>
        </a:defRPr>
      </a:lvl1pPr>
      <a:lvl2pPr marL="0" marR="0" indent="0" algn="l" defTabSz="914367" rtl="0" eaLnBrk="1" fontAlgn="auto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Pct val="90000"/>
        <a:buFontTx/>
        <a:buNone/>
        <a:tabLst/>
        <a:defRPr sz="1961" kern="1200" spc="0" baseline="0">
          <a:solidFill>
            <a:srgbClr val="000000"/>
          </a:solidFill>
          <a:latin typeface="+mn-lt"/>
          <a:ea typeface="+mn-ea"/>
          <a:cs typeface="+mn-cs"/>
        </a:defRPr>
      </a:lvl2pPr>
      <a:lvl3pPr marL="0" marR="0" indent="0" algn="l" defTabSz="914367" rtl="0" eaLnBrk="1" fontAlgn="auto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Pct val="90000"/>
        <a:buFont typeface="Wingdings" panose="05000000000000000000" pitchFamily="2" charset="2"/>
        <a:buNone/>
        <a:tabLst/>
        <a:defRPr sz="1372" kern="1200" spc="0" baseline="0">
          <a:solidFill>
            <a:schemeClr val="tx2"/>
          </a:solidFill>
          <a:latin typeface="+mj-lt"/>
          <a:ea typeface="+mn-ea"/>
          <a:cs typeface="+mn-cs"/>
        </a:defRPr>
      </a:lvl3pPr>
      <a:lvl4pPr marL="0" marR="0" indent="0" algn="l" defTabSz="914367" rtl="0" eaLnBrk="1" fontAlgn="auto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Pct val="90000"/>
        <a:buFont typeface="Wingdings" panose="05000000000000000000" pitchFamily="2" charset="2"/>
        <a:buNone/>
        <a:tabLst/>
        <a:defRPr sz="1372" kern="1200" spc="0" baseline="0">
          <a:solidFill>
            <a:srgbClr val="000000"/>
          </a:solidFill>
          <a:latin typeface="+mn-lt"/>
          <a:ea typeface="+mn-ea"/>
          <a:cs typeface="+mn-cs"/>
        </a:defRPr>
      </a:lvl4pPr>
      <a:lvl5pPr marL="0" marR="0" indent="0" algn="l" defTabSz="914367" rtl="0" eaLnBrk="1" fontAlgn="auto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Pct val="90000"/>
        <a:buFont typeface="Wingdings" panose="05000000000000000000" pitchFamily="2" charset="2"/>
        <a:buNone/>
        <a:tabLst/>
        <a:defRPr sz="980" b="1" kern="1200" spc="0" baseline="0">
          <a:solidFill>
            <a:srgbClr val="000000"/>
          </a:solidFill>
          <a:latin typeface="+mn-lt"/>
          <a:ea typeface="+mn-ea"/>
          <a:cs typeface="+mn-cs"/>
        </a:defRPr>
      </a:lvl5pPr>
      <a:lvl6pPr marL="2285916" indent="0" algn="l" defTabSz="914367" rtl="0" eaLnBrk="1" latinLnBrk="0" hangingPunct="1">
        <a:spcBef>
          <a:spcPct val="20000"/>
        </a:spcBef>
        <a:buFont typeface="Arial" pitchFamily="34" charset="0"/>
        <a:buNone/>
        <a:defRPr sz="1961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914367" rtl="0" eaLnBrk="1" latinLnBrk="0" hangingPunct="1">
        <a:lnSpc>
          <a:spcPct val="100000"/>
        </a:lnSpc>
        <a:spcBef>
          <a:spcPts val="0"/>
        </a:spcBef>
        <a:spcAft>
          <a:spcPts val="0"/>
        </a:spcAft>
        <a:buFont typeface="Arial" pitchFamily="34" charset="0"/>
        <a:buNone/>
        <a:defRPr sz="980" kern="1200">
          <a:solidFill>
            <a:srgbClr val="000000"/>
          </a:solidFill>
          <a:latin typeface="+mn-lt"/>
          <a:ea typeface="+mn-ea"/>
          <a:cs typeface="+mn-cs"/>
        </a:defRPr>
      </a:lvl7pPr>
      <a:lvl8pPr marL="3428877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8pPr>
      <a:lvl9pPr marL="3886061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1pPr>
      <a:lvl2pPr marL="457183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2pPr>
      <a:lvl3pPr marL="914367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3pPr>
      <a:lvl4pPr marL="137155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4pPr>
      <a:lvl5pPr marL="182873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5pPr>
      <a:lvl6pPr marL="2285918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6pPr>
      <a:lvl7pPr marL="2743101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7pPr>
      <a:lvl8pPr marL="320028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8pPr>
      <a:lvl9pPr marL="3657469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31" pos="1349">
          <p15:clr>
            <a:srgbClr val="C35EA4"/>
          </p15:clr>
        </p15:guide>
        <p15:guide id="32" pos="1528">
          <p15:clr>
            <a:srgbClr val="C35EA4"/>
          </p15:clr>
        </p15:guide>
        <p15:guide id="33" pos="2621">
          <p15:clr>
            <a:srgbClr val="C35EA4"/>
          </p15:clr>
        </p15:guide>
        <p15:guide id="34" pos="2765">
          <p15:clr>
            <a:srgbClr val="C35EA4"/>
          </p15:clr>
        </p15:guide>
        <p15:guide id="35" pos="3854">
          <p15:clr>
            <a:srgbClr val="C35EA4"/>
          </p15:clr>
        </p15:guide>
        <p15:guide id="36" pos="4003">
          <p15:clr>
            <a:srgbClr val="C35EA4"/>
          </p15:clr>
        </p15:guide>
        <p15:guide id="37" pos="5083">
          <p15:clr>
            <a:srgbClr val="C35EA4"/>
          </p15:clr>
        </p15:guide>
        <p15:guide id="38" pos="5230">
          <p15:clr>
            <a:srgbClr val="C35EA4"/>
          </p15:clr>
        </p15:guide>
        <p15:guide id="39" pos="6323">
          <p15:clr>
            <a:srgbClr val="C35EA4"/>
          </p15:clr>
        </p15:guide>
        <p15:guide id="40" pos="6469">
          <p15:clr>
            <a:srgbClr val="C35EA4"/>
          </p15:clr>
        </p15:guide>
        <p15:guide id="41" pos="269">
          <p15:clr>
            <a:srgbClr val="F26B43"/>
          </p15:clr>
        </p15:guide>
        <p15:guide id="42" pos="7565">
          <p15:clr>
            <a:srgbClr val="F26B43"/>
          </p15:clr>
        </p15:guide>
        <p15:guide id="43" orient="horz" pos="751">
          <p15:clr>
            <a:srgbClr val="5ACBF0"/>
          </p15:clr>
        </p15:guide>
        <p15:guide id="44" orient="horz" pos="1387">
          <p15:clr>
            <a:srgbClr val="5ACBF0"/>
          </p15:clr>
        </p15:guide>
        <p15:guide id="45" orient="horz" pos="605">
          <p15:clr>
            <a:srgbClr val="5ACBF0"/>
          </p15:clr>
        </p15:guide>
        <p15:guide id="46" orient="horz" pos="1514">
          <p15:clr>
            <a:srgbClr val="5ACBF0"/>
          </p15:clr>
        </p15:guide>
        <p15:guide id="47" orient="horz" pos="2130">
          <p15:clr>
            <a:srgbClr val="5ACBF0"/>
          </p15:clr>
        </p15:guide>
        <p15:guide id="48" orient="horz" pos="2299">
          <p15:clr>
            <a:srgbClr val="5ACBF0"/>
          </p15:clr>
        </p15:guide>
        <p15:guide id="49" orient="horz" pos="283">
          <p15:clr>
            <a:srgbClr val="F26B43"/>
          </p15:clr>
        </p15:guide>
        <p15:guide id="50" orient="horz" pos="4123">
          <p15:clr>
            <a:srgbClr val="F26B43"/>
          </p15:clr>
        </p15:guide>
        <p15:guide id="51" orient="horz" pos="2891">
          <p15:clr>
            <a:srgbClr val="5ACBF0"/>
          </p15:clr>
        </p15:guide>
        <p15:guide id="52" orient="horz" pos="3019">
          <p15:clr>
            <a:srgbClr val="5ACBF0"/>
          </p15:clr>
        </p15:guide>
        <p15:guide id="53" orient="horz" pos="3643">
          <p15:clr>
            <a:srgbClr val="5ACBF0"/>
          </p15:clr>
        </p15:guide>
        <p15:guide id="54" orient="horz" pos="3763">
          <p15:clr>
            <a:srgbClr val="5ACBF0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7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2.png"/><Relationship Id="rId13" Type="http://schemas.openxmlformats.org/officeDocument/2006/relationships/image" Target="../media/image57.png"/><Relationship Id="rId3" Type="http://schemas.openxmlformats.org/officeDocument/2006/relationships/image" Target="../media/image47.png"/><Relationship Id="rId7" Type="http://schemas.openxmlformats.org/officeDocument/2006/relationships/image" Target="../media/image51.png"/><Relationship Id="rId12" Type="http://schemas.openxmlformats.org/officeDocument/2006/relationships/image" Target="../media/image56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2.xml"/><Relationship Id="rId6" Type="http://schemas.openxmlformats.org/officeDocument/2006/relationships/image" Target="../media/image50.png"/><Relationship Id="rId11" Type="http://schemas.openxmlformats.org/officeDocument/2006/relationships/image" Target="../media/image55.png"/><Relationship Id="rId5" Type="http://schemas.openxmlformats.org/officeDocument/2006/relationships/image" Target="../media/image49.png"/><Relationship Id="rId15" Type="http://schemas.openxmlformats.org/officeDocument/2006/relationships/image" Target="../media/image59.jpeg"/><Relationship Id="rId10" Type="http://schemas.openxmlformats.org/officeDocument/2006/relationships/image" Target="../media/image54.png"/><Relationship Id="rId4" Type="http://schemas.openxmlformats.org/officeDocument/2006/relationships/image" Target="../media/image48.png"/><Relationship Id="rId9" Type="http://schemas.openxmlformats.org/officeDocument/2006/relationships/image" Target="../media/image53.svg"/><Relationship Id="rId14" Type="http://schemas.openxmlformats.org/officeDocument/2006/relationships/image" Target="../media/image58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emf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32.xml"/><Relationship Id="rId6" Type="http://schemas.openxmlformats.org/officeDocument/2006/relationships/image" Target="../media/image63.emf"/><Relationship Id="rId5" Type="http://schemas.openxmlformats.org/officeDocument/2006/relationships/image" Target="../media/image62.emf"/><Relationship Id="rId4" Type="http://schemas.openxmlformats.org/officeDocument/2006/relationships/image" Target="../media/image61.emf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4.emf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32.xml"/><Relationship Id="rId6" Type="http://schemas.openxmlformats.org/officeDocument/2006/relationships/image" Target="../media/image67.emf"/><Relationship Id="rId5" Type="http://schemas.openxmlformats.org/officeDocument/2006/relationships/image" Target="../media/image66.emf"/><Relationship Id="rId4" Type="http://schemas.openxmlformats.org/officeDocument/2006/relationships/image" Target="../media/image65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8.png"/><Relationship Id="rId7" Type="http://schemas.openxmlformats.org/officeDocument/2006/relationships/image" Target="../media/image72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32.xml"/><Relationship Id="rId6" Type="http://schemas.openxmlformats.org/officeDocument/2006/relationships/image" Target="../media/image71.png"/><Relationship Id="rId5" Type="http://schemas.openxmlformats.org/officeDocument/2006/relationships/image" Target="../media/image70.png"/><Relationship Id="rId4" Type="http://schemas.openxmlformats.org/officeDocument/2006/relationships/image" Target="../media/image69.png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2.png"/><Relationship Id="rId7" Type="http://schemas.openxmlformats.org/officeDocument/2006/relationships/image" Target="../media/image74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32.xml"/><Relationship Id="rId6" Type="http://schemas.openxmlformats.org/officeDocument/2006/relationships/image" Target="../media/image70.png"/><Relationship Id="rId5" Type="http://schemas.openxmlformats.org/officeDocument/2006/relationships/image" Target="../media/image73.png"/><Relationship Id="rId4" Type="http://schemas.openxmlformats.org/officeDocument/2006/relationships/image" Target="../media/image68.pn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80.svg"/><Relationship Id="rId3" Type="http://schemas.openxmlformats.org/officeDocument/2006/relationships/image" Target="../media/image75.png"/><Relationship Id="rId7" Type="http://schemas.openxmlformats.org/officeDocument/2006/relationships/image" Target="../media/image79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7.xml"/><Relationship Id="rId6" Type="http://schemas.openxmlformats.org/officeDocument/2006/relationships/image" Target="../media/image78.svg"/><Relationship Id="rId5" Type="http://schemas.openxmlformats.org/officeDocument/2006/relationships/image" Target="../media/image77.png"/><Relationship Id="rId4" Type="http://schemas.openxmlformats.org/officeDocument/2006/relationships/image" Target="../media/image76.png"/><Relationship Id="rId9" Type="http://schemas.openxmlformats.org/officeDocument/2006/relationships/image" Target="../media/image81.png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73.png"/><Relationship Id="rId3" Type="http://schemas.openxmlformats.org/officeDocument/2006/relationships/image" Target="../media/image75.png"/><Relationship Id="rId7" Type="http://schemas.openxmlformats.org/officeDocument/2006/relationships/image" Target="../media/image83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7.xml"/><Relationship Id="rId6" Type="http://schemas.openxmlformats.org/officeDocument/2006/relationships/image" Target="../media/image71.png"/><Relationship Id="rId5" Type="http://schemas.openxmlformats.org/officeDocument/2006/relationships/image" Target="../media/image82.png"/><Relationship Id="rId4" Type="http://schemas.openxmlformats.org/officeDocument/2006/relationships/image" Target="../media/image76.png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jpeg"/><Relationship Id="rId2" Type="http://schemas.openxmlformats.org/officeDocument/2006/relationships/image" Target="../media/image23.jpe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25.jpe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4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32.xml"/><Relationship Id="rId4" Type="http://schemas.openxmlformats.org/officeDocument/2006/relationships/image" Target="../media/image85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6.emf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7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7.xml"/><Relationship Id="rId6" Type="http://schemas.openxmlformats.org/officeDocument/2006/relationships/image" Target="../media/image88.svg"/><Relationship Id="rId5" Type="http://schemas.openxmlformats.org/officeDocument/2006/relationships/image" Target="../media/image87.png"/><Relationship Id="rId4" Type="http://schemas.openxmlformats.org/officeDocument/2006/relationships/image" Target="../media/image36.sv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17.xml"/><Relationship Id="rId6" Type="http://schemas.openxmlformats.org/officeDocument/2006/relationships/image" Target="../media/image90.svg"/><Relationship Id="rId5" Type="http://schemas.openxmlformats.org/officeDocument/2006/relationships/image" Target="../media/image89.png"/><Relationship Id="rId4" Type="http://schemas.openxmlformats.org/officeDocument/2006/relationships/image" Target="../media/image36.sv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17.xml"/><Relationship Id="rId5" Type="http://schemas.openxmlformats.org/officeDocument/2006/relationships/image" Target="../media/image91.png"/><Relationship Id="rId4" Type="http://schemas.openxmlformats.org/officeDocument/2006/relationships/image" Target="../media/image36.svg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97.png"/><Relationship Id="rId13" Type="http://schemas.openxmlformats.org/officeDocument/2006/relationships/image" Target="../media/image36.svg"/><Relationship Id="rId3" Type="http://schemas.openxmlformats.org/officeDocument/2006/relationships/image" Target="../media/image92.png"/><Relationship Id="rId7" Type="http://schemas.openxmlformats.org/officeDocument/2006/relationships/image" Target="../media/image96.png"/><Relationship Id="rId12" Type="http://schemas.openxmlformats.org/officeDocument/2006/relationships/image" Target="../media/image35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17.xml"/><Relationship Id="rId6" Type="http://schemas.openxmlformats.org/officeDocument/2006/relationships/image" Target="../media/image95.png"/><Relationship Id="rId11" Type="http://schemas.openxmlformats.org/officeDocument/2006/relationships/image" Target="../media/image100.png"/><Relationship Id="rId5" Type="http://schemas.openxmlformats.org/officeDocument/2006/relationships/image" Target="../media/image94.png"/><Relationship Id="rId10" Type="http://schemas.openxmlformats.org/officeDocument/2006/relationships/image" Target="../media/image99.png"/><Relationship Id="rId4" Type="http://schemas.openxmlformats.org/officeDocument/2006/relationships/image" Target="../media/image93.png"/><Relationship Id="rId9" Type="http://schemas.openxmlformats.org/officeDocument/2006/relationships/image" Target="../media/image98.pn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svg"/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20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1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17.xml"/><Relationship Id="rId6" Type="http://schemas.openxmlformats.org/officeDocument/2006/relationships/image" Target="../media/image104.svg"/><Relationship Id="rId5" Type="http://schemas.openxmlformats.org/officeDocument/2006/relationships/image" Target="../media/image103.png"/><Relationship Id="rId4" Type="http://schemas.openxmlformats.org/officeDocument/2006/relationships/image" Target="../media/image102.sv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5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32.xml"/><Relationship Id="rId5" Type="http://schemas.openxmlformats.org/officeDocument/2006/relationships/image" Target="../media/image81.png"/><Relationship Id="rId4" Type="http://schemas.openxmlformats.org/officeDocument/2006/relationships/image" Target="../media/image76.pn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3.pn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32.xml"/><Relationship Id="rId6" Type="http://schemas.openxmlformats.org/officeDocument/2006/relationships/image" Target="../media/image76.png"/><Relationship Id="rId5" Type="http://schemas.openxmlformats.org/officeDocument/2006/relationships/image" Target="../media/image75.png"/><Relationship Id="rId4" Type="http://schemas.openxmlformats.org/officeDocument/2006/relationships/image" Target="../media/image105.em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3.pn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17.xml"/><Relationship Id="rId5" Type="http://schemas.openxmlformats.org/officeDocument/2006/relationships/image" Target="../media/image76.png"/><Relationship Id="rId4" Type="http://schemas.openxmlformats.org/officeDocument/2006/relationships/image" Target="../media/image75.png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6.pn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32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7.emf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32.xml"/><Relationship Id="rId4" Type="http://schemas.openxmlformats.org/officeDocument/2006/relationships/image" Target="../media/image108.emf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7.emf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32.xml"/><Relationship Id="rId4" Type="http://schemas.openxmlformats.org/officeDocument/2006/relationships/image" Target="../media/image108.emf"/></Relationships>
</file>

<file path=ppt/slides/_rels/slide3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4.svg"/><Relationship Id="rId3" Type="http://schemas.openxmlformats.org/officeDocument/2006/relationships/image" Target="../media/image109.png"/><Relationship Id="rId7" Type="http://schemas.openxmlformats.org/officeDocument/2006/relationships/image" Target="../media/image113.png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32.xml"/><Relationship Id="rId6" Type="http://schemas.openxmlformats.org/officeDocument/2006/relationships/image" Target="../media/image112.svg"/><Relationship Id="rId5" Type="http://schemas.openxmlformats.org/officeDocument/2006/relationships/image" Target="../media/image111.png"/><Relationship Id="rId4" Type="http://schemas.openxmlformats.org/officeDocument/2006/relationships/image" Target="../media/image110.svg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5.png"/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17.xml"/><Relationship Id="rId6" Type="http://schemas.openxmlformats.org/officeDocument/2006/relationships/image" Target="../media/image118.svg"/><Relationship Id="rId5" Type="http://schemas.openxmlformats.org/officeDocument/2006/relationships/image" Target="../media/image117.png"/><Relationship Id="rId4" Type="http://schemas.openxmlformats.org/officeDocument/2006/relationships/image" Target="../media/image116.svg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9.png"/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17.xml"/><Relationship Id="rId4" Type="http://schemas.openxmlformats.org/officeDocument/2006/relationships/image" Target="../media/image120.svg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33.xml"/></Relationships>
</file>

<file path=ppt/slides/_rels/slide38.xml.rels><?xml version="1.0" encoding="UTF-8" standalone="yes"?>
<Relationships xmlns="http://schemas.openxmlformats.org/package/2006/relationships"><Relationship Id="rId13" Type="http://schemas.openxmlformats.org/officeDocument/2006/relationships/tags" Target="../tags/tag13.xml"/><Relationship Id="rId18" Type="http://schemas.openxmlformats.org/officeDocument/2006/relationships/tags" Target="../tags/tag18.xml"/><Relationship Id="rId26" Type="http://schemas.openxmlformats.org/officeDocument/2006/relationships/tags" Target="../tags/tag26.xml"/><Relationship Id="rId39" Type="http://schemas.openxmlformats.org/officeDocument/2006/relationships/tags" Target="../tags/tag39.xml"/><Relationship Id="rId21" Type="http://schemas.openxmlformats.org/officeDocument/2006/relationships/tags" Target="../tags/tag21.xml"/><Relationship Id="rId34" Type="http://schemas.openxmlformats.org/officeDocument/2006/relationships/tags" Target="../tags/tag34.xml"/><Relationship Id="rId42" Type="http://schemas.openxmlformats.org/officeDocument/2006/relationships/tags" Target="../tags/tag42.xml"/><Relationship Id="rId7" Type="http://schemas.openxmlformats.org/officeDocument/2006/relationships/tags" Target="../tags/tag7.xml"/><Relationship Id="rId2" Type="http://schemas.openxmlformats.org/officeDocument/2006/relationships/tags" Target="../tags/tag2.xml"/><Relationship Id="rId16" Type="http://schemas.openxmlformats.org/officeDocument/2006/relationships/tags" Target="../tags/tag16.xml"/><Relationship Id="rId29" Type="http://schemas.openxmlformats.org/officeDocument/2006/relationships/tags" Target="../tags/tag29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tags" Target="../tags/tag11.xml"/><Relationship Id="rId24" Type="http://schemas.openxmlformats.org/officeDocument/2006/relationships/tags" Target="../tags/tag24.xml"/><Relationship Id="rId32" Type="http://schemas.openxmlformats.org/officeDocument/2006/relationships/tags" Target="../tags/tag32.xml"/><Relationship Id="rId37" Type="http://schemas.openxmlformats.org/officeDocument/2006/relationships/tags" Target="../tags/tag37.xml"/><Relationship Id="rId40" Type="http://schemas.openxmlformats.org/officeDocument/2006/relationships/tags" Target="../tags/tag40.xml"/><Relationship Id="rId45" Type="http://schemas.openxmlformats.org/officeDocument/2006/relationships/slideLayout" Target="../slideLayouts/slideLayout4.xml"/><Relationship Id="rId5" Type="http://schemas.openxmlformats.org/officeDocument/2006/relationships/tags" Target="../tags/tag5.xml"/><Relationship Id="rId15" Type="http://schemas.openxmlformats.org/officeDocument/2006/relationships/tags" Target="../tags/tag15.xml"/><Relationship Id="rId23" Type="http://schemas.openxmlformats.org/officeDocument/2006/relationships/tags" Target="../tags/tag23.xml"/><Relationship Id="rId28" Type="http://schemas.openxmlformats.org/officeDocument/2006/relationships/tags" Target="../tags/tag28.xml"/><Relationship Id="rId36" Type="http://schemas.openxmlformats.org/officeDocument/2006/relationships/tags" Target="../tags/tag36.xml"/><Relationship Id="rId10" Type="http://schemas.openxmlformats.org/officeDocument/2006/relationships/tags" Target="../tags/tag10.xml"/><Relationship Id="rId19" Type="http://schemas.openxmlformats.org/officeDocument/2006/relationships/tags" Target="../tags/tag19.xml"/><Relationship Id="rId31" Type="http://schemas.openxmlformats.org/officeDocument/2006/relationships/tags" Target="../tags/tag31.xml"/><Relationship Id="rId44" Type="http://schemas.openxmlformats.org/officeDocument/2006/relationships/tags" Target="../tags/tag44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tags" Target="../tags/tag14.xml"/><Relationship Id="rId22" Type="http://schemas.openxmlformats.org/officeDocument/2006/relationships/tags" Target="../tags/tag22.xml"/><Relationship Id="rId27" Type="http://schemas.openxmlformats.org/officeDocument/2006/relationships/tags" Target="../tags/tag27.xml"/><Relationship Id="rId30" Type="http://schemas.openxmlformats.org/officeDocument/2006/relationships/tags" Target="../tags/tag30.xml"/><Relationship Id="rId35" Type="http://schemas.openxmlformats.org/officeDocument/2006/relationships/tags" Target="../tags/tag35.xml"/><Relationship Id="rId43" Type="http://schemas.openxmlformats.org/officeDocument/2006/relationships/tags" Target="../tags/tag43.xml"/><Relationship Id="rId8" Type="http://schemas.openxmlformats.org/officeDocument/2006/relationships/tags" Target="../tags/tag8.xml"/><Relationship Id="rId3" Type="http://schemas.openxmlformats.org/officeDocument/2006/relationships/tags" Target="../tags/tag3.xml"/><Relationship Id="rId12" Type="http://schemas.openxmlformats.org/officeDocument/2006/relationships/tags" Target="../tags/tag12.xml"/><Relationship Id="rId17" Type="http://schemas.openxmlformats.org/officeDocument/2006/relationships/tags" Target="../tags/tag17.xml"/><Relationship Id="rId25" Type="http://schemas.openxmlformats.org/officeDocument/2006/relationships/tags" Target="../tags/tag25.xml"/><Relationship Id="rId33" Type="http://schemas.openxmlformats.org/officeDocument/2006/relationships/tags" Target="../tags/tag33.xml"/><Relationship Id="rId38" Type="http://schemas.openxmlformats.org/officeDocument/2006/relationships/tags" Target="../tags/tag38.xml"/><Relationship Id="rId46" Type="http://schemas.openxmlformats.org/officeDocument/2006/relationships/notesSlide" Target="../notesSlides/notesSlide32.xml"/><Relationship Id="rId20" Type="http://schemas.openxmlformats.org/officeDocument/2006/relationships/tags" Target="../tags/tag20.xml"/><Relationship Id="rId41" Type="http://schemas.openxmlformats.org/officeDocument/2006/relationships/tags" Target="../tags/tag41.xml"/></Relationships>
</file>

<file path=ppt/slides/_rels/slide3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6.svg"/><Relationship Id="rId13" Type="http://schemas.openxmlformats.org/officeDocument/2006/relationships/image" Target="../media/image131.png"/><Relationship Id="rId3" Type="http://schemas.openxmlformats.org/officeDocument/2006/relationships/image" Target="../media/image121.png"/><Relationship Id="rId7" Type="http://schemas.openxmlformats.org/officeDocument/2006/relationships/image" Target="../media/image125.png"/><Relationship Id="rId12" Type="http://schemas.openxmlformats.org/officeDocument/2006/relationships/image" Target="../media/image130.svg"/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124.svg"/><Relationship Id="rId11" Type="http://schemas.openxmlformats.org/officeDocument/2006/relationships/image" Target="../media/image129.png"/><Relationship Id="rId5" Type="http://schemas.openxmlformats.org/officeDocument/2006/relationships/image" Target="../media/image123.png"/><Relationship Id="rId10" Type="http://schemas.openxmlformats.org/officeDocument/2006/relationships/image" Target="../media/image128.svg"/><Relationship Id="rId4" Type="http://schemas.openxmlformats.org/officeDocument/2006/relationships/image" Target="../media/image122.svg"/><Relationship Id="rId9" Type="http://schemas.openxmlformats.org/officeDocument/2006/relationships/image" Target="../media/image127.png"/><Relationship Id="rId14" Type="http://schemas.openxmlformats.org/officeDocument/2006/relationships/image" Target="../media/image132.sv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jpeg"/><Relationship Id="rId1" Type="http://schemas.openxmlformats.org/officeDocument/2006/relationships/slideLayout" Target="../slideLayouts/slideLayout7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4.svg"/><Relationship Id="rId2" Type="http://schemas.openxmlformats.org/officeDocument/2006/relationships/image" Target="../media/image133.pn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35.png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4.xml"/><Relationship Id="rId2" Type="http://schemas.openxmlformats.org/officeDocument/2006/relationships/slideLayout" Target="../slideLayouts/slideLayout2.xml"/><Relationship Id="rId1" Type="http://schemas.openxmlformats.org/officeDocument/2006/relationships/themeOverride" Target="../theme/themeOverride1.xml"/><Relationship Id="rId4" Type="http://schemas.openxmlformats.org/officeDocument/2006/relationships/image" Target="../media/image136.png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7.png"/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8.xml"/><Relationship Id="rId5" Type="http://schemas.openxmlformats.org/officeDocument/2006/relationships/hyperlink" Target="https://aka.ms/azurelive/learn" TargetMode="External"/><Relationship Id="rId4" Type="http://schemas.openxmlformats.org/officeDocument/2006/relationships/image" Target="../media/image138.png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9.png"/><Relationship Id="rId1" Type="http://schemas.openxmlformats.org/officeDocument/2006/relationships/slideLayout" Target="../slideLayouts/slideLayout9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3.png"/><Relationship Id="rId3" Type="http://schemas.openxmlformats.org/officeDocument/2006/relationships/image" Target="../media/image28.emf"/><Relationship Id="rId7" Type="http://schemas.openxmlformats.org/officeDocument/2006/relationships/image" Target="../media/image32.sv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31.png"/><Relationship Id="rId5" Type="http://schemas.openxmlformats.org/officeDocument/2006/relationships/image" Target="../media/image30.emf"/><Relationship Id="rId4" Type="http://schemas.openxmlformats.org/officeDocument/2006/relationships/image" Target="../media/image29.emf"/><Relationship Id="rId9" Type="http://schemas.openxmlformats.org/officeDocument/2006/relationships/image" Target="../media/image34.sv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36.sv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7.xml"/><Relationship Id="rId4" Type="http://schemas.openxmlformats.org/officeDocument/2006/relationships/image" Target="../media/image38.sv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44.svg"/><Relationship Id="rId3" Type="http://schemas.openxmlformats.org/officeDocument/2006/relationships/image" Target="../media/image39.png"/><Relationship Id="rId7" Type="http://schemas.openxmlformats.org/officeDocument/2006/relationships/image" Target="../media/image43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7.xml"/><Relationship Id="rId6" Type="http://schemas.openxmlformats.org/officeDocument/2006/relationships/image" Target="../media/image42.svg"/><Relationship Id="rId5" Type="http://schemas.openxmlformats.org/officeDocument/2006/relationships/image" Target="../media/image41.png"/><Relationship Id="rId4" Type="http://schemas.openxmlformats.org/officeDocument/2006/relationships/image" Target="../media/image40.sv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8" name="Rectangle 7">
            <a:extLst>
              <a:ext uri="{FF2B5EF4-FFF2-40B4-BE49-F238E27FC236}">
                <a16:creationId xmlns:a16="http://schemas.microsoft.com/office/drawing/2014/main" id="{46F1F2C8-798B-4CCE-A851-94AFAF350BE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3048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0B2E962-0083-4470-A362-DFC6CEA22A1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70908" y="1220919"/>
            <a:ext cx="5425781" cy="2387600"/>
          </a:xfrm>
        </p:spPr>
        <p:txBody>
          <a:bodyPr>
            <a:normAutofit/>
          </a:bodyPr>
          <a:lstStyle/>
          <a:p>
            <a:pPr algn="l"/>
            <a:r>
              <a:rPr lang="en-GB" sz="5400" b="1" dirty="0">
                <a:effectLst/>
                <a:latin typeface="Segoe UI Light" panose="020B0502040204020203" pitchFamily="34" charset="0"/>
                <a:ea typeface="Calibri" panose="020F0502020204030204" pitchFamily="34" charset="0"/>
                <a:cs typeface="Segoe UI Light" panose="020B0502040204020203" pitchFamily="34" charset="0"/>
              </a:rPr>
              <a:t>Migrating to Azure with Azure Migrate</a:t>
            </a:r>
            <a:endParaRPr lang="en-GB" sz="5400" b="1" dirty="0"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60FC619-9E24-4F0C-937C-E99B812BD3D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970908" y="3700594"/>
            <a:ext cx="5425781" cy="2592630"/>
          </a:xfrm>
        </p:spPr>
        <p:txBody>
          <a:bodyPr>
            <a:normAutofit lnSpcReduction="10000"/>
          </a:bodyPr>
          <a:lstStyle/>
          <a:p>
            <a:pPr algn="l"/>
            <a:r>
              <a:rPr lang="en-GB" dirty="0">
                <a:latin typeface="Segoe UI Light" panose="020B0502040204020203" pitchFamily="34" charset="0"/>
                <a:cs typeface="Segoe UI Light" panose="020B0502040204020203" pitchFamily="34" charset="0"/>
              </a:rPr>
              <a:t>Sarah Lean</a:t>
            </a:r>
          </a:p>
          <a:p>
            <a:pPr algn="l"/>
            <a:r>
              <a:rPr lang="en-GB" dirty="0">
                <a:latin typeface="Segoe UI Light" panose="020B0502040204020203" pitchFamily="34" charset="0"/>
                <a:cs typeface="Segoe UI Light" panose="020B0502040204020203" pitchFamily="34" charset="0"/>
              </a:rPr>
              <a:t>Senior Cloud Advocate</a:t>
            </a:r>
          </a:p>
          <a:p>
            <a:pPr algn="l"/>
            <a:r>
              <a:rPr lang="en-GB" dirty="0">
                <a:latin typeface="Segoe UI Light" panose="020B0502040204020203" pitchFamily="34" charset="0"/>
                <a:cs typeface="Segoe UI Light" panose="020B0502040204020203" pitchFamily="34" charset="0"/>
              </a:rPr>
              <a:t>Microsoft</a:t>
            </a:r>
          </a:p>
          <a:p>
            <a:pPr algn="l"/>
            <a:endParaRPr lang="en-GB" dirty="0">
              <a:latin typeface="Segoe UI Light" panose="020B0502040204020203" pitchFamily="34" charset="0"/>
              <a:cs typeface="Segoe UI Light" panose="020B0502040204020203" pitchFamily="34" charset="0"/>
            </a:endParaRPr>
          </a:p>
          <a:p>
            <a:pPr algn="l"/>
            <a:r>
              <a:rPr lang="en-GB" dirty="0">
                <a:latin typeface="Segoe UI Light" panose="020B0502040204020203" pitchFamily="34" charset="0"/>
                <a:cs typeface="Segoe UI Light" panose="020B0502040204020203" pitchFamily="34" charset="0"/>
              </a:rPr>
              <a:t>@Techielass</a:t>
            </a:r>
          </a:p>
          <a:p>
            <a:pPr algn="l"/>
            <a:r>
              <a:rPr lang="en-GB" dirty="0">
                <a:latin typeface="Segoe UI Light" panose="020B0502040204020203" pitchFamily="34" charset="0"/>
                <a:cs typeface="Segoe UI Light" panose="020B0502040204020203" pitchFamily="34" charset="0"/>
              </a:rPr>
              <a:t>www.techielass.com</a:t>
            </a: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755E9CD0-04B0-4A3C-B291-AD913379C71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0208695" y="1"/>
            <a:ext cx="1135066" cy="477997"/>
          </a:xfrm>
          <a:custGeom>
            <a:avLst/>
            <a:gdLst>
              <a:gd name="connsiteX0" fmla="*/ 0 w 1135066"/>
              <a:gd name="connsiteY0" fmla="*/ 0 h 477997"/>
              <a:gd name="connsiteX1" fmla="*/ 1135066 w 1135066"/>
              <a:gd name="connsiteY1" fmla="*/ 0 h 477997"/>
              <a:gd name="connsiteX2" fmla="*/ 1133370 w 1135066"/>
              <a:gd name="connsiteY2" fmla="*/ 16827 h 477997"/>
              <a:gd name="connsiteX3" fmla="*/ 567533 w 1135066"/>
              <a:gd name="connsiteY3" fmla="*/ 477997 h 477997"/>
              <a:gd name="connsiteX4" fmla="*/ 1696 w 1135066"/>
              <a:gd name="connsiteY4" fmla="*/ 16827 h 4779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35066" h="477997">
                <a:moveTo>
                  <a:pt x="0" y="0"/>
                </a:moveTo>
                <a:lnTo>
                  <a:pt x="1135066" y="0"/>
                </a:lnTo>
                <a:lnTo>
                  <a:pt x="1133370" y="16827"/>
                </a:lnTo>
                <a:cubicBezTo>
                  <a:pt x="1079514" y="280016"/>
                  <a:pt x="846644" y="477997"/>
                  <a:pt x="567533" y="477997"/>
                </a:cubicBezTo>
                <a:cubicBezTo>
                  <a:pt x="288422" y="477997"/>
                  <a:pt x="55552" y="280016"/>
                  <a:pt x="1696" y="16827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1DD8BF3B-6066-418C-8D1A-75C5E396FC0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6821310" y="2624479"/>
            <a:ext cx="812427" cy="812427"/>
          </a:xfrm>
          <a:prstGeom prst="ellipse">
            <a:avLst/>
          </a:prstGeom>
          <a:noFill/>
          <a:ln w="12700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4" name="Block Arc 13">
            <a:extLst>
              <a:ext uri="{FF2B5EF4-FFF2-40B4-BE49-F238E27FC236}">
                <a16:creationId xmlns:a16="http://schemas.microsoft.com/office/drawing/2014/main" id="{80BC66F9-7A74-4286-AD22-1174052CC22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6200000">
            <a:off x="8912417" y="1202394"/>
            <a:ext cx="2387600" cy="2387600"/>
          </a:xfrm>
          <a:prstGeom prst="blockArc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D8142CC3-2B5C-48E6-9DF0-6C8ACBAF23E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6821310" y="0"/>
            <a:ext cx="2315251" cy="1550992"/>
          </a:xfrm>
          <a:custGeom>
            <a:avLst/>
            <a:gdLst>
              <a:gd name="connsiteX0" fmla="*/ 0 w 2315251"/>
              <a:gd name="connsiteY0" fmla="*/ 0 h 1550992"/>
              <a:gd name="connsiteX1" fmla="*/ 138700 w 2315251"/>
              <a:gd name="connsiteY1" fmla="*/ 0 h 1550992"/>
              <a:gd name="connsiteX2" fmla="*/ 138700 w 2315251"/>
              <a:gd name="connsiteY2" fmla="*/ 1361400 h 1550992"/>
              <a:gd name="connsiteX3" fmla="*/ 2107387 w 2315251"/>
              <a:gd name="connsiteY3" fmla="*/ 222673 h 1550992"/>
              <a:gd name="connsiteX4" fmla="*/ 1722420 w 2315251"/>
              <a:gd name="connsiteY4" fmla="*/ 0 h 1550992"/>
              <a:gd name="connsiteX5" fmla="*/ 1999436 w 2315251"/>
              <a:gd name="connsiteY5" fmla="*/ 0 h 1550992"/>
              <a:gd name="connsiteX6" fmla="*/ 2280549 w 2315251"/>
              <a:gd name="connsiteY6" fmla="*/ 162605 h 1550992"/>
              <a:gd name="connsiteX7" fmla="*/ 2305953 w 2315251"/>
              <a:gd name="connsiteY7" fmla="*/ 257336 h 1550992"/>
              <a:gd name="connsiteX8" fmla="*/ 2280549 w 2315251"/>
              <a:gd name="connsiteY8" fmla="*/ 282740 h 1550992"/>
              <a:gd name="connsiteX9" fmla="*/ 104026 w 2315251"/>
              <a:gd name="connsiteY9" fmla="*/ 1541710 h 1550992"/>
              <a:gd name="connsiteX10" fmla="*/ 69351 w 2315251"/>
              <a:gd name="connsiteY10" fmla="*/ 1550992 h 1550992"/>
              <a:gd name="connsiteX11" fmla="*/ 0 w 2315251"/>
              <a:gd name="connsiteY11" fmla="*/ 1481643 h 15509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2315251" h="1550992">
                <a:moveTo>
                  <a:pt x="0" y="0"/>
                </a:moveTo>
                <a:lnTo>
                  <a:pt x="138700" y="0"/>
                </a:lnTo>
                <a:lnTo>
                  <a:pt x="138700" y="1361400"/>
                </a:lnTo>
                <a:lnTo>
                  <a:pt x="2107387" y="222673"/>
                </a:lnTo>
                <a:lnTo>
                  <a:pt x="1722420" y="0"/>
                </a:lnTo>
                <a:lnTo>
                  <a:pt x="1999436" y="0"/>
                </a:lnTo>
                <a:lnTo>
                  <a:pt x="2280549" y="162605"/>
                </a:lnTo>
                <a:cubicBezTo>
                  <a:pt x="2313720" y="181745"/>
                  <a:pt x="2325104" y="224155"/>
                  <a:pt x="2305953" y="257336"/>
                </a:cubicBezTo>
                <a:cubicBezTo>
                  <a:pt x="2299872" y="267889"/>
                  <a:pt x="2291101" y="276648"/>
                  <a:pt x="2280549" y="282740"/>
                </a:cubicBezTo>
                <a:lnTo>
                  <a:pt x="104026" y="1541710"/>
                </a:lnTo>
                <a:cubicBezTo>
                  <a:pt x="93484" y="1547802"/>
                  <a:pt x="81523" y="1551003"/>
                  <a:pt x="69351" y="1550992"/>
                </a:cubicBezTo>
                <a:cubicBezTo>
                  <a:pt x="31049" y="1550992"/>
                  <a:pt x="0" y="1519944"/>
                  <a:pt x="0" y="1481643"/>
                </a:cubicBezTo>
                <a:close/>
              </a:path>
            </a:pathLst>
          </a:custGeom>
          <a:solidFill>
            <a:schemeClr val="accent6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 dirty="0"/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7B2D303B-3DD0-4319-9EAD-361847FEC71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>
            <a:off x="11724638" y="1331572"/>
            <a:ext cx="0" cy="1597708"/>
          </a:xfrm>
          <a:prstGeom prst="line">
            <a:avLst/>
          </a:prstGeom>
          <a:ln w="127000" cap="rnd">
            <a:solidFill>
              <a:schemeClr val="accent4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Freeform: Shape 19">
            <a:extLst>
              <a:ext uri="{FF2B5EF4-FFF2-40B4-BE49-F238E27FC236}">
                <a16:creationId xmlns:a16="http://schemas.microsoft.com/office/drawing/2014/main" id="{46A89C79-8EF3-4AF9-B3D9-59A883F41C8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1005550" y="4112081"/>
            <a:ext cx="1186451" cy="1771650"/>
          </a:xfrm>
          <a:custGeom>
            <a:avLst/>
            <a:gdLst>
              <a:gd name="connsiteX0" fmla="*/ 61913 w 1186451"/>
              <a:gd name="connsiteY0" fmla="*/ 0 h 1771650"/>
              <a:gd name="connsiteX1" fmla="*/ 1186451 w 1186451"/>
              <a:gd name="connsiteY1" fmla="*/ 0 h 1771650"/>
              <a:gd name="connsiteX2" fmla="*/ 1186451 w 1186451"/>
              <a:gd name="connsiteY2" fmla="*/ 123825 h 1771650"/>
              <a:gd name="connsiteX3" fmla="*/ 123825 w 1186451"/>
              <a:gd name="connsiteY3" fmla="*/ 123825 h 1771650"/>
              <a:gd name="connsiteX4" fmla="*/ 123825 w 1186451"/>
              <a:gd name="connsiteY4" fmla="*/ 1647825 h 1771650"/>
              <a:gd name="connsiteX5" fmla="*/ 1186451 w 1186451"/>
              <a:gd name="connsiteY5" fmla="*/ 1647825 h 1771650"/>
              <a:gd name="connsiteX6" fmla="*/ 1186451 w 1186451"/>
              <a:gd name="connsiteY6" fmla="*/ 1771650 h 1771650"/>
              <a:gd name="connsiteX7" fmla="*/ 61913 w 1186451"/>
              <a:gd name="connsiteY7" fmla="*/ 1771650 h 1771650"/>
              <a:gd name="connsiteX8" fmla="*/ 0 w 1186451"/>
              <a:gd name="connsiteY8" fmla="*/ 1709738 h 1771650"/>
              <a:gd name="connsiteX9" fmla="*/ 0 w 1186451"/>
              <a:gd name="connsiteY9" fmla="*/ 61913 h 1771650"/>
              <a:gd name="connsiteX10" fmla="*/ 61913 w 1186451"/>
              <a:gd name="connsiteY10" fmla="*/ 0 h 17716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186451" h="1771650">
                <a:moveTo>
                  <a:pt x="61913" y="0"/>
                </a:moveTo>
                <a:lnTo>
                  <a:pt x="1186451" y="0"/>
                </a:lnTo>
                <a:lnTo>
                  <a:pt x="1186451" y="123825"/>
                </a:lnTo>
                <a:lnTo>
                  <a:pt x="123825" y="123825"/>
                </a:lnTo>
                <a:lnTo>
                  <a:pt x="123825" y="1647825"/>
                </a:lnTo>
                <a:lnTo>
                  <a:pt x="1186451" y="1647825"/>
                </a:lnTo>
                <a:lnTo>
                  <a:pt x="1186451" y="1771650"/>
                </a:lnTo>
                <a:lnTo>
                  <a:pt x="61913" y="1771650"/>
                </a:lnTo>
                <a:cubicBezTo>
                  <a:pt x="27719" y="1771650"/>
                  <a:pt x="0" y="1743932"/>
                  <a:pt x="0" y="1709738"/>
                </a:cubicBezTo>
                <a:lnTo>
                  <a:pt x="0" y="61913"/>
                </a:lnTo>
                <a:cubicBezTo>
                  <a:pt x="0" y="27719"/>
                  <a:pt x="27719" y="0"/>
                  <a:pt x="61913" y="0"/>
                </a:cubicBezTo>
                <a:close/>
              </a:path>
            </a:pathLst>
          </a:custGeom>
          <a:solidFill>
            <a:schemeClr val="accent6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2" name="Arc 21">
            <a:extLst>
              <a:ext uri="{FF2B5EF4-FFF2-40B4-BE49-F238E27FC236}">
                <a16:creationId xmlns:a16="http://schemas.microsoft.com/office/drawing/2014/main" id="{EFE5CE34-4543-42E5-B82C-1F3D12422CD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20992895">
            <a:off x="6086940" y="4145122"/>
            <a:ext cx="4083433" cy="4083433"/>
          </a:xfrm>
          <a:prstGeom prst="arc">
            <a:avLst/>
          </a:prstGeom>
          <a:ln w="127000" cap="rnd">
            <a:solidFill>
              <a:schemeClr val="accent4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4" name="Freeform: Shape 23">
            <a:extLst>
              <a:ext uri="{FF2B5EF4-FFF2-40B4-BE49-F238E27FC236}">
                <a16:creationId xmlns:a16="http://schemas.microsoft.com/office/drawing/2014/main" id="{72AF41FE-63D7-4695-81D2-66D2510E448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6821310" y="4962670"/>
            <a:ext cx="2643352" cy="1895331"/>
          </a:xfrm>
          <a:custGeom>
            <a:avLst/>
            <a:gdLst>
              <a:gd name="connsiteX0" fmla="*/ 1321676 w 2643352"/>
              <a:gd name="connsiteY0" fmla="*/ 0 h 1895331"/>
              <a:gd name="connsiteX1" fmla="*/ 2643352 w 2643352"/>
              <a:gd name="connsiteY1" fmla="*/ 1321676 h 1895331"/>
              <a:gd name="connsiteX2" fmla="*/ 2539488 w 2643352"/>
              <a:gd name="connsiteY2" fmla="*/ 1836132 h 1895331"/>
              <a:gd name="connsiteX3" fmla="*/ 2510970 w 2643352"/>
              <a:gd name="connsiteY3" fmla="*/ 1895331 h 1895331"/>
              <a:gd name="connsiteX4" fmla="*/ 132382 w 2643352"/>
              <a:gd name="connsiteY4" fmla="*/ 1895331 h 1895331"/>
              <a:gd name="connsiteX5" fmla="*/ 103864 w 2643352"/>
              <a:gd name="connsiteY5" fmla="*/ 1836132 h 1895331"/>
              <a:gd name="connsiteX6" fmla="*/ 0 w 2643352"/>
              <a:gd name="connsiteY6" fmla="*/ 1321676 h 1895331"/>
              <a:gd name="connsiteX7" fmla="*/ 1321676 w 2643352"/>
              <a:gd name="connsiteY7" fmla="*/ 0 h 18953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43352" h="1895331">
                <a:moveTo>
                  <a:pt x="1321676" y="0"/>
                </a:moveTo>
                <a:cubicBezTo>
                  <a:pt x="2051617" y="0"/>
                  <a:pt x="2643352" y="591735"/>
                  <a:pt x="2643352" y="1321676"/>
                </a:cubicBezTo>
                <a:cubicBezTo>
                  <a:pt x="2643352" y="1504161"/>
                  <a:pt x="2606369" y="1678009"/>
                  <a:pt x="2539488" y="1836132"/>
                </a:cubicBezTo>
                <a:lnTo>
                  <a:pt x="2510970" y="1895331"/>
                </a:lnTo>
                <a:lnTo>
                  <a:pt x="132382" y="1895331"/>
                </a:lnTo>
                <a:lnTo>
                  <a:pt x="103864" y="1836132"/>
                </a:lnTo>
                <a:cubicBezTo>
                  <a:pt x="36984" y="1678009"/>
                  <a:pt x="0" y="1504161"/>
                  <a:pt x="0" y="1321676"/>
                </a:cubicBezTo>
                <a:cubicBezTo>
                  <a:pt x="0" y="591735"/>
                  <a:pt x="591735" y="0"/>
                  <a:pt x="1321676" y="0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Picture 4" descr="A close up of a logo&#10;&#10;Description automatically generated">
            <a:extLst>
              <a:ext uri="{FF2B5EF4-FFF2-40B4-BE49-F238E27FC236}">
                <a16:creationId xmlns:a16="http://schemas.microsoft.com/office/drawing/2014/main" id="{080D7284-38EC-4B50-AFB0-03661F780C63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076621" y="5222500"/>
            <a:ext cx="2520095" cy="21414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20546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: Rounded Corners 13">
            <a:extLst>
              <a:ext uri="{FF2B5EF4-FFF2-40B4-BE49-F238E27FC236}">
                <a16:creationId xmlns:a16="http://schemas.microsoft.com/office/drawing/2014/main" id="{0F6311FD-E7A6-4C56-83BD-88CA0BD89C14}"/>
              </a:ext>
            </a:extLst>
          </p:cNvPr>
          <p:cNvSpPr/>
          <p:nvPr/>
        </p:nvSpPr>
        <p:spPr>
          <a:xfrm>
            <a:off x="3356048" y="1493471"/>
            <a:ext cx="9347105" cy="5089689"/>
          </a:xfrm>
          <a:prstGeom prst="roundRect">
            <a:avLst>
              <a:gd name="adj" fmla="val 2995"/>
            </a:avLst>
          </a:prstGeom>
          <a:solidFill>
            <a:schemeClr val="tx1"/>
          </a:solidFill>
          <a:ln w="19050">
            <a:solidFill>
              <a:schemeClr val="bg1">
                <a:lumMod val="65000"/>
              </a:schemeClr>
            </a:solidFill>
          </a:ln>
          <a:effectLst>
            <a:outerShdw blurRad="355600" dist="533400" dir="10980000" sx="96000" sy="96000" algn="r" rotWithShape="0">
              <a:prstClr val="black">
                <a:alpha val="46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96214">
              <a:defRPr/>
            </a:pPr>
            <a:endParaRPr lang="en-US" sz="1765">
              <a:solidFill>
                <a:prstClr val="white"/>
              </a:solidFill>
              <a:latin typeface="Segoe UI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1354F60A-BE64-4B72-BA3E-38A0694D1887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r="9246" b="10095"/>
          <a:stretch/>
        </p:blipFill>
        <p:spPr>
          <a:xfrm>
            <a:off x="3800160" y="1904080"/>
            <a:ext cx="8458882" cy="4268472"/>
          </a:xfrm>
          <a:prstGeom prst="rect">
            <a:avLst/>
          </a:prstGeom>
        </p:spPr>
      </p:pic>
      <p:sp>
        <p:nvSpPr>
          <p:cNvPr id="49" name="TextBox 48">
            <a:extLst>
              <a:ext uri="{FF2B5EF4-FFF2-40B4-BE49-F238E27FC236}">
                <a16:creationId xmlns:a16="http://schemas.microsoft.com/office/drawing/2014/main" id="{15A9FCE9-BC28-4698-8E8B-2FB3E9765637}"/>
              </a:ext>
            </a:extLst>
          </p:cNvPr>
          <p:cNvSpPr txBox="1"/>
          <p:nvPr/>
        </p:nvSpPr>
        <p:spPr>
          <a:xfrm>
            <a:off x="349454" y="1861593"/>
            <a:ext cx="2488297" cy="123695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192">
              <a:defRPr/>
            </a:pPr>
            <a:r>
              <a:rPr lang="en-US" sz="1961" dirty="0">
                <a:solidFill>
                  <a:prstClr val="black"/>
                </a:solidFill>
                <a:latin typeface="Segoe UI Semibold"/>
                <a:cs typeface="Segoe UI" panose="020B0502040204020203" pitchFamily="34" charset="0"/>
              </a:rPr>
              <a:t>End-to-end visibility</a:t>
            </a:r>
            <a:endParaRPr lang="en-US" sz="1765" dirty="0">
              <a:solidFill>
                <a:prstClr val="black"/>
              </a:solidFill>
              <a:latin typeface="Segoe UI (Body)"/>
              <a:cs typeface="Segoe UI" panose="020B0502040204020203" pitchFamily="34" charset="0"/>
            </a:endParaRPr>
          </a:p>
          <a:p>
            <a:pPr defTabSz="914192">
              <a:defRPr/>
            </a:pPr>
            <a:endParaRPr lang="en-US" sz="1371" dirty="0">
              <a:solidFill>
                <a:prstClr val="black"/>
              </a:solidFill>
              <a:latin typeface="Segoe UI"/>
            </a:endParaRPr>
          </a:p>
          <a:p>
            <a:pPr defTabSz="896354">
              <a:defRPr/>
            </a:pPr>
            <a:r>
              <a:rPr lang="en-US" sz="1372" dirty="0">
                <a:solidFill>
                  <a:srgbClr val="4C4C5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entralized migration repository delivering end-to-end tracking and insights</a:t>
            </a:r>
            <a:endParaRPr lang="en-US" sz="1372" dirty="0">
              <a:solidFill>
                <a:srgbClr val="000000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8" name="Title 1">
            <a:extLst>
              <a:ext uri="{FF2B5EF4-FFF2-40B4-BE49-F238E27FC236}">
                <a16:creationId xmlns:a16="http://schemas.microsoft.com/office/drawing/2014/main" id="{BECD9960-6DF9-4966-B2D6-F0D932774082}"/>
              </a:ext>
            </a:extLst>
          </p:cNvPr>
          <p:cNvSpPr txBox="1">
            <a:spLocks/>
          </p:cNvSpPr>
          <p:nvPr/>
        </p:nvSpPr>
        <p:spPr>
          <a:xfrm>
            <a:off x="486232" y="1710297"/>
            <a:ext cx="11373365" cy="553841"/>
          </a:xfrm>
          <a:prstGeom prst="rect">
            <a:avLst/>
          </a:prstGeom>
        </p:spPr>
        <p:txBody>
          <a:bodyPr vert="horz" wrap="square" lIns="0" tIns="89630" rIns="143407" bIns="89630" rtlCol="0" anchor="t">
            <a:noAutofit/>
          </a:bodyPr>
          <a:lstStyle>
            <a:lvl1pPr algn="l" defTabSz="93256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800" b="0" kern="1200" cap="none" spc="-50" baseline="0" dirty="0" smtClean="0">
                <a:ln w="3175">
                  <a:noFill/>
                </a:ln>
                <a:solidFill>
                  <a:srgbClr val="000000"/>
                </a:soli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defTabSz="932384"/>
            <a:endParaRPr lang="en-US" sz="2745" dirty="0">
              <a:latin typeface="Segoe UI Semibold (Headings)"/>
              <a:cs typeface="Segoe UI Semibold" panose="020B0702040204020203" pitchFamily="34" charset="0"/>
            </a:endParaRP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CAF15D09-6290-314E-B1DA-EA595BF751D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5995" y="881209"/>
            <a:ext cx="11653518" cy="482763"/>
          </a:xfrm>
        </p:spPr>
        <p:txBody>
          <a:bodyPr/>
          <a:lstStyle/>
          <a:p>
            <a:r>
              <a:rPr lang="en-US" dirty="0"/>
              <a:t>A central hub of tools for your datacenter cloud migration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A6ED425-925B-9048-A040-906F571D51A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5995" y="433143"/>
            <a:ext cx="11303917" cy="813704"/>
          </a:xfrm>
        </p:spPr>
        <p:txBody>
          <a:bodyPr/>
          <a:lstStyle/>
          <a:p>
            <a:r>
              <a:rPr lang="en-US" dirty="0"/>
              <a:t>Azure Migrate</a:t>
            </a:r>
          </a:p>
        </p:txBody>
      </p:sp>
      <p:sp>
        <p:nvSpPr>
          <p:cNvPr id="4" name="bk object 17">
            <a:extLst>
              <a:ext uri="{FF2B5EF4-FFF2-40B4-BE49-F238E27FC236}">
                <a16:creationId xmlns:a16="http://schemas.microsoft.com/office/drawing/2014/main" id="{84C50EAE-4A89-4676-B531-513AF338A486}"/>
              </a:ext>
            </a:extLst>
          </p:cNvPr>
          <p:cNvSpPr/>
          <p:nvPr/>
        </p:nvSpPr>
        <p:spPr>
          <a:xfrm>
            <a:off x="0" y="6497955"/>
            <a:ext cx="12192000" cy="360045"/>
          </a:xfrm>
          <a:custGeom>
            <a:avLst/>
            <a:gdLst/>
            <a:ahLst/>
            <a:cxnLst/>
            <a:rect l="l" t="t" r="r" b="b"/>
            <a:pathLst>
              <a:path w="12434570" h="360045">
                <a:moveTo>
                  <a:pt x="0" y="359994"/>
                </a:moveTo>
                <a:lnTo>
                  <a:pt x="12434404" y="359994"/>
                </a:lnTo>
                <a:lnTo>
                  <a:pt x="12434404" y="0"/>
                </a:lnTo>
                <a:lnTo>
                  <a:pt x="0" y="0"/>
                </a:lnTo>
                <a:lnTo>
                  <a:pt x="0" y="359994"/>
                </a:lnTo>
                <a:close/>
              </a:path>
            </a:pathLst>
          </a:custGeom>
          <a:solidFill>
            <a:srgbClr val="007FBA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36DFE615-22CE-452C-B1DE-0D9644711AB7}"/>
              </a:ext>
            </a:extLst>
          </p:cNvPr>
          <p:cNvSpPr txBox="1"/>
          <p:nvPr/>
        </p:nvSpPr>
        <p:spPr>
          <a:xfrm>
            <a:off x="7278010" y="6591175"/>
            <a:ext cx="425867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100" b="0" i="0" kern="0" spc="-20" baseline="0" dirty="0">
                <a:solidFill>
                  <a:schemeClr val="bg1"/>
                </a:solidFill>
                <a:latin typeface="Segoe UI Semibold" charset="0"/>
              </a:rPr>
              <a:t>Microsoft Azure    </a:t>
            </a:r>
            <a:r>
              <a:rPr lang="en-US" sz="1100" b="0" i="0" kern="0" spc="-20" baseline="0" dirty="0">
                <a:solidFill>
                  <a:schemeClr val="bg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|  @</a:t>
            </a:r>
            <a:r>
              <a:rPr lang="en-US" sz="1100" b="0" i="0" kern="0" spc="-20" baseline="0" dirty="0" err="1">
                <a:solidFill>
                  <a:schemeClr val="bg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Techielass</a:t>
            </a:r>
            <a:endParaRPr lang="en-US" sz="1100" b="0" i="0" kern="0" spc="-20" baseline="0" dirty="0">
              <a:solidFill>
                <a:schemeClr val="bg1"/>
              </a:solidFill>
              <a:latin typeface="Segoe UI Semilight" panose="020B0402040204020203" pitchFamily="34" charset="0"/>
              <a:ea typeface="Segoe UI Semilight" charset="0"/>
              <a:cs typeface="Segoe UI Semilight" panose="020B04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379564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61628A7-5146-4FFF-BFF0-28C076E8A13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hoice of tools for every stage and every requirement</a:t>
            </a:r>
          </a:p>
        </p:txBody>
      </p:sp>
      <p:sp>
        <p:nvSpPr>
          <p:cNvPr id="99" name="TextBox 98">
            <a:extLst>
              <a:ext uri="{FF2B5EF4-FFF2-40B4-BE49-F238E27FC236}">
                <a16:creationId xmlns:a16="http://schemas.microsoft.com/office/drawing/2014/main" id="{FB63413F-E738-42F5-8A9C-DF27EB97BD41}"/>
              </a:ext>
            </a:extLst>
          </p:cNvPr>
          <p:cNvSpPr txBox="1"/>
          <p:nvPr/>
        </p:nvSpPr>
        <p:spPr>
          <a:xfrm>
            <a:off x="568972" y="1259475"/>
            <a:ext cx="1660477" cy="36207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i="0" u="none" strike="noStrike" cap="none" normalizeH="0" baseline="0">
                <a:ln w="3175"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Segoe UI Semibold"/>
                <a:cs typeface="Segoe UI" pitchFamily="34" charset="0"/>
              </a:defRPr>
            </a:lvl1pPr>
          </a:lstStyle>
          <a:p>
            <a:pPr defTabSz="914367"/>
            <a:r>
              <a:rPr lang="en-US" sz="2353" dirty="0">
                <a:solidFill>
                  <a:srgbClr val="0078D3"/>
                </a:solidFill>
              </a:rPr>
              <a:t>Servers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8C34C77E-BFDA-49C5-A015-FED53599E475}"/>
              </a:ext>
            </a:extLst>
          </p:cNvPr>
          <p:cNvCxnSpPr>
            <a:cxnSpLocks/>
          </p:cNvCxnSpPr>
          <p:nvPr/>
        </p:nvCxnSpPr>
        <p:spPr>
          <a:xfrm>
            <a:off x="2597874" y="1183430"/>
            <a:ext cx="0" cy="5425366"/>
          </a:xfrm>
          <a:prstGeom prst="line">
            <a:avLst/>
          </a:prstGeom>
          <a:ln w="15875">
            <a:solidFill>
              <a:schemeClr val="bg2"/>
            </a:solidFill>
            <a:prstDash val="dash"/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C19B2EB0-7AD9-479E-82AB-F8BD4AB51817}"/>
              </a:ext>
            </a:extLst>
          </p:cNvPr>
          <p:cNvCxnSpPr>
            <a:cxnSpLocks/>
          </p:cNvCxnSpPr>
          <p:nvPr/>
        </p:nvCxnSpPr>
        <p:spPr>
          <a:xfrm>
            <a:off x="4794523" y="1183430"/>
            <a:ext cx="0" cy="5425366"/>
          </a:xfrm>
          <a:prstGeom prst="line">
            <a:avLst/>
          </a:prstGeom>
          <a:ln w="15875">
            <a:solidFill>
              <a:schemeClr val="bg2"/>
            </a:solidFill>
            <a:prstDash val="dash"/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A0BEA18F-329F-45B7-A845-D45C7D505899}"/>
              </a:ext>
            </a:extLst>
          </p:cNvPr>
          <p:cNvCxnSpPr>
            <a:cxnSpLocks/>
          </p:cNvCxnSpPr>
          <p:nvPr/>
        </p:nvCxnSpPr>
        <p:spPr>
          <a:xfrm>
            <a:off x="7156085" y="1151836"/>
            <a:ext cx="0" cy="5425366"/>
          </a:xfrm>
          <a:prstGeom prst="line">
            <a:avLst/>
          </a:prstGeom>
          <a:ln w="15875">
            <a:solidFill>
              <a:schemeClr val="bg2"/>
            </a:solidFill>
            <a:prstDash val="dash"/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Straight Connector 64">
            <a:extLst>
              <a:ext uri="{FF2B5EF4-FFF2-40B4-BE49-F238E27FC236}">
                <a16:creationId xmlns:a16="http://schemas.microsoft.com/office/drawing/2014/main" id="{B9DF2F70-CECE-4B82-8C59-C6B9BBB0C925}"/>
              </a:ext>
            </a:extLst>
          </p:cNvPr>
          <p:cNvCxnSpPr>
            <a:cxnSpLocks/>
          </p:cNvCxnSpPr>
          <p:nvPr/>
        </p:nvCxnSpPr>
        <p:spPr>
          <a:xfrm>
            <a:off x="9601915" y="1126063"/>
            <a:ext cx="0" cy="5425366"/>
          </a:xfrm>
          <a:prstGeom prst="line">
            <a:avLst/>
          </a:prstGeom>
          <a:ln w="15875">
            <a:solidFill>
              <a:schemeClr val="bg2"/>
            </a:solidFill>
            <a:prstDash val="dash"/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8" name="Group 17">
            <a:extLst>
              <a:ext uri="{FF2B5EF4-FFF2-40B4-BE49-F238E27FC236}">
                <a16:creationId xmlns:a16="http://schemas.microsoft.com/office/drawing/2014/main" id="{585800AA-E853-6E4A-A097-834511BB384B}"/>
              </a:ext>
            </a:extLst>
          </p:cNvPr>
          <p:cNvGrpSpPr/>
          <p:nvPr/>
        </p:nvGrpSpPr>
        <p:grpSpPr>
          <a:xfrm>
            <a:off x="566074" y="6005826"/>
            <a:ext cx="8933223" cy="512132"/>
            <a:chOff x="577424" y="6125758"/>
            <a:chExt cx="9112353" cy="522401"/>
          </a:xfrm>
        </p:grpSpPr>
        <p:pic>
          <p:nvPicPr>
            <p:cNvPr id="39" name="Picture 2" descr="Image result for cloudamize logo">
              <a:extLst>
                <a:ext uri="{FF2B5EF4-FFF2-40B4-BE49-F238E27FC236}">
                  <a16:creationId xmlns:a16="http://schemas.microsoft.com/office/drawing/2014/main" id="{B119C207-8CDB-441E-AF9B-63F6CFBFB036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77424" y="6292812"/>
              <a:ext cx="1514226" cy="18829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77" name="Rectangle 76">
              <a:extLst>
                <a:ext uri="{FF2B5EF4-FFF2-40B4-BE49-F238E27FC236}">
                  <a16:creationId xmlns:a16="http://schemas.microsoft.com/office/drawing/2014/main" id="{CB3B7E90-F8DE-44B1-9E57-A8206469F39C}"/>
                </a:ext>
              </a:extLst>
            </p:cNvPr>
            <p:cNvSpPr/>
            <p:nvPr/>
          </p:nvSpPr>
          <p:spPr bwMode="auto">
            <a:xfrm>
              <a:off x="993518" y="6208701"/>
              <a:ext cx="1114335" cy="356514"/>
            </a:xfrm>
            <a:prstGeom prst="rect">
              <a:avLst/>
            </a:prstGeom>
            <a:solidFill>
              <a:schemeClr val="bg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defTabSz="914102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96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pic>
          <p:nvPicPr>
            <p:cNvPr id="25" name="Picture 24">
              <a:extLst>
                <a:ext uri="{FF2B5EF4-FFF2-40B4-BE49-F238E27FC236}">
                  <a16:creationId xmlns:a16="http://schemas.microsoft.com/office/drawing/2014/main" id="{D55B13D6-357C-46F8-9E13-E3FA57966C2A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6252811" y="6171231"/>
              <a:ext cx="668333" cy="431455"/>
            </a:xfrm>
            <a:prstGeom prst="rect">
              <a:avLst/>
            </a:prstGeom>
          </p:spPr>
        </p:pic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325A14B6-9214-4D9F-912F-475A0CB22F84}"/>
                </a:ext>
              </a:extLst>
            </p:cNvPr>
            <p:cNvSpPr txBox="1"/>
            <p:nvPr/>
          </p:nvSpPr>
          <p:spPr>
            <a:xfrm>
              <a:off x="993518" y="6279236"/>
              <a:ext cx="1578766" cy="21544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en-US"/>
              </a:defPPr>
              <a:lvl1pPr marR="0" lvl="0" indent="0" defTabSz="932563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1400" b="0" i="0" u="none" strike="noStrike" cap="none" spc="0" normalizeH="0" baseline="0">
                  <a:ln>
                    <a:noFill/>
                  </a:ln>
                  <a:gradFill>
                    <a:gsLst>
                      <a:gs pos="2917">
                        <a:srgbClr val="1A1A1A"/>
                      </a:gs>
                      <a:gs pos="30000">
                        <a:srgbClr val="1A1A1A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/>
                  <a:cs typeface="Segoe UI Semilight" panose="020B0402040204020203" pitchFamily="34" charset="0"/>
                </a:defRPr>
              </a:lvl1pPr>
            </a:lstStyle>
            <a:p>
              <a:pPr defTabSz="914192"/>
              <a:r>
                <a:rPr lang="en-US" sz="1372" dirty="0" err="1"/>
                <a:t>Cloudamize</a:t>
              </a:r>
              <a:endParaRPr lang="en-US" sz="1372" dirty="0"/>
            </a:p>
          </p:txBody>
        </p:sp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FE1A480C-8AF4-4981-9F57-46A174CE6900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2432107" y="6173022"/>
              <a:ext cx="408714" cy="427873"/>
            </a:xfrm>
            <a:prstGeom prst="rect">
              <a:avLst/>
            </a:prstGeom>
          </p:spPr>
        </p:pic>
        <p:sp>
          <p:nvSpPr>
            <p:cNvPr id="35" name="TextBox 34">
              <a:extLst>
                <a:ext uri="{FF2B5EF4-FFF2-40B4-BE49-F238E27FC236}">
                  <a16:creationId xmlns:a16="http://schemas.microsoft.com/office/drawing/2014/main" id="{4817CA4C-A785-4D92-AF47-6592E44A3DED}"/>
                </a:ext>
              </a:extLst>
            </p:cNvPr>
            <p:cNvSpPr txBox="1"/>
            <p:nvPr/>
          </p:nvSpPr>
          <p:spPr>
            <a:xfrm>
              <a:off x="2826176" y="6279236"/>
              <a:ext cx="1578766" cy="21544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en-US"/>
              </a:defPPr>
              <a:lvl1pPr marR="0" lvl="0" indent="0" defTabSz="932563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1400" b="0" i="0" u="none" strike="noStrike" cap="none" spc="0" normalizeH="0" baseline="0">
                  <a:ln>
                    <a:noFill/>
                  </a:ln>
                  <a:gradFill>
                    <a:gsLst>
                      <a:gs pos="2917">
                        <a:srgbClr val="1A1A1A"/>
                      </a:gs>
                      <a:gs pos="30000">
                        <a:srgbClr val="1A1A1A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/>
                  <a:cs typeface="Segoe UI Semilight" panose="020B0402040204020203" pitchFamily="34" charset="0"/>
                </a:defRPr>
              </a:lvl1pPr>
            </a:lstStyle>
            <a:p>
              <a:pPr defTabSz="914192"/>
              <a:r>
                <a:rPr lang="en-US" sz="1372" dirty="0" err="1"/>
                <a:t>Turbonomic</a:t>
              </a:r>
              <a:endParaRPr lang="en-US" sz="1372" dirty="0"/>
            </a:p>
          </p:txBody>
        </p:sp>
        <p:pic>
          <p:nvPicPr>
            <p:cNvPr id="37" name="Picture 36">
              <a:extLst>
                <a:ext uri="{FF2B5EF4-FFF2-40B4-BE49-F238E27FC236}">
                  <a16:creationId xmlns:a16="http://schemas.microsoft.com/office/drawing/2014/main" id="{7C870661-39C5-4073-B720-E22A7BAFFF6C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4138983" y="6125758"/>
              <a:ext cx="530564" cy="522401"/>
            </a:xfrm>
            <a:prstGeom prst="rect">
              <a:avLst/>
            </a:prstGeom>
          </p:spPr>
        </p:pic>
        <p:sp>
          <p:nvSpPr>
            <p:cNvPr id="38" name="TextBox 37">
              <a:extLst>
                <a:ext uri="{FF2B5EF4-FFF2-40B4-BE49-F238E27FC236}">
                  <a16:creationId xmlns:a16="http://schemas.microsoft.com/office/drawing/2014/main" id="{DC6414C9-E75F-4B86-937E-37CFA7A301DF}"/>
                </a:ext>
              </a:extLst>
            </p:cNvPr>
            <p:cNvSpPr txBox="1"/>
            <p:nvPr/>
          </p:nvSpPr>
          <p:spPr>
            <a:xfrm>
              <a:off x="4699142" y="6279236"/>
              <a:ext cx="1265178" cy="21544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en-US"/>
              </a:defPPr>
              <a:lvl1pPr marR="0" lvl="0" indent="0" defTabSz="932563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1400" b="0" i="0" u="none" strike="noStrike" cap="none" spc="0" normalizeH="0" baseline="0">
                  <a:ln>
                    <a:noFill/>
                  </a:ln>
                  <a:gradFill>
                    <a:gsLst>
                      <a:gs pos="2917">
                        <a:srgbClr val="1A1A1A"/>
                      </a:gs>
                      <a:gs pos="30000">
                        <a:srgbClr val="1A1A1A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/>
                  <a:cs typeface="Segoe UI Semilight" panose="020B0402040204020203" pitchFamily="34" charset="0"/>
                </a:defRPr>
              </a:lvl1pPr>
            </a:lstStyle>
            <a:p>
              <a:pPr defTabSz="914192"/>
              <a:r>
                <a:rPr lang="en-US" sz="1372" dirty="0" err="1"/>
                <a:t>UnifyCloud</a:t>
              </a:r>
              <a:endParaRPr lang="en-US" sz="1372" dirty="0"/>
            </a:p>
          </p:txBody>
        </p:sp>
        <p:sp>
          <p:nvSpPr>
            <p:cNvPr id="43" name="TextBox 42">
              <a:extLst>
                <a:ext uri="{FF2B5EF4-FFF2-40B4-BE49-F238E27FC236}">
                  <a16:creationId xmlns:a16="http://schemas.microsoft.com/office/drawing/2014/main" id="{10A72D05-C214-463A-88E1-CC8AC5085AAA}"/>
                </a:ext>
              </a:extLst>
            </p:cNvPr>
            <p:cNvSpPr txBox="1"/>
            <p:nvPr/>
          </p:nvSpPr>
          <p:spPr>
            <a:xfrm>
              <a:off x="6920620" y="6279236"/>
              <a:ext cx="1578766" cy="21544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en-US"/>
              </a:defPPr>
              <a:lvl1pPr marR="0" lvl="0" indent="0" defTabSz="932563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1400" b="0" i="0" u="none" strike="noStrike" cap="none" spc="0" normalizeH="0" baseline="0">
                  <a:ln>
                    <a:noFill/>
                  </a:ln>
                  <a:gradFill>
                    <a:gsLst>
                      <a:gs pos="2917">
                        <a:srgbClr val="1A1A1A"/>
                      </a:gs>
                      <a:gs pos="30000">
                        <a:srgbClr val="1A1A1A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/>
                  <a:cs typeface="Segoe UI Semilight" panose="020B0402040204020203" pitchFamily="34" charset="0"/>
                </a:defRPr>
              </a:lvl1pPr>
            </a:lstStyle>
            <a:p>
              <a:pPr defTabSz="914192"/>
              <a:r>
                <a:rPr lang="en-US" sz="1372" dirty="0"/>
                <a:t>Device42</a:t>
              </a:r>
            </a:p>
          </p:txBody>
        </p:sp>
        <p:pic>
          <p:nvPicPr>
            <p:cNvPr id="46" name="Picture 45">
              <a:extLst>
                <a:ext uri="{FF2B5EF4-FFF2-40B4-BE49-F238E27FC236}">
                  <a16:creationId xmlns:a16="http://schemas.microsoft.com/office/drawing/2014/main" id="{E26B020D-530A-4BDD-ACDF-20542C3A7442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8214036" y="6228542"/>
              <a:ext cx="424435" cy="316832"/>
            </a:xfrm>
            <a:prstGeom prst="rect">
              <a:avLst/>
            </a:prstGeom>
          </p:spPr>
        </p:pic>
        <p:sp>
          <p:nvSpPr>
            <p:cNvPr id="48" name="TextBox 47">
              <a:extLst>
                <a:ext uri="{FF2B5EF4-FFF2-40B4-BE49-F238E27FC236}">
                  <a16:creationId xmlns:a16="http://schemas.microsoft.com/office/drawing/2014/main" id="{DC872553-B46D-403B-BCA7-34ECBD63A083}"/>
                </a:ext>
              </a:extLst>
            </p:cNvPr>
            <p:cNvSpPr txBox="1"/>
            <p:nvPr/>
          </p:nvSpPr>
          <p:spPr>
            <a:xfrm>
              <a:off x="8618216" y="6279236"/>
              <a:ext cx="1071561" cy="21544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en-US"/>
              </a:defPPr>
              <a:lvl1pPr marR="0" lvl="0" indent="0" defTabSz="932563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1400" b="0" i="0" u="none" strike="noStrike" cap="none" spc="0" normalizeH="0" baseline="0">
                  <a:ln>
                    <a:noFill/>
                  </a:ln>
                  <a:gradFill>
                    <a:gsLst>
                      <a:gs pos="2917">
                        <a:srgbClr val="1A1A1A"/>
                      </a:gs>
                      <a:gs pos="30000">
                        <a:srgbClr val="1A1A1A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/>
                  <a:cs typeface="Segoe UI Semilight" panose="020B0402040204020203" pitchFamily="34" charset="0"/>
                </a:defRPr>
              </a:lvl1pPr>
            </a:lstStyle>
            <a:p>
              <a:pPr defTabSz="914192"/>
              <a:r>
                <a:rPr lang="en-US" sz="1372"/>
                <a:t>RackWare</a:t>
              </a:r>
              <a:endParaRPr lang="en-US" sz="1372" dirty="0"/>
            </a:p>
          </p:txBody>
        </p:sp>
      </p:grp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7923599D-19B4-B741-932A-256F77FD07D4}"/>
              </a:ext>
            </a:extLst>
          </p:cNvPr>
          <p:cNvCxnSpPr/>
          <p:nvPr/>
        </p:nvCxnSpPr>
        <p:spPr>
          <a:xfrm>
            <a:off x="2731722" y="1218692"/>
            <a:ext cx="0" cy="3935041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0" name="Group 9">
            <a:extLst>
              <a:ext uri="{FF2B5EF4-FFF2-40B4-BE49-F238E27FC236}">
                <a16:creationId xmlns:a16="http://schemas.microsoft.com/office/drawing/2014/main" id="{2A56CA68-3C64-F347-8E35-7AD96C9DADF1}"/>
              </a:ext>
            </a:extLst>
          </p:cNvPr>
          <p:cNvGrpSpPr/>
          <p:nvPr/>
        </p:nvGrpSpPr>
        <p:grpSpPr>
          <a:xfrm>
            <a:off x="10126451" y="1704000"/>
            <a:ext cx="1980436" cy="923915"/>
            <a:chOff x="10329507" y="1737672"/>
            <a:chExt cx="2020148" cy="942441"/>
          </a:xfrm>
        </p:grpSpPr>
        <p:pic>
          <p:nvPicPr>
            <p:cNvPr id="68" name="Graphic 67">
              <a:extLst>
                <a:ext uri="{FF2B5EF4-FFF2-40B4-BE49-F238E27FC236}">
                  <a16:creationId xmlns:a16="http://schemas.microsoft.com/office/drawing/2014/main" id="{B719D82F-1D76-4B86-806F-2A769C77C876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10329507" y="1737672"/>
              <a:ext cx="465041" cy="445111"/>
            </a:xfrm>
            <a:prstGeom prst="rect">
              <a:avLst/>
            </a:prstGeom>
          </p:spPr>
        </p:pic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487F7B54-F1C0-4D40-83C8-0B36637E870C}"/>
                </a:ext>
              </a:extLst>
            </p:cNvPr>
            <p:cNvSpPr txBox="1"/>
            <p:nvPr/>
          </p:nvSpPr>
          <p:spPr>
            <a:xfrm>
              <a:off x="10347575" y="2249226"/>
              <a:ext cx="2002080" cy="43088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defTabSz="914192">
                <a:defRPr/>
              </a:pPr>
              <a:r>
                <a:rPr lang="en-US" sz="1372" dirty="0">
                  <a:gradFill>
                    <a:gsLst>
                      <a:gs pos="2917">
                        <a:srgbClr val="1A1A1A"/>
                      </a:gs>
                      <a:gs pos="30000">
                        <a:srgbClr val="1A1A1A"/>
                      </a:gs>
                    </a:gsLst>
                    <a:lin ang="5400000" scaled="0"/>
                  </a:gradFill>
                  <a:latin typeface="Segoe UI"/>
                  <a:cs typeface="Segoe UI Semilight" panose="020B0402040204020203" pitchFamily="34" charset="0"/>
                </a:rPr>
                <a:t>Azure Databox</a:t>
              </a:r>
            </a:p>
            <a:p>
              <a:pPr defTabSz="914192">
                <a:defRPr/>
              </a:pPr>
              <a:endParaRPr lang="en-US" sz="1372" dirty="0">
                <a:gradFill>
                  <a:gsLst>
                    <a:gs pos="2917">
                      <a:srgbClr val="1A1A1A"/>
                    </a:gs>
                    <a:gs pos="30000">
                      <a:srgbClr val="1A1A1A"/>
                    </a:gs>
                  </a:gsLst>
                  <a:lin ang="5400000" scaled="0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endParaRPr>
            </a:p>
          </p:txBody>
        </p:sp>
      </p:grpSp>
      <p:grpSp>
        <p:nvGrpSpPr>
          <p:cNvPr id="3" name="Group 2">
            <a:extLst>
              <a:ext uri="{FF2B5EF4-FFF2-40B4-BE49-F238E27FC236}">
                <a16:creationId xmlns:a16="http://schemas.microsoft.com/office/drawing/2014/main" id="{2F74BF92-9DD9-5149-AA96-154ADDAE8965}"/>
              </a:ext>
            </a:extLst>
          </p:cNvPr>
          <p:cNvGrpSpPr/>
          <p:nvPr/>
        </p:nvGrpSpPr>
        <p:grpSpPr>
          <a:xfrm>
            <a:off x="506918" y="1765764"/>
            <a:ext cx="2061609" cy="3242597"/>
            <a:chOff x="517082" y="1800675"/>
            <a:chExt cx="2102949" cy="3307618"/>
          </a:xfrm>
        </p:grpSpPr>
        <p:grpSp>
          <p:nvGrpSpPr>
            <p:cNvPr id="51" name="Picture 52">
              <a:extLst>
                <a:ext uri="{FF2B5EF4-FFF2-40B4-BE49-F238E27FC236}">
                  <a16:creationId xmlns:a16="http://schemas.microsoft.com/office/drawing/2014/main" id="{E5DDA6F0-9641-4BED-B69B-22C4D5FB54CB}"/>
                </a:ext>
              </a:extLst>
            </p:cNvPr>
            <p:cNvGrpSpPr/>
            <p:nvPr/>
          </p:nvGrpSpPr>
          <p:grpSpPr>
            <a:xfrm>
              <a:off x="547312" y="1800675"/>
              <a:ext cx="450314" cy="319105"/>
              <a:chOff x="2653753" y="2591824"/>
              <a:chExt cx="1624919" cy="1033449"/>
            </a:xfrm>
          </p:grpSpPr>
          <p:sp>
            <p:nvSpPr>
              <p:cNvPr id="52" name="Freeform: Shape 51">
                <a:extLst>
                  <a:ext uri="{FF2B5EF4-FFF2-40B4-BE49-F238E27FC236}">
                    <a16:creationId xmlns:a16="http://schemas.microsoft.com/office/drawing/2014/main" id="{6A967DAE-B094-4823-8B68-E62378A849C2}"/>
                  </a:ext>
                </a:extLst>
              </p:cNvPr>
              <p:cNvSpPr/>
              <p:nvPr/>
            </p:nvSpPr>
            <p:spPr>
              <a:xfrm>
                <a:off x="2871492" y="2591824"/>
                <a:ext cx="1407180" cy="812460"/>
              </a:xfrm>
              <a:custGeom>
                <a:avLst/>
                <a:gdLst>
                  <a:gd name="connsiteX0" fmla="*/ 0 w 1407180"/>
                  <a:gd name="connsiteY0" fmla="*/ 656468 h 812460"/>
                  <a:gd name="connsiteX1" fmla="*/ 149493 w 1407180"/>
                  <a:gd name="connsiteY1" fmla="*/ 812460 h 812460"/>
                  <a:gd name="connsiteX2" fmla="*/ 1111445 w 1407180"/>
                  <a:gd name="connsiteY2" fmla="*/ 812460 h 812460"/>
                  <a:gd name="connsiteX3" fmla="*/ 1407181 w 1407180"/>
                  <a:gd name="connsiteY3" fmla="*/ 536224 h 812460"/>
                  <a:gd name="connsiteX4" fmla="*/ 1111445 w 1407180"/>
                  <a:gd name="connsiteY4" fmla="*/ 259987 h 812460"/>
                  <a:gd name="connsiteX5" fmla="*/ 1013950 w 1407180"/>
                  <a:gd name="connsiteY5" fmla="*/ 276236 h 812460"/>
                  <a:gd name="connsiteX6" fmla="*/ 604470 w 1407180"/>
                  <a:gd name="connsiteY6" fmla="*/ 0 h 812460"/>
                  <a:gd name="connsiteX7" fmla="*/ 601220 w 1407180"/>
                  <a:gd name="connsiteY7" fmla="*/ 0 h 812460"/>
                  <a:gd name="connsiteX8" fmla="*/ 168992 w 1407180"/>
                  <a:gd name="connsiteY8" fmla="*/ 402980 h 812460"/>
                  <a:gd name="connsiteX9" fmla="*/ 185241 w 1407180"/>
                  <a:gd name="connsiteY9" fmla="*/ 510225 h 812460"/>
                  <a:gd name="connsiteX10" fmla="*/ 162492 w 1407180"/>
                  <a:gd name="connsiteY10" fmla="*/ 510225 h 812460"/>
                  <a:gd name="connsiteX11" fmla="*/ 0 w 1407180"/>
                  <a:gd name="connsiteY11" fmla="*/ 656468 h 8124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407180" h="812460">
                    <a:moveTo>
                      <a:pt x="0" y="656468"/>
                    </a:moveTo>
                    <a:cubicBezTo>
                      <a:pt x="0" y="734464"/>
                      <a:pt x="64997" y="802710"/>
                      <a:pt x="149493" y="812460"/>
                    </a:cubicBezTo>
                    <a:lnTo>
                      <a:pt x="1111445" y="812460"/>
                    </a:lnTo>
                    <a:cubicBezTo>
                      <a:pt x="1273937" y="812460"/>
                      <a:pt x="1407181" y="688966"/>
                      <a:pt x="1407181" y="536224"/>
                    </a:cubicBezTo>
                    <a:cubicBezTo>
                      <a:pt x="1407181" y="380231"/>
                      <a:pt x="1273937" y="259987"/>
                      <a:pt x="1111445" y="259987"/>
                    </a:cubicBezTo>
                    <a:cubicBezTo>
                      <a:pt x="1075697" y="259987"/>
                      <a:pt x="1046449" y="269737"/>
                      <a:pt x="1013950" y="276236"/>
                    </a:cubicBezTo>
                    <a:cubicBezTo>
                      <a:pt x="955453" y="113744"/>
                      <a:pt x="792961" y="0"/>
                      <a:pt x="604470" y="0"/>
                    </a:cubicBezTo>
                    <a:cubicBezTo>
                      <a:pt x="604470" y="0"/>
                      <a:pt x="601220" y="0"/>
                      <a:pt x="601220" y="0"/>
                    </a:cubicBezTo>
                    <a:cubicBezTo>
                      <a:pt x="360732" y="0"/>
                      <a:pt x="168992" y="181991"/>
                      <a:pt x="168992" y="402980"/>
                    </a:cubicBezTo>
                    <a:cubicBezTo>
                      <a:pt x="168992" y="438728"/>
                      <a:pt x="178741" y="477727"/>
                      <a:pt x="185241" y="510225"/>
                    </a:cubicBezTo>
                    <a:lnTo>
                      <a:pt x="162492" y="510225"/>
                    </a:lnTo>
                    <a:cubicBezTo>
                      <a:pt x="74746" y="503725"/>
                      <a:pt x="0" y="568722"/>
                      <a:pt x="0" y="656468"/>
                    </a:cubicBezTo>
                  </a:path>
                </a:pathLst>
              </a:custGeom>
              <a:solidFill>
                <a:srgbClr val="0072C6"/>
              </a:solidFill>
              <a:ln w="3238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3874">
                  <a:defRPr/>
                </a:pPr>
                <a:endParaRPr lang="en-US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53" name="Freeform: Shape 52">
                <a:extLst>
                  <a:ext uri="{FF2B5EF4-FFF2-40B4-BE49-F238E27FC236}">
                    <a16:creationId xmlns:a16="http://schemas.microsoft.com/office/drawing/2014/main" id="{F312DE7B-B95A-4B12-A984-98C875E0EA4F}"/>
                  </a:ext>
                </a:extLst>
              </p:cNvPr>
              <p:cNvSpPr/>
              <p:nvPr/>
            </p:nvSpPr>
            <p:spPr>
              <a:xfrm>
                <a:off x="2653753" y="2718567"/>
                <a:ext cx="1563172" cy="906705"/>
              </a:xfrm>
              <a:custGeom>
                <a:avLst/>
                <a:gdLst>
                  <a:gd name="connsiteX0" fmla="*/ 0 w 1563172"/>
                  <a:gd name="connsiteY0" fmla="*/ 734464 h 906705"/>
                  <a:gd name="connsiteX1" fmla="*/ 165742 w 1563172"/>
                  <a:gd name="connsiteY1" fmla="*/ 906705 h 906705"/>
                  <a:gd name="connsiteX2" fmla="*/ 1234939 w 1563172"/>
                  <a:gd name="connsiteY2" fmla="*/ 906705 h 906705"/>
                  <a:gd name="connsiteX3" fmla="*/ 1563173 w 1563172"/>
                  <a:gd name="connsiteY3" fmla="*/ 597971 h 906705"/>
                  <a:gd name="connsiteX4" fmla="*/ 1234939 w 1563172"/>
                  <a:gd name="connsiteY4" fmla="*/ 289236 h 906705"/>
                  <a:gd name="connsiteX5" fmla="*/ 1127695 w 1563172"/>
                  <a:gd name="connsiteY5" fmla="*/ 308735 h 906705"/>
                  <a:gd name="connsiteX6" fmla="*/ 672717 w 1563172"/>
                  <a:gd name="connsiteY6" fmla="*/ 0 h 906705"/>
                  <a:gd name="connsiteX7" fmla="*/ 669467 w 1563172"/>
                  <a:gd name="connsiteY7" fmla="*/ 0 h 906705"/>
                  <a:gd name="connsiteX8" fmla="*/ 188491 w 1563172"/>
                  <a:gd name="connsiteY8" fmla="*/ 448478 h 906705"/>
                  <a:gd name="connsiteX9" fmla="*/ 207990 w 1563172"/>
                  <a:gd name="connsiteY9" fmla="*/ 565472 h 906705"/>
                  <a:gd name="connsiteX10" fmla="*/ 181991 w 1563172"/>
                  <a:gd name="connsiteY10" fmla="*/ 565472 h 906705"/>
                  <a:gd name="connsiteX11" fmla="*/ 0 w 1563172"/>
                  <a:gd name="connsiteY11" fmla="*/ 734464 h 9067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563172" h="906705">
                    <a:moveTo>
                      <a:pt x="0" y="734464"/>
                    </a:moveTo>
                    <a:cubicBezTo>
                      <a:pt x="0" y="822209"/>
                      <a:pt x="71496" y="896956"/>
                      <a:pt x="165742" y="906705"/>
                    </a:cubicBezTo>
                    <a:lnTo>
                      <a:pt x="1234939" y="906705"/>
                    </a:lnTo>
                    <a:cubicBezTo>
                      <a:pt x="1416930" y="906705"/>
                      <a:pt x="1563173" y="770212"/>
                      <a:pt x="1563173" y="597971"/>
                    </a:cubicBezTo>
                    <a:cubicBezTo>
                      <a:pt x="1563173" y="425729"/>
                      <a:pt x="1416930" y="289236"/>
                      <a:pt x="1234939" y="289236"/>
                    </a:cubicBezTo>
                    <a:cubicBezTo>
                      <a:pt x="1195941" y="289236"/>
                      <a:pt x="1160193" y="298985"/>
                      <a:pt x="1127695" y="308735"/>
                    </a:cubicBezTo>
                    <a:cubicBezTo>
                      <a:pt x="1062698" y="126744"/>
                      <a:pt x="883957" y="0"/>
                      <a:pt x="672717" y="0"/>
                    </a:cubicBezTo>
                    <a:cubicBezTo>
                      <a:pt x="672717" y="0"/>
                      <a:pt x="669467" y="0"/>
                      <a:pt x="669467" y="0"/>
                    </a:cubicBezTo>
                    <a:cubicBezTo>
                      <a:pt x="402980" y="0"/>
                      <a:pt x="188491" y="201490"/>
                      <a:pt x="188491" y="448478"/>
                    </a:cubicBezTo>
                    <a:cubicBezTo>
                      <a:pt x="188491" y="490726"/>
                      <a:pt x="198240" y="529724"/>
                      <a:pt x="207990" y="565472"/>
                    </a:cubicBezTo>
                    <a:lnTo>
                      <a:pt x="181991" y="565472"/>
                    </a:lnTo>
                    <a:cubicBezTo>
                      <a:pt x="84496" y="565472"/>
                      <a:pt x="0" y="636969"/>
                      <a:pt x="0" y="734464"/>
                    </a:cubicBezTo>
                  </a:path>
                </a:pathLst>
              </a:custGeom>
              <a:solidFill>
                <a:srgbClr val="59B4D9"/>
              </a:solidFill>
              <a:ln w="3238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3874">
                  <a:defRPr/>
                </a:pPr>
                <a:endParaRPr lang="en-US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54" name="Freeform: Shape 53">
                <a:extLst>
                  <a:ext uri="{FF2B5EF4-FFF2-40B4-BE49-F238E27FC236}">
                    <a16:creationId xmlns:a16="http://schemas.microsoft.com/office/drawing/2014/main" id="{74D37F8D-FA86-4FDD-A033-45D825870F8C}"/>
                  </a:ext>
                </a:extLst>
              </p:cNvPr>
              <p:cNvSpPr/>
              <p:nvPr/>
            </p:nvSpPr>
            <p:spPr>
              <a:xfrm>
                <a:off x="2653753" y="2718568"/>
                <a:ext cx="835208" cy="906705"/>
              </a:xfrm>
              <a:custGeom>
                <a:avLst/>
                <a:gdLst>
                  <a:gd name="connsiteX0" fmla="*/ 672717 w 835208"/>
                  <a:gd name="connsiteY0" fmla="*/ 0 h 906705"/>
                  <a:gd name="connsiteX1" fmla="*/ 669467 w 835208"/>
                  <a:gd name="connsiteY1" fmla="*/ 0 h 906705"/>
                  <a:gd name="connsiteX2" fmla="*/ 188491 w 835208"/>
                  <a:gd name="connsiteY2" fmla="*/ 448478 h 906705"/>
                  <a:gd name="connsiteX3" fmla="*/ 207990 w 835208"/>
                  <a:gd name="connsiteY3" fmla="*/ 565472 h 906705"/>
                  <a:gd name="connsiteX4" fmla="*/ 181991 w 835208"/>
                  <a:gd name="connsiteY4" fmla="*/ 565472 h 906705"/>
                  <a:gd name="connsiteX5" fmla="*/ 0 w 835208"/>
                  <a:gd name="connsiteY5" fmla="*/ 734464 h 906705"/>
                  <a:gd name="connsiteX6" fmla="*/ 165742 w 835208"/>
                  <a:gd name="connsiteY6" fmla="*/ 906705 h 906705"/>
                  <a:gd name="connsiteX7" fmla="*/ 191741 w 835208"/>
                  <a:gd name="connsiteY7" fmla="*/ 906705 h 906705"/>
                  <a:gd name="connsiteX8" fmla="*/ 334734 w 835208"/>
                  <a:gd name="connsiteY8" fmla="*/ 640219 h 906705"/>
                  <a:gd name="connsiteX9" fmla="*/ 835209 w 835208"/>
                  <a:gd name="connsiteY9" fmla="*/ 29249 h 906705"/>
                  <a:gd name="connsiteX10" fmla="*/ 672717 w 835208"/>
                  <a:gd name="connsiteY10" fmla="*/ 0 h 9067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835208" h="906705">
                    <a:moveTo>
                      <a:pt x="672717" y="0"/>
                    </a:moveTo>
                    <a:cubicBezTo>
                      <a:pt x="672717" y="0"/>
                      <a:pt x="669467" y="0"/>
                      <a:pt x="669467" y="0"/>
                    </a:cubicBezTo>
                    <a:cubicBezTo>
                      <a:pt x="402980" y="0"/>
                      <a:pt x="188491" y="201490"/>
                      <a:pt x="188491" y="448478"/>
                    </a:cubicBezTo>
                    <a:cubicBezTo>
                      <a:pt x="188491" y="490726"/>
                      <a:pt x="198240" y="529724"/>
                      <a:pt x="207990" y="565472"/>
                    </a:cubicBezTo>
                    <a:lnTo>
                      <a:pt x="181991" y="565472"/>
                    </a:lnTo>
                    <a:cubicBezTo>
                      <a:pt x="84496" y="565472"/>
                      <a:pt x="0" y="636969"/>
                      <a:pt x="0" y="734464"/>
                    </a:cubicBezTo>
                    <a:cubicBezTo>
                      <a:pt x="0" y="822209"/>
                      <a:pt x="71496" y="896956"/>
                      <a:pt x="165742" y="906705"/>
                    </a:cubicBezTo>
                    <a:lnTo>
                      <a:pt x="191741" y="906705"/>
                    </a:lnTo>
                    <a:cubicBezTo>
                      <a:pt x="94245" y="685716"/>
                      <a:pt x="334734" y="640219"/>
                      <a:pt x="334734" y="640219"/>
                    </a:cubicBezTo>
                    <a:cubicBezTo>
                      <a:pt x="311985" y="97495"/>
                      <a:pt x="822210" y="35748"/>
                      <a:pt x="835209" y="29249"/>
                    </a:cubicBezTo>
                    <a:cubicBezTo>
                      <a:pt x="786461" y="9750"/>
                      <a:pt x="731214" y="0"/>
                      <a:pt x="672717" y="0"/>
                    </a:cubicBezTo>
                    <a:close/>
                  </a:path>
                </a:pathLst>
              </a:custGeom>
              <a:solidFill>
                <a:srgbClr val="FFFFFF">
                  <a:alpha val="20000"/>
                </a:srgbClr>
              </a:solidFill>
              <a:ln w="3238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3874">
                  <a:defRPr/>
                </a:pPr>
                <a:endParaRPr lang="en-US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55" name="Freeform: Shape 54">
                <a:extLst>
                  <a:ext uri="{FF2B5EF4-FFF2-40B4-BE49-F238E27FC236}">
                    <a16:creationId xmlns:a16="http://schemas.microsoft.com/office/drawing/2014/main" id="{94CFEDD6-C71C-4318-94AF-953DF2F4491F}"/>
                  </a:ext>
                </a:extLst>
              </p:cNvPr>
              <p:cNvSpPr/>
              <p:nvPr/>
            </p:nvSpPr>
            <p:spPr>
              <a:xfrm>
                <a:off x="3111980" y="3085800"/>
                <a:ext cx="464727" cy="539473"/>
              </a:xfrm>
              <a:custGeom>
                <a:avLst/>
                <a:gdLst>
                  <a:gd name="connsiteX0" fmla="*/ 71496 w 464727"/>
                  <a:gd name="connsiteY0" fmla="*/ 0 h 539473"/>
                  <a:gd name="connsiteX1" fmla="*/ 230739 w 464727"/>
                  <a:gd name="connsiteY1" fmla="*/ 0 h 539473"/>
                  <a:gd name="connsiteX2" fmla="*/ 464727 w 464727"/>
                  <a:gd name="connsiteY2" fmla="*/ 233988 h 539473"/>
                  <a:gd name="connsiteX3" fmla="*/ 155992 w 464727"/>
                  <a:gd name="connsiteY3" fmla="*/ 539473 h 539473"/>
                  <a:gd name="connsiteX4" fmla="*/ 0 w 464727"/>
                  <a:gd name="connsiteY4" fmla="*/ 539473 h 539473"/>
                  <a:gd name="connsiteX5" fmla="*/ 302235 w 464727"/>
                  <a:gd name="connsiteY5" fmla="*/ 233988 h 5394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464727" h="539473">
                    <a:moveTo>
                      <a:pt x="71496" y="0"/>
                    </a:moveTo>
                    <a:lnTo>
                      <a:pt x="230739" y="0"/>
                    </a:lnTo>
                    <a:lnTo>
                      <a:pt x="464727" y="233988"/>
                    </a:lnTo>
                    <a:lnTo>
                      <a:pt x="155992" y="539473"/>
                    </a:lnTo>
                    <a:lnTo>
                      <a:pt x="0" y="539473"/>
                    </a:lnTo>
                    <a:lnTo>
                      <a:pt x="302235" y="233988"/>
                    </a:lnTo>
                    <a:close/>
                  </a:path>
                </a:pathLst>
              </a:custGeom>
              <a:solidFill>
                <a:srgbClr val="FFFFFF"/>
              </a:solidFill>
              <a:ln w="3238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3874">
                  <a:defRPr/>
                </a:pPr>
                <a:endParaRPr lang="en-US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56" name="Freeform: Shape 55">
                <a:extLst>
                  <a:ext uri="{FF2B5EF4-FFF2-40B4-BE49-F238E27FC236}">
                    <a16:creationId xmlns:a16="http://schemas.microsoft.com/office/drawing/2014/main" id="{B8F81972-BE08-4A72-8C3E-DE9A0130A9E5}"/>
                  </a:ext>
                </a:extLst>
              </p:cNvPr>
              <p:cNvSpPr/>
              <p:nvPr/>
            </p:nvSpPr>
            <p:spPr>
              <a:xfrm>
                <a:off x="3508460" y="2738067"/>
                <a:ext cx="380231" cy="412729"/>
              </a:xfrm>
              <a:custGeom>
                <a:avLst/>
                <a:gdLst>
                  <a:gd name="connsiteX0" fmla="*/ 32498 w 380231"/>
                  <a:gd name="connsiteY0" fmla="*/ 0 h 412729"/>
                  <a:gd name="connsiteX1" fmla="*/ 194990 w 380231"/>
                  <a:gd name="connsiteY1" fmla="*/ 0 h 412729"/>
                  <a:gd name="connsiteX2" fmla="*/ 380231 w 380231"/>
                  <a:gd name="connsiteY2" fmla="*/ 188491 h 412729"/>
                  <a:gd name="connsiteX3" fmla="*/ 149493 w 380231"/>
                  <a:gd name="connsiteY3" fmla="*/ 412730 h 412729"/>
                  <a:gd name="connsiteX4" fmla="*/ 0 w 380231"/>
                  <a:gd name="connsiteY4" fmla="*/ 412730 h 412729"/>
                  <a:gd name="connsiteX5" fmla="*/ 217739 w 380231"/>
                  <a:gd name="connsiteY5" fmla="*/ 185241 h 4127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380231" h="412729">
                    <a:moveTo>
                      <a:pt x="32498" y="0"/>
                    </a:moveTo>
                    <a:lnTo>
                      <a:pt x="194990" y="0"/>
                    </a:lnTo>
                    <a:lnTo>
                      <a:pt x="380231" y="188491"/>
                    </a:lnTo>
                    <a:lnTo>
                      <a:pt x="149493" y="412730"/>
                    </a:lnTo>
                    <a:lnTo>
                      <a:pt x="0" y="412730"/>
                    </a:lnTo>
                    <a:lnTo>
                      <a:pt x="217739" y="185241"/>
                    </a:lnTo>
                    <a:close/>
                  </a:path>
                </a:pathLst>
              </a:custGeom>
              <a:solidFill>
                <a:srgbClr val="FFFFFF"/>
              </a:solidFill>
              <a:ln w="3238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3874">
                  <a:defRPr/>
                </a:pPr>
                <a:endParaRPr lang="en-US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57" name="Freeform: Shape 56">
                <a:extLst>
                  <a:ext uri="{FF2B5EF4-FFF2-40B4-BE49-F238E27FC236}">
                    <a16:creationId xmlns:a16="http://schemas.microsoft.com/office/drawing/2014/main" id="{C7BAEC62-F8EC-4E5A-B9DE-4D1CCE10929D}"/>
                  </a:ext>
                </a:extLst>
              </p:cNvPr>
              <p:cNvSpPr/>
              <p:nvPr/>
            </p:nvSpPr>
            <p:spPr>
              <a:xfrm>
                <a:off x="3674202" y="3157296"/>
                <a:ext cx="370481" cy="367231"/>
              </a:xfrm>
              <a:custGeom>
                <a:avLst/>
                <a:gdLst>
                  <a:gd name="connsiteX0" fmla="*/ 55247 w 370481"/>
                  <a:gd name="connsiteY0" fmla="*/ 0 h 367231"/>
                  <a:gd name="connsiteX1" fmla="*/ 214489 w 370481"/>
                  <a:gd name="connsiteY1" fmla="*/ 0 h 367231"/>
                  <a:gd name="connsiteX2" fmla="*/ 370482 w 370481"/>
                  <a:gd name="connsiteY2" fmla="*/ 155992 h 367231"/>
                  <a:gd name="connsiteX3" fmla="*/ 155992 w 370481"/>
                  <a:gd name="connsiteY3" fmla="*/ 367232 h 367231"/>
                  <a:gd name="connsiteX4" fmla="*/ 0 w 370481"/>
                  <a:gd name="connsiteY4" fmla="*/ 367232 h 367231"/>
                  <a:gd name="connsiteX5" fmla="*/ 207990 w 370481"/>
                  <a:gd name="connsiteY5" fmla="*/ 155992 h 3672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370481" h="367231">
                    <a:moveTo>
                      <a:pt x="55247" y="0"/>
                    </a:moveTo>
                    <a:lnTo>
                      <a:pt x="214489" y="0"/>
                    </a:lnTo>
                    <a:lnTo>
                      <a:pt x="370482" y="155992"/>
                    </a:lnTo>
                    <a:lnTo>
                      <a:pt x="155992" y="367232"/>
                    </a:lnTo>
                    <a:lnTo>
                      <a:pt x="0" y="367232"/>
                    </a:lnTo>
                    <a:lnTo>
                      <a:pt x="207990" y="155992"/>
                    </a:lnTo>
                    <a:close/>
                  </a:path>
                </a:pathLst>
              </a:custGeom>
              <a:solidFill>
                <a:srgbClr val="FFFFFF"/>
              </a:solidFill>
              <a:ln w="3238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3874">
                  <a:defRPr/>
                </a:pPr>
                <a:endParaRPr lang="en-US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</p:grpSp>
        <p:grpSp>
          <p:nvGrpSpPr>
            <p:cNvPr id="58" name="Picture 52">
              <a:extLst>
                <a:ext uri="{FF2B5EF4-FFF2-40B4-BE49-F238E27FC236}">
                  <a16:creationId xmlns:a16="http://schemas.microsoft.com/office/drawing/2014/main" id="{9CC5077D-6314-4467-8852-71FCADED70EA}"/>
                </a:ext>
              </a:extLst>
            </p:cNvPr>
            <p:cNvGrpSpPr/>
            <p:nvPr/>
          </p:nvGrpSpPr>
          <p:grpSpPr>
            <a:xfrm>
              <a:off x="517082" y="3300726"/>
              <a:ext cx="450314" cy="319105"/>
              <a:chOff x="2653753" y="2591824"/>
              <a:chExt cx="1624919" cy="1033449"/>
            </a:xfrm>
          </p:grpSpPr>
          <p:sp>
            <p:nvSpPr>
              <p:cNvPr id="59" name="Freeform: Shape 58">
                <a:extLst>
                  <a:ext uri="{FF2B5EF4-FFF2-40B4-BE49-F238E27FC236}">
                    <a16:creationId xmlns:a16="http://schemas.microsoft.com/office/drawing/2014/main" id="{4057707F-4068-4768-8FEB-BCD2CC9FBDA8}"/>
                  </a:ext>
                </a:extLst>
              </p:cNvPr>
              <p:cNvSpPr/>
              <p:nvPr/>
            </p:nvSpPr>
            <p:spPr>
              <a:xfrm>
                <a:off x="2871492" y="2591824"/>
                <a:ext cx="1407180" cy="812460"/>
              </a:xfrm>
              <a:custGeom>
                <a:avLst/>
                <a:gdLst>
                  <a:gd name="connsiteX0" fmla="*/ 0 w 1407180"/>
                  <a:gd name="connsiteY0" fmla="*/ 656468 h 812460"/>
                  <a:gd name="connsiteX1" fmla="*/ 149493 w 1407180"/>
                  <a:gd name="connsiteY1" fmla="*/ 812460 h 812460"/>
                  <a:gd name="connsiteX2" fmla="*/ 1111445 w 1407180"/>
                  <a:gd name="connsiteY2" fmla="*/ 812460 h 812460"/>
                  <a:gd name="connsiteX3" fmla="*/ 1407181 w 1407180"/>
                  <a:gd name="connsiteY3" fmla="*/ 536224 h 812460"/>
                  <a:gd name="connsiteX4" fmla="*/ 1111445 w 1407180"/>
                  <a:gd name="connsiteY4" fmla="*/ 259987 h 812460"/>
                  <a:gd name="connsiteX5" fmla="*/ 1013950 w 1407180"/>
                  <a:gd name="connsiteY5" fmla="*/ 276236 h 812460"/>
                  <a:gd name="connsiteX6" fmla="*/ 604470 w 1407180"/>
                  <a:gd name="connsiteY6" fmla="*/ 0 h 812460"/>
                  <a:gd name="connsiteX7" fmla="*/ 601220 w 1407180"/>
                  <a:gd name="connsiteY7" fmla="*/ 0 h 812460"/>
                  <a:gd name="connsiteX8" fmla="*/ 168992 w 1407180"/>
                  <a:gd name="connsiteY8" fmla="*/ 402980 h 812460"/>
                  <a:gd name="connsiteX9" fmla="*/ 185241 w 1407180"/>
                  <a:gd name="connsiteY9" fmla="*/ 510225 h 812460"/>
                  <a:gd name="connsiteX10" fmla="*/ 162492 w 1407180"/>
                  <a:gd name="connsiteY10" fmla="*/ 510225 h 812460"/>
                  <a:gd name="connsiteX11" fmla="*/ 0 w 1407180"/>
                  <a:gd name="connsiteY11" fmla="*/ 656468 h 8124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407180" h="812460">
                    <a:moveTo>
                      <a:pt x="0" y="656468"/>
                    </a:moveTo>
                    <a:cubicBezTo>
                      <a:pt x="0" y="734464"/>
                      <a:pt x="64997" y="802710"/>
                      <a:pt x="149493" y="812460"/>
                    </a:cubicBezTo>
                    <a:lnTo>
                      <a:pt x="1111445" y="812460"/>
                    </a:lnTo>
                    <a:cubicBezTo>
                      <a:pt x="1273937" y="812460"/>
                      <a:pt x="1407181" y="688966"/>
                      <a:pt x="1407181" y="536224"/>
                    </a:cubicBezTo>
                    <a:cubicBezTo>
                      <a:pt x="1407181" y="380231"/>
                      <a:pt x="1273937" y="259987"/>
                      <a:pt x="1111445" y="259987"/>
                    </a:cubicBezTo>
                    <a:cubicBezTo>
                      <a:pt x="1075697" y="259987"/>
                      <a:pt x="1046449" y="269737"/>
                      <a:pt x="1013950" y="276236"/>
                    </a:cubicBezTo>
                    <a:cubicBezTo>
                      <a:pt x="955453" y="113744"/>
                      <a:pt x="792961" y="0"/>
                      <a:pt x="604470" y="0"/>
                    </a:cubicBezTo>
                    <a:cubicBezTo>
                      <a:pt x="604470" y="0"/>
                      <a:pt x="601220" y="0"/>
                      <a:pt x="601220" y="0"/>
                    </a:cubicBezTo>
                    <a:cubicBezTo>
                      <a:pt x="360732" y="0"/>
                      <a:pt x="168992" y="181991"/>
                      <a:pt x="168992" y="402980"/>
                    </a:cubicBezTo>
                    <a:cubicBezTo>
                      <a:pt x="168992" y="438728"/>
                      <a:pt x="178741" y="477727"/>
                      <a:pt x="185241" y="510225"/>
                    </a:cubicBezTo>
                    <a:lnTo>
                      <a:pt x="162492" y="510225"/>
                    </a:lnTo>
                    <a:cubicBezTo>
                      <a:pt x="74746" y="503725"/>
                      <a:pt x="0" y="568722"/>
                      <a:pt x="0" y="656468"/>
                    </a:cubicBezTo>
                  </a:path>
                </a:pathLst>
              </a:custGeom>
              <a:solidFill>
                <a:srgbClr val="0072C6"/>
              </a:solidFill>
              <a:ln w="3238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3874">
                  <a:defRPr/>
                </a:pPr>
                <a:endParaRPr lang="en-US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60" name="Freeform: Shape 59">
                <a:extLst>
                  <a:ext uri="{FF2B5EF4-FFF2-40B4-BE49-F238E27FC236}">
                    <a16:creationId xmlns:a16="http://schemas.microsoft.com/office/drawing/2014/main" id="{E01B00ED-F701-459F-8CF0-0DE82E029FB4}"/>
                  </a:ext>
                </a:extLst>
              </p:cNvPr>
              <p:cNvSpPr/>
              <p:nvPr/>
            </p:nvSpPr>
            <p:spPr>
              <a:xfrm>
                <a:off x="2653753" y="2718567"/>
                <a:ext cx="1563172" cy="906705"/>
              </a:xfrm>
              <a:custGeom>
                <a:avLst/>
                <a:gdLst>
                  <a:gd name="connsiteX0" fmla="*/ 0 w 1563172"/>
                  <a:gd name="connsiteY0" fmla="*/ 734464 h 906705"/>
                  <a:gd name="connsiteX1" fmla="*/ 165742 w 1563172"/>
                  <a:gd name="connsiteY1" fmla="*/ 906705 h 906705"/>
                  <a:gd name="connsiteX2" fmla="*/ 1234939 w 1563172"/>
                  <a:gd name="connsiteY2" fmla="*/ 906705 h 906705"/>
                  <a:gd name="connsiteX3" fmla="*/ 1563173 w 1563172"/>
                  <a:gd name="connsiteY3" fmla="*/ 597971 h 906705"/>
                  <a:gd name="connsiteX4" fmla="*/ 1234939 w 1563172"/>
                  <a:gd name="connsiteY4" fmla="*/ 289236 h 906705"/>
                  <a:gd name="connsiteX5" fmla="*/ 1127695 w 1563172"/>
                  <a:gd name="connsiteY5" fmla="*/ 308735 h 906705"/>
                  <a:gd name="connsiteX6" fmla="*/ 672717 w 1563172"/>
                  <a:gd name="connsiteY6" fmla="*/ 0 h 906705"/>
                  <a:gd name="connsiteX7" fmla="*/ 669467 w 1563172"/>
                  <a:gd name="connsiteY7" fmla="*/ 0 h 906705"/>
                  <a:gd name="connsiteX8" fmla="*/ 188491 w 1563172"/>
                  <a:gd name="connsiteY8" fmla="*/ 448478 h 906705"/>
                  <a:gd name="connsiteX9" fmla="*/ 207990 w 1563172"/>
                  <a:gd name="connsiteY9" fmla="*/ 565472 h 906705"/>
                  <a:gd name="connsiteX10" fmla="*/ 181991 w 1563172"/>
                  <a:gd name="connsiteY10" fmla="*/ 565472 h 906705"/>
                  <a:gd name="connsiteX11" fmla="*/ 0 w 1563172"/>
                  <a:gd name="connsiteY11" fmla="*/ 734464 h 9067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563172" h="906705">
                    <a:moveTo>
                      <a:pt x="0" y="734464"/>
                    </a:moveTo>
                    <a:cubicBezTo>
                      <a:pt x="0" y="822209"/>
                      <a:pt x="71496" y="896956"/>
                      <a:pt x="165742" y="906705"/>
                    </a:cubicBezTo>
                    <a:lnTo>
                      <a:pt x="1234939" y="906705"/>
                    </a:lnTo>
                    <a:cubicBezTo>
                      <a:pt x="1416930" y="906705"/>
                      <a:pt x="1563173" y="770212"/>
                      <a:pt x="1563173" y="597971"/>
                    </a:cubicBezTo>
                    <a:cubicBezTo>
                      <a:pt x="1563173" y="425729"/>
                      <a:pt x="1416930" y="289236"/>
                      <a:pt x="1234939" y="289236"/>
                    </a:cubicBezTo>
                    <a:cubicBezTo>
                      <a:pt x="1195941" y="289236"/>
                      <a:pt x="1160193" y="298985"/>
                      <a:pt x="1127695" y="308735"/>
                    </a:cubicBezTo>
                    <a:cubicBezTo>
                      <a:pt x="1062698" y="126744"/>
                      <a:pt x="883957" y="0"/>
                      <a:pt x="672717" y="0"/>
                    </a:cubicBezTo>
                    <a:cubicBezTo>
                      <a:pt x="672717" y="0"/>
                      <a:pt x="669467" y="0"/>
                      <a:pt x="669467" y="0"/>
                    </a:cubicBezTo>
                    <a:cubicBezTo>
                      <a:pt x="402980" y="0"/>
                      <a:pt x="188491" y="201490"/>
                      <a:pt x="188491" y="448478"/>
                    </a:cubicBezTo>
                    <a:cubicBezTo>
                      <a:pt x="188491" y="490726"/>
                      <a:pt x="198240" y="529724"/>
                      <a:pt x="207990" y="565472"/>
                    </a:cubicBezTo>
                    <a:lnTo>
                      <a:pt x="181991" y="565472"/>
                    </a:lnTo>
                    <a:cubicBezTo>
                      <a:pt x="84496" y="565472"/>
                      <a:pt x="0" y="636969"/>
                      <a:pt x="0" y="734464"/>
                    </a:cubicBezTo>
                  </a:path>
                </a:pathLst>
              </a:custGeom>
              <a:solidFill>
                <a:srgbClr val="59B4D9"/>
              </a:solidFill>
              <a:ln w="3238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3874">
                  <a:defRPr/>
                </a:pPr>
                <a:endParaRPr lang="en-US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61" name="Freeform: Shape 60">
                <a:extLst>
                  <a:ext uri="{FF2B5EF4-FFF2-40B4-BE49-F238E27FC236}">
                    <a16:creationId xmlns:a16="http://schemas.microsoft.com/office/drawing/2014/main" id="{2C0CFC2B-E830-411C-A3CB-54FAE1DD5E1E}"/>
                  </a:ext>
                </a:extLst>
              </p:cNvPr>
              <p:cNvSpPr/>
              <p:nvPr/>
            </p:nvSpPr>
            <p:spPr>
              <a:xfrm>
                <a:off x="2653753" y="2718568"/>
                <a:ext cx="835208" cy="906705"/>
              </a:xfrm>
              <a:custGeom>
                <a:avLst/>
                <a:gdLst>
                  <a:gd name="connsiteX0" fmla="*/ 672717 w 835208"/>
                  <a:gd name="connsiteY0" fmla="*/ 0 h 906705"/>
                  <a:gd name="connsiteX1" fmla="*/ 669467 w 835208"/>
                  <a:gd name="connsiteY1" fmla="*/ 0 h 906705"/>
                  <a:gd name="connsiteX2" fmla="*/ 188491 w 835208"/>
                  <a:gd name="connsiteY2" fmla="*/ 448478 h 906705"/>
                  <a:gd name="connsiteX3" fmla="*/ 207990 w 835208"/>
                  <a:gd name="connsiteY3" fmla="*/ 565472 h 906705"/>
                  <a:gd name="connsiteX4" fmla="*/ 181991 w 835208"/>
                  <a:gd name="connsiteY4" fmla="*/ 565472 h 906705"/>
                  <a:gd name="connsiteX5" fmla="*/ 0 w 835208"/>
                  <a:gd name="connsiteY5" fmla="*/ 734464 h 906705"/>
                  <a:gd name="connsiteX6" fmla="*/ 165742 w 835208"/>
                  <a:gd name="connsiteY6" fmla="*/ 906705 h 906705"/>
                  <a:gd name="connsiteX7" fmla="*/ 191741 w 835208"/>
                  <a:gd name="connsiteY7" fmla="*/ 906705 h 906705"/>
                  <a:gd name="connsiteX8" fmla="*/ 334734 w 835208"/>
                  <a:gd name="connsiteY8" fmla="*/ 640219 h 906705"/>
                  <a:gd name="connsiteX9" fmla="*/ 835209 w 835208"/>
                  <a:gd name="connsiteY9" fmla="*/ 29249 h 906705"/>
                  <a:gd name="connsiteX10" fmla="*/ 672717 w 835208"/>
                  <a:gd name="connsiteY10" fmla="*/ 0 h 9067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835208" h="906705">
                    <a:moveTo>
                      <a:pt x="672717" y="0"/>
                    </a:moveTo>
                    <a:cubicBezTo>
                      <a:pt x="672717" y="0"/>
                      <a:pt x="669467" y="0"/>
                      <a:pt x="669467" y="0"/>
                    </a:cubicBezTo>
                    <a:cubicBezTo>
                      <a:pt x="402980" y="0"/>
                      <a:pt x="188491" y="201490"/>
                      <a:pt x="188491" y="448478"/>
                    </a:cubicBezTo>
                    <a:cubicBezTo>
                      <a:pt x="188491" y="490726"/>
                      <a:pt x="198240" y="529724"/>
                      <a:pt x="207990" y="565472"/>
                    </a:cubicBezTo>
                    <a:lnTo>
                      <a:pt x="181991" y="565472"/>
                    </a:lnTo>
                    <a:cubicBezTo>
                      <a:pt x="84496" y="565472"/>
                      <a:pt x="0" y="636969"/>
                      <a:pt x="0" y="734464"/>
                    </a:cubicBezTo>
                    <a:cubicBezTo>
                      <a:pt x="0" y="822209"/>
                      <a:pt x="71496" y="896956"/>
                      <a:pt x="165742" y="906705"/>
                    </a:cubicBezTo>
                    <a:lnTo>
                      <a:pt x="191741" y="906705"/>
                    </a:lnTo>
                    <a:cubicBezTo>
                      <a:pt x="94245" y="685716"/>
                      <a:pt x="334734" y="640219"/>
                      <a:pt x="334734" y="640219"/>
                    </a:cubicBezTo>
                    <a:cubicBezTo>
                      <a:pt x="311985" y="97495"/>
                      <a:pt x="822210" y="35748"/>
                      <a:pt x="835209" y="29249"/>
                    </a:cubicBezTo>
                    <a:cubicBezTo>
                      <a:pt x="786461" y="9750"/>
                      <a:pt x="731214" y="0"/>
                      <a:pt x="672717" y="0"/>
                    </a:cubicBezTo>
                    <a:close/>
                  </a:path>
                </a:pathLst>
              </a:custGeom>
              <a:solidFill>
                <a:srgbClr val="FFFFFF">
                  <a:alpha val="20000"/>
                </a:srgbClr>
              </a:solidFill>
              <a:ln w="3238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3874">
                  <a:defRPr/>
                </a:pPr>
                <a:endParaRPr lang="en-US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62" name="Freeform: Shape 61">
                <a:extLst>
                  <a:ext uri="{FF2B5EF4-FFF2-40B4-BE49-F238E27FC236}">
                    <a16:creationId xmlns:a16="http://schemas.microsoft.com/office/drawing/2014/main" id="{46EA11FF-DFBB-4323-B7D5-158D89DD4941}"/>
                  </a:ext>
                </a:extLst>
              </p:cNvPr>
              <p:cNvSpPr/>
              <p:nvPr/>
            </p:nvSpPr>
            <p:spPr>
              <a:xfrm>
                <a:off x="3111980" y="3085800"/>
                <a:ext cx="464727" cy="539473"/>
              </a:xfrm>
              <a:custGeom>
                <a:avLst/>
                <a:gdLst>
                  <a:gd name="connsiteX0" fmla="*/ 71496 w 464727"/>
                  <a:gd name="connsiteY0" fmla="*/ 0 h 539473"/>
                  <a:gd name="connsiteX1" fmla="*/ 230739 w 464727"/>
                  <a:gd name="connsiteY1" fmla="*/ 0 h 539473"/>
                  <a:gd name="connsiteX2" fmla="*/ 464727 w 464727"/>
                  <a:gd name="connsiteY2" fmla="*/ 233988 h 539473"/>
                  <a:gd name="connsiteX3" fmla="*/ 155992 w 464727"/>
                  <a:gd name="connsiteY3" fmla="*/ 539473 h 539473"/>
                  <a:gd name="connsiteX4" fmla="*/ 0 w 464727"/>
                  <a:gd name="connsiteY4" fmla="*/ 539473 h 539473"/>
                  <a:gd name="connsiteX5" fmla="*/ 302235 w 464727"/>
                  <a:gd name="connsiteY5" fmla="*/ 233988 h 5394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464727" h="539473">
                    <a:moveTo>
                      <a:pt x="71496" y="0"/>
                    </a:moveTo>
                    <a:lnTo>
                      <a:pt x="230739" y="0"/>
                    </a:lnTo>
                    <a:lnTo>
                      <a:pt x="464727" y="233988"/>
                    </a:lnTo>
                    <a:lnTo>
                      <a:pt x="155992" y="539473"/>
                    </a:lnTo>
                    <a:lnTo>
                      <a:pt x="0" y="539473"/>
                    </a:lnTo>
                    <a:lnTo>
                      <a:pt x="302235" y="233988"/>
                    </a:lnTo>
                    <a:close/>
                  </a:path>
                </a:pathLst>
              </a:custGeom>
              <a:solidFill>
                <a:srgbClr val="FFFFFF"/>
              </a:solidFill>
              <a:ln w="3238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3874">
                  <a:defRPr/>
                </a:pPr>
                <a:endParaRPr lang="en-US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63" name="Freeform: Shape 62">
                <a:extLst>
                  <a:ext uri="{FF2B5EF4-FFF2-40B4-BE49-F238E27FC236}">
                    <a16:creationId xmlns:a16="http://schemas.microsoft.com/office/drawing/2014/main" id="{4136617B-D02C-4DEE-9E5C-FA982C37B294}"/>
                  </a:ext>
                </a:extLst>
              </p:cNvPr>
              <p:cNvSpPr/>
              <p:nvPr/>
            </p:nvSpPr>
            <p:spPr>
              <a:xfrm>
                <a:off x="3508460" y="2738067"/>
                <a:ext cx="380231" cy="412729"/>
              </a:xfrm>
              <a:custGeom>
                <a:avLst/>
                <a:gdLst>
                  <a:gd name="connsiteX0" fmla="*/ 32498 w 380231"/>
                  <a:gd name="connsiteY0" fmla="*/ 0 h 412729"/>
                  <a:gd name="connsiteX1" fmla="*/ 194990 w 380231"/>
                  <a:gd name="connsiteY1" fmla="*/ 0 h 412729"/>
                  <a:gd name="connsiteX2" fmla="*/ 380231 w 380231"/>
                  <a:gd name="connsiteY2" fmla="*/ 188491 h 412729"/>
                  <a:gd name="connsiteX3" fmla="*/ 149493 w 380231"/>
                  <a:gd name="connsiteY3" fmla="*/ 412730 h 412729"/>
                  <a:gd name="connsiteX4" fmla="*/ 0 w 380231"/>
                  <a:gd name="connsiteY4" fmla="*/ 412730 h 412729"/>
                  <a:gd name="connsiteX5" fmla="*/ 217739 w 380231"/>
                  <a:gd name="connsiteY5" fmla="*/ 185241 h 4127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380231" h="412729">
                    <a:moveTo>
                      <a:pt x="32498" y="0"/>
                    </a:moveTo>
                    <a:lnTo>
                      <a:pt x="194990" y="0"/>
                    </a:lnTo>
                    <a:lnTo>
                      <a:pt x="380231" y="188491"/>
                    </a:lnTo>
                    <a:lnTo>
                      <a:pt x="149493" y="412730"/>
                    </a:lnTo>
                    <a:lnTo>
                      <a:pt x="0" y="412730"/>
                    </a:lnTo>
                    <a:lnTo>
                      <a:pt x="217739" y="185241"/>
                    </a:lnTo>
                    <a:close/>
                  </a:path>
                </a:pathLst>
              </a:custGeom>
              <a:solidFill>
                <a:srgbClr val="FFFFFF"/>
              </a:solidFill>
              <a:ln w="3238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3874">
                  <a:defRPr/>
                </a:pPr>
                <a:endParaRPr lang="en-US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64" name="Freeform: Shape 63">
                <a:extLst>
                  <a:ext uri="{FF2B5EF4-FFF2-40B4-BE49-F238E27FC236}">
                    <a16:creationId xmlns:a16="http://schemas.microsoft.com/office/drawing/2014/main" id="{1D6BC24A-491C-4793-84EA-9B59A5FB7EF6}"/>
                  </a:ext>
                </a:extLst>
              </p:cNvPr>
              <p:cNvSpPr/>
              <p:nvPr/>
            </p:nvSpPr>
            <p:spPr>
              <a:xfrm>
                <a:off x="3674202" y="3157296"/>
                <a:ext cx="370481" cy="367231"/>
              </a:xfrm>
              <a:custGeom>
                <a:avLst/>
                <a:gdLst>
                  <a:gd name="connsiteX0" fmla="*/ 55247 w 370481"/>
                  <a:gd name="connsiteY0" fmla="*/ 0 h 367231"/>
                  <a:gd name="connsiteX1" fmla="*/ 214489 w 370481"/>
                  <a:gd name="connsiteY1" fmla="*/ 0 h 367231"/>
                  <a:gd name="connsiteX2" fmla="*/ 370482 w 370481"/>
                  <a:gd name="connsiteY2" fmla="*/ 155992 h 367231"/>
                  <a:gd name="connsiteX3" fmla="*/ 155992 w 370481"/>
                  <a:gd name="connsiteY3" fmla="*/ 367232 h 367231"/>
                  <a:gd name="connsiteX4" fmla="*/ 0 w 370481"/>
                  <a:gd name="connsiteY4" fmla="*/ 367232 h 367231"/>
                  <a:gd name="connsiteX5" fmla="*/ 207990 w 370481"/>
                  <a:gd name="connsiteY5" fmla="*/ 155992 h 3672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370481" h="367231">
                    <a:moveTo>
                      <a:pt x="55247" y="0"/>
                    </a:moveTo>
                    <a:lnTo>
                      <a:pt x="214489" y="0"/>
                    </a:lnTo>
                    <a:lnTo>
                      <a:pt x="370482" y="155992"/>
                    </a:lnTo>
                    <a:lnTo>
                      <a:pt x="155992" y="367232"/>
                    </a:lnTo>
                    <a:lnTo>
                      <a:pt x="0" y="367232"/>
                    </a:lnTo>
                    <a:lnTo>
                      <a:pt x="207990" y="155992"/>
                    </a:lnTo>
                    <a:close/>
                  </a:path>
                </a:pathLst>
              </a:custGeom>
              <a:solidFill>
                <a:srgbClr val="FFFFFF"/>
              </a:solidFill>
              <a:ln w="3238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3874">
                  <a:defRPr/>
                </a:pPr>
                <a:endParaRPr lang="en-US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</p:grpSp>
        <p:pic>
          <p:nvPicPr>
            <p:cNvPr id="27" name="Picture 26">
              <a:extLst>
                <a:ext uri="{FF2B5EF4-FFF2-40B4-BE49-F238E27FC236}">
                  <a16:creationId xmlns:a16="http://schemas.microsoft.com/office/drawing/2014/main" id="{6FF794FA-6E2D-4DEB-9D0B-06B4BEA7E76A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>
              <a:off x="517082" y="4310962"/>
              <a:ext cx="457200" cy="476250"/>
            </a:xfrm>
            <a:prstGeom prst="rect">
              <a:avLst/>
            </a:prstGeom>
          </p:spPr>
        </p:pic>
        <p:sp>
          <p:nvSpPr>
            <p:cNvPr id="28" name="TextBox 27">
              <a:extLst>
                <a:ext uri="{FF2B5EF4-FFF2-40B4-BE49-F238E27FC236}">
                  <a16:creationId xmlns:a16="http://schemas.microsoft.com/office/drawing/2014/main" id="{91FA544F-AC4B-4911-94D6-7E6CDC7ADB95}"/>
                </a:ext>
              </a:extLst>
            </p:cNvPr>
            <p:cNvSpPr txBox="1"/>
            <p:nvPr/>
          </p:nvSpPr>
          <p:spPr>
            <a:xfrm>
              <a:off x="617951" y="4892849"/>
              <a:ext cx="2002080" cy="21544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en-US"/>
              </a:defPPr>
              <a:lvl1pPr marR="0" lvl="0" indent="0" defTabSz="932563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1600" b="0" i="0" u="none" strike="noStrike" cap="none" spc="0" normalizeH="0" baseline="0">
                  <a:ln>
                    <a:noFill/>
                  </a:ln>
                  <a:gradFill>
                    <a:gsLst>
                      <a:gs pos="2917">
                        <a:srgbClr val="1A1A1A"/>
                      </a:gs>
                      <a:gs pos="30000">
                        <a:srgbClr val="1A1A1A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/>
                  <a:cs typeface="Segoe UI Semilight" panose="020B0402040204020203" pitchFamily="34" charset="0"/>
                </a:defRPr>
              </a:lvl1pPr>
            </a:lstStyle>
            <a:p>
              <a:pPr defTabSz="914192"/>
              <a:r>
                <a:rPr lang="en-US" sz="1372" b="1" dirty="0"/>
                <a:t>Movere</a:t>
              </a:r>
            </a:p>
          </p:txBody>
        </p:sp>
        <p:sp>
          <p:nvSpPr>
            <p:cNvPr id="95" name="TextBox 94">
              <a:extLst>
                <a:ext uri="{FF2B5EF4-FFF2-40B4-BE49-F238E27FC236}">
                  <a16:creationId xmlns:a16="http://schemas.microsoft.com/office/drawing/2014/main" id="{0698CEF9-0E98-404E-A8C6-17AB01858584}"/>
                </a:ext>
              </a:extLst>
            </p:cNvPr>
            <p:cNvSpPr txBox="1"/>
            <p:nvPr/>
          </p:nvSpPr>
          <p:spPr>
            <a:xfrm>
              <a:off x="580380" y="2249226"/>
              <a:ext cx="2002080" cy="43088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defTabSz="914192">
                <a:defRPr/>
              </a:pPr>
              <a:r>
                <a:rPr lang="en-US" sz="1372" b="1" dirty="0">
                  <a:gradFill>
                    <a:gsLst>
                      <a:gs pos="2917">
                        <a:srgbClr val="1A1A1A"/>
                      </a:gs>
                      <a:gs pos="30000">
                        <a:srgbClr val="1A1A1A"/>
                      </a:gs>
                    </a:gsLst>
                    <a:lin ang="5400000" scaled="0"/>
                  </a:gradFill>
                  <a:latin typeface="Segoe UI"/>
                  <a:cs typeface="Segoe UI Semilight" panose="020B0402040204020203" pitchFamily="34" charset="0"/>
                </a:rPr>
                <a:t>Azure Migrate: </a:t>
              </a:r>
            </a:p>
            <a:p>
              <a:pPr defTabSz="914192">
                <a:defRPr/>
              </a:pPr>
              <a:r>
                <a:rPr lang="en-US" sz="1372" dirty="0">
                  <a:gradFill>
                    <a:gsLst>
                      <a:gs pos="2917">
                        <a:srgbClr val="1A1A1A"/>
                      </a:gs>
                      <a:gs pos="30000">
                        <a:srgbClr val="1A1A1A"/>
                      </a:gs>
                    </a:gsLst>
                    <a:lin ang="5400000" scaled="0"/>
                  </a:gradFill>
                  <a:latin typeface="Segoe UI"/>
                  <a:cs typeface="Segoe UI Semilight" panose="020B0402040204020203" pitchFamily="34" charset="0"/>
                </a:rPr>
                <a:t>Server Assessment</a:t>
              </a:r>
              <a:endParaRPr lang="en-US" sz="1568" dirty="0">
                <a:gradFill>
                  <a:gsLst>
                    <a:gs pos="2917">
                      <a:srgbClr val="1A1A1A"/>
                    </a:gs>
                    <a:gs pos="30000">
                      <a:srgbClr val="1A1A1A"/>
                    </a:gs>
                  </a:gsLst>
                  <a:lin ang="5400000" scaled="0"/>
                </a:gradFill>
                <a:latin typeface="Segoe UI"/>
                <a:cs typeface="Segoe UI Semilight" panose="020B0402040204020203" pitchFamily="34" charset="0"/>
              </a:endParaRPr>
            </a:p>
          </p:txBody>
        </p:sp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85B061D3-147A-411F-8060-144C73FC3A82}"/>
                </a:ext>
              </a:extLst>
            </p:cNvPr>
            <p:cNvSpPr txBox="1"/>
            <p:nvPr/>
          </p:nvSpPr>
          <p:spPr>
            <a:xfrm>
              <a:off x="580380" y="3663969"/>
              <a:ext cx="2002080" cy="43088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defTabSz="914192">
                <a:defRPr/>
              </a:pPr>
              <a:r>
                <a:rPr lang="en-US" sz="1372" b="1" dirty="0">
                  <a:gradFill>
                    <a:gsLst>
                      <a:gs pos="2917">
                        <a:srgbClr val="1A1A1A"/>
                      </a:gs>
                      <a:gs pos="30000">
                        <a:srgbClr val="1A1A1A"/>
                      </a:gs>
                    </a:gsLst>
                    <a:lin ang="5400000" scaled="0"/>
                  </a:gradFill>
                  <a:latin typeface="Segoe UI"/>
                  <a:cs typeface="Segoe UI Semilight" panose="020B0402040204020203" pitchFamily="34" charset="0"/>
                </a:rPr>
                <a:t>Azure Migrate: </a:t>
              </a:r>
            </a:p>
            <a:p>
              <a:pPr defTabSz="914192">
                <a:defRPr/>
              </a:pPr>
              <a:r>
                <a:rPr lang="en-US" sz="1372" dirty="0">
                  <a:gradFill>
                    <a:gsLst>
                      <a:gs pos="2917">
                        <a:srgbClr val="1A1A1A"/>
                      </a:gs>
                      <a:gs pos="30000">
                        <a:srgbClr val="1A1A1A"/>
                      </a:gs>
                    </a:gsLst>
                    <a:lin ang="5400000" scaled="0"/>
                  </a:gradFill>
                  <a:latin typeface="Segoe UI"/>
                  <a:cs typeface="Segoe UI Semilight" panose="020B0402040204020203" pitchFamily="34" charset="0"/>
                </a:rPr>
                <a:t>Server Migration</a:t>
              </a:r>
              <a:endParaRPr lang="en-US" sz="1568" dirty="0">
                <a:gradFill>
                  <a:gsLst>
                    <a:gs pos="2917">
                      <a:srgbClr val="1A1A1A"/>
                    </a:gs>
                    <a:gs pos="30000">
                      <a:srgbClr val="1A1A1A"/>
                    </a:gs>
                  </a:gsLst>
                  <a:lin ang="5400000" scaled="0"/>
                </a:gradFill>
                <a:latin typeface="Segoe UI"/>
                <a:cs typeface="Segoe UI Semilight" panose="020B0402040204020203" pitchFamily="34" charset="0"/>
              </a:endParaRPr>
            </a:p>
          </p:txBody>
        </p:sp>
      </p:grpSp>
      <p:grpSp>
        <p:nvGrpSpPr>
          <p:cNvPr id="4" name="Group 3">
            <a:extLst>
              <a:ext uri="{FF2B5EF4-FFF2-40B4-BE49-F238E27FC236}">
                <a16:creationId xmlns:a16="http://schemas.microsoft.com/office/drawing/2014/main" id="{68B49F9F-325D-5C40-B1B1-F83D15776894}"/>
              </a:ext>
            </a:extLst>
          </p:cNvPr>
          <p:cNvGrpSpPr/>
          <p:nvPr/>
        </p:nvGrpSpPr>
        <p:grpSpPr>
          <a:xfrm>
            <a:off x="2861754" y="1730305"/>
            <a:ext cx="1787428" cy="2554254"/>
            <a:chOff x="2919137" y="1764505"/>
            <a:chExt cx="1823270" cy="2605472"/>
          </a:xfrm>
        </p:grpSpPr>
        <p:pic>
          <p:nvPicPr>
            <p:cNvPr id="24" name="Picture 23">
              <a:extLst>
                <a:ext uri="{FF2B5EF4-FFF2-40B4-BE49-F238E27FC236}">
                  <a16:creationId xmlns:a16="http://schemas.microsoft.com/office/drawing/2014/main" id="{E6798440-BC34-4CB4-A81C-3A1C2D227713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960245" y="1764505"/>
              <a:ext cx="444479" cy="391444"/>
            </a:xfrm>
            <a:prstGeom prst="rect">
              <a:avLst/>
            </a:prstGeom>
          </p:spPr>
        </p:pic>
        <p:pic>
          <p:nvPicPr>
            <p:cNvPr id="29" name="Picture 28" descr="A picture containing table&#10;&#10;Description automatically generated">
              <a:extLst>
                <a:ext uri="{FF2B5EF4-FFF2-40B4-BE49-F238E27FC236}">
                  <a16:creationId xmlns:a16="http://schemas.microsoft.com/office/drawing/2014/main" id="{9DBCF4B0-CB1F-426C-BA63-102CF7118EC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2919137" y="3051589"/>
              <a:ext cx="620732" cy="817379"/>
            </a:xfrm>
            <a:prstGeom prst="rect">
              <a:avLst/>
            </a:prstGeom>
          </p:spPr>
        </p:pic>
        <p:sp>
          <p:nvSpPr>
            <p:cNvPr id="116" name="TextBox 115">
              <a:extLst>
                <a:ext uri="{FF2B5EF4-FFF2-40B4-BE49-F238E27FC236}">
                  <a16:creationId xmlns:a16="http://schemas.microsoft.com/office/drawing/2014/main" id="{7E0A608C-88F3-443D-AC51-FA9AE4B4D616}"/>
                </a:ext>
              </a:extLst>
            </p:cNvPr>
            <p:cNvSpPr txBox="1"/>
            <p:nvPr/>
          </p:nvSpPr>
          <p:spPr>
            <a:xfrm>
              <a:off x="3015729" y="2249226"/>
              <a:ext cx="1726678" cy="64633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defTabSz="914192">
                <a:defRPr/>
              </a:pPr>
              <a:r>
                <a:rPr lang="en-US" sz="1372" b="1" dirty="0">
                  <a:gradFill>
                    <a:gsLst>
                      <a:gs pos="2917">
                        <a:srgbClr val="1A1A1A"/>
                      </a:gs>
                      <a:gs pos="30000">
                        <a:srgbClr val="1A1A1A"/>
                      </a:gs>
                    </a:gsLst>
                    <a:lin ang="5400000" scaled="0"/>
                  </a:gradFill>
                  <a:latin typeface="Segoe UI"/>
                  <a:cs typeface="Segoe UI Semilight" panose="020B0402040204020203" pitchFamily="34" charset="0"/>
                </a:rPr>
                <a:t>Azure Migrate:</a:t>
              </a:r>
            </a:p>
            <a:p>
              <a:pPr defTabSz="914192">
                <a:defRPr/>
              </a:pPr>
              <a:r>
                <a:rPr lang="en-US" sz="1372" dirty="0">
                  <a:gradFill>
                    <a:gsLst>
                      <a:gs pos="2917">
                        <a:srgbClr val="1A1A1A"/>
                      </a:gs>
                      <a:gs pos="30000">
                        <a:srgbClr val="1A1A1A"/>
                      </a:gs>
                    </a:gsLst>
                    <a:lin ang="5400000" scaled="0"/>
                  </a:gradFill>
                  <a:latin typeface="Segoe UI"/>
                  <a:cs typeface="Segoe UI Semilight" panose="020B0402040204020203" pitchFamily="34" charset="0"/>
                </a:rPr>
                <a:t>Database Assessment (DMA) </a:t>
              </a:r>
              <a:endParaRPr lang="en-US" sz="1568" dirty="0">
                <a:gradFill>
                  <a:gsLst>
                    <a:gs pos="2917">
                      <a:srgbClr val="1A1A1A"/>
                    </a:gs>
                    <a:gs pos="30000">
                      <a:srgbClr val="1A1A1A"/>
                    </a:gs>
                  </a:gsLst>
                  <a:lin ang="5400000" scaled="0"/>
                </a:gradFill>
                <a:latin typeface="Segoe UI"/>
                <a:cs typeface="Segoe UI Semilight" panose="020B0402040204020203" pitchFamily="34" charset="0"/>
              </a:endParaRPr>
            </a:p>
          </p:txBody>
        </p:sp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EE771356-F59E-4781-8C56-0D5082DFCB35}"/>
                </a:ext>
              </a:extLst>
            </p:cNvPr>
            <p:cNvSpPr txBox="1"/>
            <p:nvPr/>
          </p:nvSpPr>
          <p:spPr>
            <a:xfrm>
              <a:off x="3015729" y="3723646"/>
              <a:ext cx="1726677" cy="64633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defTabSz="914192">
                <a:defRPr/>
              </a:pPr>
              <a:r>
                <a:rPr lang="en-US" sz="1372" b="1" dirty="0">
                  <a:gradFill>
                    <a:gsLst>
                      <a:gs pos="2917">
                        <a:srgbClr val="1A1A1A"/>
                      </a:gs>
                      <a:gs pos="30000">
                        <a:srgbClr val="1A1A1A"/>
                      </a:gs>
                    </a:gsLst>
                    <a:lin ang="5400000" scaled="0"/>
                  </a:gradFill>
                  <a:latin typeface="Segoe UI"/>
                  <a:cs typeface="Segoe UI Semilight" panose="020B0402040204020203" pitchFamily="34" charset="0"/>
                </a:rPr>
                <a:t>Azure Migrate: </a:t>
              </a:r>
              <a:r>
                <a:rPr lang="en-US" sz="1372" dirty="0">
                  <a:gradFill>
                    <a:gsLst>
                      <a:gs pos="2917">
                        <a:srgbClr val="1A1A1A"/>
                      </a:gs>
                      <a:gs pos="30000">
                        <a:srgbClr val="1A1A1A"/>
                      </a:gs>
                    </a:gsLst>
                    <a:lin ang="5400000" scaled="0"/>
                  </a:gradFill>
                  <a:latin typeface="Segoe UI"/>
                  <a:cs typeface="Segoe UI Semilight" panose="020B0402040204020203" pitchFamily="34" charset="0"/>
                </a:rPr>
                <a:t>Database Migration (DMS)</a:t>
              </a:r>
              <a:endParaRPr lang="en-US" sz="1568" dirty="0">
                <a:gradFill>
                  <a:gsLst>
                    <a:gs pos="2917">
                      <a:srgbClr val="1A1A1A"/>
                    </a:gs>
                    <a:gs pos="30000">
                      <a:srgbClr val="1A1A1A"/>
                    </a:gs>
                  </a:gsLst>
                  <a:lin ang="5400000" scaled="0"/>
                </a:gradFill>
                <a:latin typeface="Segoe UI"/>
                <a:cs typeface="Segoe UI Semilight" panose="020B0402040204020203" pitchFamily="34" charset="0"/>
              </a:endParaRPr>
            </a:p>
          </p:txBody>
        </p:sp>
      </p:grpSp>
      <p:grpSp>
        <p:nvGrpSpPr>
          <p:cNvPr id="20" name="Group 19">
            <a:extLst>
              <a:ext uri="{FF2B5EF4-FFF2-40B4-BE49-F238E27FC236}">
                <a16:creationId xmlns:a16="http://schemas.microsoft.com/office/drawing/2014/main" id="{DE720938-7E6F-3541-809A-5A6A2547C3AE}"/>
              </a:ext>
            </a:extLst>
          </p:cNvPr>
          <p:cNvGrpSpPr/>
          <p:nvPr/>
        </p:nvGrpSpPr>
        <p:grpSpPr>
          <a:xfrm>
            <a:off x="7670557" y="1653444"/>
            <a:ext cx="2032842" cy="2419907"/>
            <a:chOff x="7824366" y="1686102"/>
            <a:chExt cx="2073605" cy="2468431"/>
          </a:xfrm>
        </p:grpSpPr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13DD2EC9-E23F-4D4F-8A23-13C61E869638}"/>
                </a:ext>
              </a:extLst>
            </p:cNvPr>
            <p:cNvSpPr txBox="1"/>
            <p:nvPr/>
          </p:nvSpPr>
          <p:spPr>
            <a:xfrm>
              <a:off x="7874482" y="2728817"/>
              <a:ext cx="1235586" cy="16158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defTabSz="914367">
                <a:defRPr/>
              </a:pPr>
              <a:r>
                <a:rPr lang="en-US" sz="1029" b="1" i="1" dirty="0">
                  <a:gradFill>
                    <a:gsLst>
                      <a:gs pos="2917">
                        <a:srgbClr val="1A1A1A"/>
                      </a:gs>
                      <a:gs pos="30000">
                        <a:srgbClr val="1A1A1A"/>
                      </a:gs>
                    </a:gsLst>
                    <a:lin ang="5400000" scaled="0"/>
                  </a:gradFill>
                  <a:latin typeface="Segoe UI"/>
                </a:rPr>
                <a:t>(Third Party Tool)</a:t>
              </a:r>
            </a:p>
          </p:txBody>
        </p:sp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AADAA6AD-8541-B14C-B9E2-CDD8AAE6EAEC}"/>
                </a:ext>
              </a:extLst>
            </p:cNvPr>
            <p:cNvGrpSpPr/>
            <p:nvPr/>
          </p:nvGrpSpPr>
          <p:grpSpPr>
            <a:xfrm>
              <a:off x="7824366" y="1686102"/>
              <a:ext cx="2073605" cy="2468431"/>
              <a:chOff x="7824366" y="1686102"/>
              <a:chExt cx="2073605" cy="2468431"/>
            </a:xfrm>
          </p:grpSpPr>
          <p:pic>
            <p:nvPicPr>
              <p:cNvPr id="17" name="Picture 16">
                <a:extLst>
                  <a:ext uri="{FF2B5EF4-FFF2-40B4-BE49-F238E27FC236}">
                    <a16:creationId xmlns:a16="http://schemas.microsoft.com/office/drawing/2014/main" id="{3F13F42E-65CF-4C32-A209-89BF9C1A9D7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3"/>
              <a:stretch>
                <a:fillRect/>
              </a:stretch>
            </p:blipFill>
            <p:spPr>
              <a:xfrm>
                <a:off x="7824366" y="1686102"/>
                <a:ext cx="533433" cy="548251"/>
              </a:xfrm>
              <a:prstGeom prst="rect">
                <a:avLst/>
              </a:prstGeom>
            </p:spPr>
          </p:pic>
          <p:grpSp>
            <p:nvGrpSpPr>
              <p:cNvPr id="69" name="Picture 52">
                <a:extLst>
                  <a:ext uri="{FF2B5EF4-FFF2-40B4-BE49-F238E27FC236}">
                    <a16:creationId xmlns:a16="http://schemas.microsoft.com/office/drawing/2014/main" id="{5ED78B2F-68A4-4ED3-92FB-5A682C82DB06}"/>
                  </a:ext>
                </a:extLst>
              </p:cNvPr>
              <p:cNvGrpSpPr/>
              <p:nvPr/>
            </p:nvGrpSpPr>
            <p:grpSpPr>
              <a:xfrm>
                <a:off x="7874482" y="3300726"/>
                <a:ext cx="450314" cy="319105"/>
                <a:chOff x="2653753" y="2591824"/>
                <a:chExt cx="1624919" cy="1033449"/>
              </a:xfrm>
            </p:grpSpPr>
            <p:sp>
              <p:nvSpPr>
                <p:cNvPr id="70" name="Freeform: Shape 69">
                  <a:extLst>
                    <a:ext uri="{FF2B5EF4-FFF2-40B4-BE49-F238E27FC236}">
                      <a16:creationId xmlns:a16="http://schemas.microsoft.com/office/drawing/2014/main" id="{984EA729-B7A5-4D72-838B-5A0148233A2A}"/>
                    </a:ext>
                  </a:extLst>
                </p:cNvPr>
                <p:cNvSpPr/>
                <p:nvPr/>
              </p:nvSpPr>
              <p:spPr>
                <a:xfrm>
                  <a:off x="2871492" y="2591824"/>
                  <a:ext cx="1407180" cy="812460"/>
                </a:xfrm>
                <a:custGeom>
                  <a:avLst/>
                  <a:gdLst>
                    <a:gd name="connsiteX0" fmla="*/ 0 w 1407180"/>
                    <a:gd name="connsiteY0" fmla="*/ 656468 h 812460"/>
                    <a:gd name="connsiteX1" fmla="*/ 149493 w 1407180"/>
                    <a:gd name="connsiteY1" fmla="*/ 812460 h 812460"/>
                    <a:gd name="connsiteX2" fmla="*/ 1111445 w 1407180"/>
                    <a:gd name="connsiteY2" fmla="*/ 812460 h 812460"/>
                    <a:gd name="connsiteX3" fmla="*/ 1407181 w 1407180"/>
                    <a:gd name="connsiteY3" fmla="*/ 536224 h 812460"/>
                    <a:gd name="connsiteX4" fmla="*/ 1111445 w 1407180"/>
                    <a:gd name="connsiteY4" fmla="*/ 259987 h 812460"/>
                    <a:gd name="connsiteX5" fmla="*/ 1013950 w 1407180"/>
                    <a:gd name="connsiteY5" fmla="*/ 276236 h 812460"/>
                    <a:gd name="connsiteX6" fmla="*/ 604470 w 1407180"/>
                    <a:gd name="connsiteY6" fmla="*/ 0 h 812460"/>
                    <a:gd name="connsiteX7" fmla="*/ 601220 w 1407180"/>
                    <a:gd name="connsiteY7" fmla="*/ 0 h 812460"/>
                    <a:gd name="connsiteX8" fmla="*/ 168992 w 1407180"/>
                    <a:gd name="connsiteY8" fmla="*/ 402980 h 812460"/>
                    <a:gd name="connsiteX9" fmla="*/ 185241 w 1407180"/>
                    <a:gd name="connsiteY9" fmla="*/ 510225 h 812460"/>
                    <a:gd name="connsiteX10" fmla="*/ 162492 w 1407180"/>
                    <a:gd name="connsiteY10" fmla="*/ 510225 h 812460"/>
                    <a:gd name="connsiteX11" fmla="*/ 0 w 1407180"/>
                    <a:gd name="connsiteY11" fmla="*/ 656468 h 81246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</a:cxnLst>
                  <a:rect l="l" t="t" r="r" b="b"/>
                  <a:pathLst>
                    <a:path w="1407180" h="812460">
                      <a:moveTo>
                        <a:pt x="0" y="656468"/>
                      </a:moveTo>
                      <a:cubicBezTo>
                        <a:pt x="0" y="734464"/>
                        <a:pt x="64997" y="802710"/>
                        <a:pt x="149493" y="812460"/>
                      </a:cubicBezTo>
                      <a:lnTo>
                        <a:pt x="1111445" y="812460"/>
                      </a:lnTo>
                      <a:cubicBezTo>
                        <a:pt x="1273937" y="812460"/>
                        <a:pt x="1407181" y="688966"/>
                        <a:pt x="1407181" y="536224"/>
                      </a:cubicBezTo>
                      <a:cubicBezTo>
                        <a:pt x="1407181" y="380231"/>
                        <a:pt x="1273937" y="259987"/>
                        <a:pt x="1111445" y="259987"/>
                      </a:cubicBezTo>
                      <a:cubicBezTo>
                        <a:pt x="1075697" y="259987"/>
                        <a:pt x="1046449" y="269737"/>
                        <a:pt x="1013950" y="276236"/>
                      </a:cubicBezTo>
                      <a:cubicBezTo>
                        <a:pt x="955453" y="113744"/>
                        <a:pt x="792961" y="0"/>
                        <a:pt x="604470" y="0"/>
                      </a:cubicBezTo>
                      <a:cubicBezTo>
                        <a:pt x="604470" y="0"/>
                        <a:pt x="601220" y="0"/>
                        <a:pt x="601220" y="0"/>
                      </a:cubicBezTo>
                      <a:cubicBezTo>
                        <a:pt x="360732" y="0"/>
                        <a:pt x="168992" y="181991"/>
                        <a:pt x="168992" y="402980"/>
                      </a:cubicBezTo>
                      <a:cubicBezTo>
                        <a:pt x="168992" y="438728"/>
                        <a:pt x="178741" y="477727"/>
                        <a:pt x="185241" y="510225"/>
                      </a:cubicBezTo>
                      <a:lnTo>
                        <a:pt x="162492" y="510225"/>
                      </a:lnTo>
                      <a:cubicBezTo>
                        <a:pt x="74746" y="503725"/>
                        <a:pt x="0" y="568722"/>
                        <a:pt x="0" y="656468"/>
                      </a:cubicBezTo>
                    </a:path>
                  </a:pathLst>
                </a:custGeom>
                <a:solidFill>
                  <a:srgbClr val="0072C6"/>
                </a:solidFill>
                <a:ln w="3238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defTabSz="913874">
                    <a:defRPr/>
                  </a:pPr>
                  <a:endParaRPr lang="en-US">
                    <a:solidFill>
                      <a:prstClr val="black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71" name="Freeform: Shape 70">
                  <a:extLst>
                    <a:ext uri="{FF2B5EF4-FFF2-40B4-BE49-F238E27FC236}">
                      <a16:creationId xmlns:a16="http://schemas.microsoft.com/office/drawing/2014/main" id="{81BE8B97-ED5F-4D92-B1C4-652F0184E734}"/>
                    </a:ext>
                  </a:extLst>
                </p:cNvPr>
                <p:cNvSpPr/>
                <p:nvPr/>
              </p:nvSpPr>
              <p:spPr>
                <a:xfrm>
                  <a:off x="2653753" y="2718567"/>
                  <a:ext cx="1563172" cy="906705"/>
                </a:xfrm>
                <a:custGeom>
                  <a:avLst/>
                  <a:gdLst>
                    <a:gd name="connsiteX0" fmla="*/ 0 w 1563172"/>
                    <a:gd name="connsiteY0" fmla="*/ 734464 h 906705"/>
                    <a:gd name="connsiteX1" fmla="*/ 165742 w 1563172"/>
                    <a:gd name="connsiteY1" fmla="*/ 906705 h 906705"/>
                    <a:gd name="connsiteX2" fmla="*/ 1234939 w 1563172"/>
                    <a:gd name="connsiteY2" fmla="*/ 906705 h 906705"/>
                    <a:gd name="connsiteX3" fmla="*/ 1563173 w 1563172"/>
                    <a:gd name="connsiteY3" fmla="*/ 597971 h 906705"/>
                    <a:gd name="connsiteX4" fmla="*/ 1234939 w 1563172"/>
                    <a:gd name="connsiteY4" fmla="*/ 289236 h 906705"/>
                    <a:gd name="connsiteX5" fmla="*/ 1127695 w 1563172"/>
                    <a:gd name="connsiteY5" fmla="*/ 308735 h 906705"/>
                    <a:gd name="connsiteX6" fmla="*/ 672717 w 1563172"/>
                    <a:gd name="connsiteY6" fmla="*/ 0 h 906705"/>
                    <a:gd name="connsiteX7" fmla="*/ 669467 w 1563172"/>
                    <a:gd name="connsiteY7" fmla="*/ 0 h 906705"/>
                    <a:gd name="connsiteX8" fmla="*/ 188491 w 1563172"/>
                    <a:gd name="connsiteY8" fmla="*/ 448478 h 906705"/>
                    <a:gd name="connsiteX9" fmla="*/ 207990 w 1563172"/>
                    <a:gd name="connsiteY9" fmla="*/ 565472 h 906705"/>
                    <a:gd name="connsiteX10" fmla="*/ 181991 w 1563172"/>
                    <a:gd name="connsiteY10" fmla="*/ 565472 h 906705"/>
                    <a:gd name="connsiteX11" fmla="*/ 0 w 1563172"/>
                    <a:gd name="connsiteY11" fmla="*/ 734464 h 90670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</a:cxnLst>
                  <a:rect l="l" t="t" r="r" b="b"/>
                  <a:pathLst>
                    <a:path w="1563172" h="906705">
                      <a:moveTo>
                        <a:pt x="0" y="734464"/>
                      </a:moveTo>
                      <a:cubicBezTo>
                        <a:pt x="0" y="822209"/>
                        <a:pt x="71496" y="896956"/>
                        <a:pt x="165742" y="906705"/>
                      </a:cubicBezTo>
                      <a:lnTo>
                        <a:pt x="1234939" y="906705"/>
                      </a:lnTo>
                      <a:cubicBezTo>
                        <a:pt x="1416930" y="906705"/>
                        <a:pt x="1563173" y="770212"/>
                        <a:pt x="1563173" y="597971"/>
                      </a:cubicBezTo>
                      <a:cubicBezTo>
                        <a:pt x="1563173" y="425729"/>
                        <a:pt x="1416930" y="289236"/>
                        <a:pt x="1234939" y="289236"/>
                      </a:cubicBezTo>
                      <a:cubicBezTo>
                        <a:pt x="1195941" y="289236"/>
                        <a:pt x="1160193" y="298985"/>
                        <a:pt x="1127695" y="308735"/>
                      </a:cubicBezTo>
                      <a:cubicBezTo>
                        <a:pt x="1062698" y="126744"/>
                        <a:pt x="883957" y="0"/>
                        <a:pt x="672717" y="0"/>
                      </a:cubicBezTo>
                      <a:cubicBezTo>
                        <a:pt x="672717" y="0"/>
                        <a:pt x="669467" y="0"/>
                        <a:pt x="669467" y="0"/>
                      </a:cubicBezTo>
                      <a:cubicBezTo>
                        <a:pt x="402980" y="0"/>
                        <a:pt x="188491" y="201490"/>
                        <a:pt x="188491" y="448478"/>
                      </a:cubicBezTo>
                      <a:cubicBezTo>
                        <a:pt x="188491" y="490726"/>
                        <a:pt x="198240" y="529724"/>
                        <a:pt x="207990" y="565472"/>
                      </a:cubicBezTo>
                      <a:lnTo>
                        <a:pt x="181991" y="565472"/>
                      </a:lnTo>
                      <a:cubicBezTo>
                        <a:pt x="84496" y="565472"/>
                        <a:pt x="0" y="636969"/>
                        <a:pt x="0" y="734464"/>
                      </a:cubicBezTo>
                    </a:path>
                  </a:pathLst>
                </a:custGeom>
                <a:solidFill>
                  <a:srgbClr val="59B4D9"/>
                </a:solidFill>
                <a:ln w="3238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defTabSz="913874">
                    <a:defRPr/>
                  </a:pPr>
                  <a:endParaRPr lang="en-US">
                    <a:solidFill>
                      <a:prstClr val="black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72" name="Freeform: Shape 71">
                  <a:extLst>
                    <a:ext uri="{FF2B5EF4-FFF2-40B4-BE49-F238E27FC236}">
                      <a16:creationId xmlns:a16="http://schemas.microsoft.com/office/drawing/2014/main" id="{D6E1A834-7D9B-45F7-992E-D386C5866CB3}"/>
                    </a:ext>
                  </a:extLst>
                </p:cNvPr>
                <p:cNvSpPr/>
                <p:nvPr/>
              </p:nvSpPr>
              <p:spPr>
                <a:xfrm>
                  <a:off x="2653753" y="2718568"/>
                  <a:ext cx="835208" cy="906705"/>
                </a:xfrm>
                <a:custGeom>
                  <a:avLst/>
                  <a:gdLst>
                    <a:gd name="connsiteX0" fmla="*/ 672717 w 835208"/>
                    <a:gd name="connsiteY0" fmla="*/ 0 h 906705"/>
                    <a:gd name="connsiteX1" fmla="*/ 669467 w 835208"/>
                    <a:gd name="connsiteY1" fmla="*/ 0 h 906705"/>
                    <a:gd name="connsiteX2" fmla="*/ 188491 w 835208"/>
                    <a:gd name="connsiteY2" fmla="*/ 448478 h 906705"/>
                    <a:gd name="connsiteX3" fmla="*/ 207990 w 835208"/>
                    <a:gd name="connsiteY3" fmla="*/ 565472 h 906705"/>
                    <a:gd name="connsiteX4" fmla="*/ 181991 w 835208"/>
                    <a:gd name="connsiteY4" fmla="*/ 565472 h 906705"/>
                    <a:gd name="connsiteX5" fmla="*/ 0 w 835208"/>
                    <a:gd name="connsiteY5" fmla="*/ 734464 h 906705"/>
                    <a:gd name="connsiteX6" fmla="*/ 165742 w 835208"/>
                    <a:gd name="connsiteY6" fmla="*/ 906705 h 906705"/>
                    <a:gd name="connsiteX7" fmla="*/ 191741 w 835208"/>
                    <a:gd name="connsiteY7" fmla="*/ 906705 h 906705"/>
                    <a:gd name="connsiteX8" fmla="*/ 334734 w 835208"/>
                    <a:gd name="connsiteY8" fmla="*/ 640219 h 906705"/>
                    <a:gd name="connsiteX9" fmla="*/ 835209 w 835208"/>
                    <a:gd name="connsiteY9" fmla="*/ 29249 h 906705"/>
                    <a:gd name="connsiteX10" fmla="*/ 672717 w 835208"/>
                    <a:gd name="connsiteY10" fmla="*/ 0 h 90670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835208" h="906705">
                      <a:moveTo>
                        <a:pt x="672717" y="0"/>
                      </a:moveTo>
                      <a:cubicBezTo>
                        <a:pt x="672717" y="0"/>
                        <a:pt x="669467" y="0"/>
                        <a:pt x="669467" y="0"/>
                      </a:cubicBezTo>
                      <a:cubicBezTo>
                        <a:pt x="402980" y="0"/>
                        <a:pt x="188491" y="201490"/>
                        <a:pt x="188491" y="448478"/>
                      </a:cubicBezTo>
                      <a:cubicBezTo>
                        <a:pt x="188491" y="490726"/>
                        <a:pt x="198240" y="529724"/>
                        <a:pt x="207990" y="565472"/>
                      </a:cubicBezTo>
                      <a:lnTo>
                        <a:pt x="181991" y="565472"/>
                      </a:lnTo>
                      <a:cubicBezTo>
                        <a:pt x="84496" y="565472"/>
                        <a:pt x="0" y="636969"/>
                        <a:pt x="0" y="734464"/>
                      </a:cubicBezTo>
                      <a:cubicBezTo>
                        <a:pt x="0" y="822209"/>
                        <a:pt x="71496" y="896956"/>
                        <a:pt x="165742" y="906705"/>
                      </a:cubicBezTo>
                      <a:lnTo>
                        <a:pt x="191741" y="906705"/>
                      </a:lnTo>
                      <a:cubicBezTo>
                        <a:pt x="94245" y="685716"/>
                        <a:pt x="334734" y="640219"/>
                        <a:pt x="334734" y="640219"/>
                      </a:cubicBezTo>
                      <a:cubicBezTo>
                        <a:pt x="311985" y="97495"/>
                        <a:pt x="822210" y="35748"/>
                        <a:pt x="835209" y="29249"/>
                      </a:cubicBezTo>
                      <a:cubicBezTo>
                        <a:pt x="786461" y="9750"/>
                        <a:pt x="731214" y="0"/>
                        <a:pt x="672717" y="0"/>
                      </a:cubicBezTo>
                      <a:close/>
                    </a:path>
                  </a:pathLst>
                </a:custGeom>
                <a:solidFill>
                  <a:srgbClr val="FFFFFF">
                    <a:alpha val="20000"/>
                  </a:srgbClr>
                </a:solidFill>
                <a:ln w="3238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defTabSz="913874">
                    <a:defRPr/>
                  </a:pPr>
                  <a:endParaRPr lang="en-US">
                    <a:solidFill>
                      <a:prstClr val="black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73" name="Freeform: Shape 72">
                  <a:extLst>
                    <a:ext uri="{FF2B5EF4-FFF2-40B4-BE49-F238E27FC236}">
                      <a16:creationId xmlns:a16="http://schemas.microsoft.com/office/drawing/2014/main" id="{D2E0A67B-41F2-499E-B9C5-BF06DDF197E9}"/>
                    </a:ext>
                  </a:extLst>
                </p:cNvPr>
                <p:cNvSpPr/>
                <p:nvPr/>
              </p:nvSpPr>
              <p:spPr>
                <a:xfrm>
                  <a:off x="3111980" y="3085800"/>
                  <a:ext cx="464727" cy="539473"/>
                </a:xfrm>
                <a:custGeom>
                  <a:avLst/>
                  <a:gdLst>
                    <a:gd name="connsiteX0" fmla="*/ 71496 w 464727"/>
                    <a:gd name="connsiteY0" fmla="*/ 0 h 539473"/>
                    <a:gd name="connsiteX1" fmla="*/ 230739 w 464727"/>
                    <a:gd name="connsiteY1" fmla="*/ 0 h 539473"/>
                    <a:gd name="connsiteX2" fmla="*/ 464727 w 464727"/>
                    <a:gd name="connsiteY2" fmla="*/ 233988 h 539473"/>
                    <a:gd name="connsiteX3" fmla="*/ 155992 w 464727"/>
                    <a:gd name="connsiteY3" fmla="*/ 539473 h 539473"/>
                    <a:gd name="connsiteX4" fmla="*/ 0 w 464727"/>
                    <a:gd name="connsiteY4" fmla="*/ 539473 h 539473"/>
                    <a:gd name="connsiteX5" fmla="*/ 302235 w 464727"/>
                    <a:gd name="connsiteY5" fmla="*/ 233988 h 53947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464727" h="539473">
                      <a:moveTo>
                        <a:pt x="71496" y="0"/>
                      </a:moveTo>
                      <a:lnTo>
                        <a:pt x="230739" y="0"/>
                      </a:lnTo>
                      <a:lnTo>
                        <a:pt x="464727" y="233988"/>
                      </a:lnTo>
                      <a:lnTo>
                        <a:pt x="155992" y="539473"/>
                      </a:lnTo>
                      <a:lnTo>
                        <a:pt x="0" y="539473"/>
                      </a:lnTo>
                      <a:lnTo>
                        <a:pt x="302235" y="233988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3238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defTabSz="913874">
                    <a:defRPr/>
                  </a:pPr>
                  <a:endParaRPr lang="en-US">
                    <a:solidFill>
                      <a:prstClr val="black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74" name="Freeform: Shape 73">
                  <a:extLst>
                    <a:ext uri="{FF2B5EF4-FFF2-40B4-BE49-F238E27FC236}">
                      <a16:creationId xmlns:a16="http://schemas.microsoft.com/office/drawing/2014/main" id="{2088568A-4ADF-4B80-AB5B-6A14E5D2E723}"/>
                    </a:ext>
                  </a:extLst>
                </p:cNvPr>
                <p:cNvSpPr/>
                <p:nvPr/>
              </p:nvSpPr>
              <p:spPr>
                <a:xfrm>
                  <a:off x="3508460" y="2738067"/>
                  <a:ext cx="380231" cy="412729"/>
                </a:xfrm>
                <a:custGeom>
                  <a:avLst/>
                  <a:gdLst>
                    <a:gd name="connsiteX0" fmla="*/ 32498 w 380231"/>
                    <a:gd name="connsiteY0" fmla="*/ 0 h 412729"/>
                    <a:gd name="connsiteX1" fmla="*/ 194990 w 380231"/>
                    <a:gd name="connsiteY1" fmla="*/ 0 h 412729"/>
                    <a:gd name="connsiteX2" fmla="*/ 380231 w 380231"/>
                    <a:gd name="connsiteY2" fmla="*/ 188491 h 412729"/>
                    <a:gd name="connsiteX3" fmla="*/ 149493 w 380231"/>
                    <a:gd name="connsiteY3" fmla="*/ 412730 h 412729"/>
                    <a:gd name="connsiteX4" fmla="*/ 0 w 380231"/>
                    <a:gd name="connsiteY4" fmla="*/ 412730 h 412729"/>
                    <a:gd name="connsiteX5" fmla="*/ 217739 w 380231"/>
                    <a:gd name="connsiteY5" fmla="*/ 185241 h 41272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380231" h="412729">
                      <a:moveTo>
                        <a:pt x="32498" y="0"/>
                      </a:moveTo>
                      <a:lnTo>
                        <a:pt x="194990" y="0"/>
                      </a:lnTo>
                      <a:lnTo>
                        <a:pt x="380231" y="188491"/>
                      </a:lnTo>
                      <a:lnTo>
                        <a:pt x="149493" y="412730"/>
                      </a:lnTo>
                      <a:lnTo>
                        <a:pt x="0" y="412730"/>
                      </a:lnTo>
                      <a:lnTo>
                        <a:pt x="217739" y="185241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3238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defTabSz="913874">
                    <a:defRPr/>
                  </a:pPr>
                  <a:endParaRPr lang="en-US">
                    <a:solidFill>
                      <a:prstClr val="black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75" name="Freeform: Shape 74">
                  <a:extLst>
                    <a:ext uri="{FF2B5EF4-FFF2-40B4-BE49-F238E27FC236}">
                      <a16:creationId xmlns:a16="http://schemas.microsoft.com/office/drawing/2014/main" id="{B69B4ACC-6BD0-48B1-9C41-641C01DA3129}"/>
                    </a:ext>
                  </a:extLst>
                </p:cNvPr>
                <p:cNvSpPr/>
                <p:nvPr/>
              </p:nvSpPr>
              <p:spPr>
                <a:xfrm>
                  <a:off x="3674202" y="3157296"/>
                  <a:ext cx="370481" cy="367231"/>
                </a:xfrm>
                <a:custGeom>
                  <a:avLst/>
                  <a:gdLst>
                    <a:gd name="connsiteX0" fmla="*/ 55247 w 370481"/>
                    <a:gd name="connsiteY0" fmla="*/ 0 h 367231"/>
                    <a:gd name="connsiteX1" fmla="*/ 214489 w 370481"/>
                    <a:gd name="connsiteY1" fmla="*/ 0 h 367231"/>
                    <a:gd name="connsiteX2" fmla="*/ 370482 w 370481"/>
                    <a:gd name="connsiteY2" fmla="*/ 155992 h 367231"/>
                    <a:gd name="connsiteX3" fmla="*/ 155992 w 370481"/>
                    <a:gd name="connsiteY3" fmla="*/ 367232 h 367231"/>
                    <a:gd name="connsiteX4" fmla="*/ 0 w 370481"/>
                    <a:gd name="connsiteY4" fmla="*/ 367232 h 367231"/>
                    <a:gd name="connsiteX5" fmla="*/ 207990 w 370481"/>
                    <a:gd name="connsiteY5" fmla="*/ 155992 h 36723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370481" h="367231">
                      <a:moveTo>
                        <a:pt x="55247" y="0"/>
                      </a:moveTo>
                      <a:lnTo>
                        <a:pt x="214489" y="0"/>
                      </a:lnTo>
                      <a:lnTo>
                        <a:pt x="370482" y="155992"/>
                      </a:lnTo>
                      <a:lnTo>
                        <a:pt x="155992" y="367232"/>
                      </a:lnTo>
                      <a:lnTo>
                        <a:pt x="0" y="367232"/>
                      </a:lnTo>
                      <a:lnTo>
                        <a:pt x="207990" y="155992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3238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defTabSz="913874">
                    <a:defRPr/>
                  </a:pPr>
                  <a:endParaRPr lang="en-US">
                    <a:solidFill>
                      <a:prstClr val="black"/>
                    </a:solidFill>
                    <a:latin typeface="Calibri" panose="020F0502020204030204"/>
                  </a:endParaRPr>
                </a:p>
              </p:txBody>
            </p:sp>
          </p:grpSp>
          <p:sp>
            <p:nvSpPr>
              <p:cNvPr id="117" name="TextBox 116">
                <a:extLst>
                  <a:ext uri="{FF2B5EF4-FFF2-40B4-BE49-F238E27FC236}">
                    <a16:creationId xmlns:a16="http://schemas.microsoft.com/office/drawing/2014/main" id="{B4EBFED0-CAC4-44A1-804C-82C48C7F51BE}"/>
                  </a:ext>
                </a:extLst>
              </p:cNvPr>
              <p:cNvSpPr txBox="1"/>
              <p:nvPr/>
            </p:nvSpPr>
            <p:spPr>
              <a:xfrm>
                <a:off x="7895891" y="2249226"/>
                <a:ext cx="1254945" cy="430887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defTabSz="914192">
                  <a:defRPr/>
                </a:pPr>
                <a:r>
                  <a:rPr lang="en-US" sz="1372" b="1" dirty="0">
                    <a:gradFill>
                      <a:gsLst>
                        <a:gs pos="2917">
                          <a:srgbClr val="1A1A1A"/>
                        </a:gs>
                        <a:gs pos="30000">
                          <a:srgbClr val="1A1A1A"/>
                        </a:gs>
                      </a:gsLst>
                      <a:lin ang="5400000" scaled="0"/>
                    </a:gradFill>
                    <a:latin typeface="Segoe UI"/>
                    <a:cs typeface="Segoe UI Semilight" panose="020B0402040204020203" pitchFamily="34" charset="0"/>
                  </a:rPr>
                  <a:t>Lakeside: </a:t>
                </a:r>
                <a:r>
                  <a:rPr lang="en-US" sz="1372" dirty="0" err="1">
                    <a:gradFill>
                      <a:gsLst>
                        <a:gs pos="2917">
                          <a:srgbClr val="1A1A1A"/>
                        </a:gs>
                        <a:gs pos="30000">
                          <a:srgbClr val="1A1A1A"/>
                        </a:gs>
                      </a:gsLst>
                      <a:lin ang="5400000" scaled="0"/>
                    </a:gradFill>
                    <a:latin typeface="Segoe UI"/>
                    <a:cs typeface="Segoe UI Semilight" panose="020B0402040204020203" pitchFamily="34" charset="0"/>
                  </a:rPr>
                  <a:t>SysTrack</a:t>
                </a:r>
                <a:endParaRPr lang="en-US" sz="1372" dirty="0">
                  <a:gradFill>
                    <a:gsLst>
                      <a:gs pos="2917">
                        <a:srgbClr val="1A1A1A"/>
                      </a:gs>
                      <a:gs pos="30000">
                        <a:srgbClr val="1A1A1A"/>
                      </a:gs>
                    </a:gsLst>
                    <a:lin ang="5400000" scaled="0"/>
                  </a:gradFill>
                  <a:latin typeface="Segoe UI"/>
                  <a:cs typeface="Segoe UI Semilight" panose="020B0402040204020203" pitchFamily="34" charset="0"/>
                </a:endParaRPr>
              </a:p>
            </p:txBody>
          </p:sp>
          <p:sp>
            <p:nvSpPr>
              <p:cNvPr id="76" name="TextBox 75">
                <a:extLst>
                  <a:ext uri="{FF2B5EF4-FFF2-40B4-BE49-F238E27FC236}">
                    <a16:creationId xmlns:a16="http://schemas.microsoft.com/office/drawing/2014/main" id="{82DEBB3F-CD22-43D3-BE36-7408576B1B1B}"/>
                  </a:ext>
                </a:extLst>
              </p:cNvPr>
              <p:cNvSpPr txBox="1"/>
              <p:nvPr/>
            </p:nvSpPr>
            <p:spPr>
              <a:xfrm>
                <a:off x="7895891" y="3723646"/>
                <a:ext cx="2002080" cy="430887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defTabSz="914192">
                  <a:defRPr/>
                </a:pPr>
                <a:r>
                  <a:rPr lang="en-US" sz="1372" b="1" dirty="0">
                    <a:gradFill>
                      <a:gsLst>
                        <a:gs pos="2917">
                          <a:srgbClr val="1A1A1A"/>
                        </a:gs>
                        <a:gs pos="30000">
                          <a:srgbClr val="1A1A1A"/>
                        </a:gs>
                      </a:gsLst>
                      <a:lin ang="5400000" scaled="0"/>
                    </a:gradFill>
                    <a:latin typeface="Segoe UI"/>
                    <a:cs typeface="Segoe UI Semilight" panose="020B0402040204020203" pitchFamily="34" charset="0"/>
                  </a:rPr>
                  <a:t>Azure Migrate: </a:t>
                </a:r>
              </a:p>
              <a:p>
                <a:pPr defTabSz="914192">
                  <a:defRPr/>
                </a:pPr>
                <a:r>
                  <a:rPr lang="en-US" sz="1372" dirty="0">
                    <a:gradFill>
                      <a:gsLst>
                        <a:gs pos="2917">
                          <a:srgbClr val="1A1A1A"/>
                        </a:gs>
                        <a:gs pos="30000">
                          <a:srgbClr val="1A1A1A"/>
                        </a:gs>
                      </a:gsLst>
                      <a:lin ang="5400000" scaled="0"/>
                    </a:gradFill>
                    <a:latin typeface="Segoe UI"/>
                    <a:cs typeface="Segoe UI Semilight" panose="020B0402040204020203" pitchFamily="34" charset="0"/>
                  </a:rPr>
                  <a:t>Server Migration</a:t>
                </a:r>
                <a:endParaRPr lang="en-US" sz="1568" dirty="0">
                  <a:gradFill>
                    <a:gsLst>
                      <a:gs pos="2917">
                        <a:srgbClr val="1A1A1A"/>
                      </a:gs>
                      <a:gs pos="30000">
                        <a:srgbClr val="1A1A1A"/>
                      </a:gs>
                    </a:gsLst>
                    <a:lin ang="5400000" scaled="0"/>
                  </a:gradFill>
                  <a:latin typeface="Segoe UI"/>
                  <a:cs typeface="Segoe UI Semilight" panose="020B0402040204020203" pitchFamily="34" charset="0"/>
                </a:endParaRPr>
              </a:p>
            </p:txBody>
          </p:sp>
        </p:grpSp>
      </p:grpSp>
      <p:cxnSp>
        <p:nvCxnSpPr>
          <p:cNvPr id="78" name="Straight Connector 77">
            <a:extLst>
              <a:ext uri="{FF2B5EF4-FFF2-40B4-BE49-F238E27FC236}">
                <a16:creationId xmlns:a16="http://schemas.microsoft.com/office/drawing/2014/main" id="{6FC8F63B-03D3-594C-81B5-39D21122CD9F}"/>
              </a:ext>
            </a:extLst>
          </p:cNvPr>
          <p:cNvCxnSpPr/>
          <p:nvPr/>
        </p:nvCxnSpPr>
        <p:spPr>
          <a:xfrm>
            <a:off x="5116436" y="1283447"/>
            <a:ext cx="0" cy="3935041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" name="Straight Connector 78">
            <a:extLst>
              <a:ext uri="{FF2B5EF4-FFF2-40B4-BE49-F238E27FC236}">
                <a16:creationId xmlns:a16="http://schemas.microsoft.com/office/drawing/2014/main" id="{77328E57-0CAE-CA48-B1A9-0604B795CE32}"/>
              </a:ext>
            </a:extLst>
          </p:cNvPr>
          <p:cNvCxnSpPr/>
          <p:nvPr/>
        </p:nvCxnSpPr>
        <p:spPr>
          <a:xfrm>
            <a:off x="7482475" y="1218692"/>
            <a:ext cx="0" cy="3935041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0" name="Straight Connector 79">
            <a:extLst>
              <a:ext uri="{FF2B5EF4-FFF2-40B4-BE49-F238E27FC236}">
                <a16:creationId xmlns:a16="http://schemas.microsoft.com/office/drawing/2014/main" id="{1BEDE260-CED6-784F-A09C-7024B9895FEA}"/>
              </a:ext>
            </a:extLst>
          </p:cNvPr>
          <p:cNvCxnSpPr/>
          <p:nvPr/>
        </p:nvCxnSpPr>
        <p:spPr>
          <a:xfrm>
            <a:off x="9857852" y="1218692"/>
            <a:ext cx="0" cy="3935041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" name="Group 5">
            <a:extLst>
              <a:ext uri="{FF2B5EF4-FFF2-40B4-BE49-F238E27FC236}">
                <a16:creationId xmlns:a16="http://schemas.microsoft.com/office/drawing/2014/main" id="{55AF01F5-661F-3642-9D65-CFAE0B276A0D}"/>
              </a:ext>
            </a:extLst>
          </p:cNvPr>
          <p:cNvGrpSpPr/>
          <p:nvPr/>
        </p:nvGrpSpPr>
        <p:grpSpPr>
          <a:xfrm>
            <a:off x="5334192" y="1617140"/>
            <a:ext cx="1731079" cy="2456211"/>
            <a:chOff x="5441153" y="1649070"/>
            <a:chExt cx="1765791" cy="2505463"/>
          </a:xfrm>
        </p:grpSpPr>
        <p:pic>
          <p:nvPicPr>
            <p:cNvPr id="31" name="Picture 30">
              <a:extLst>
                <a:ext uri="{FF2B5EF4-FFF2-40B4-BE49-F238E27FC236}">
                  <a16:creationId xmlns:a16="http://schemas.microsoft.com/office/drawing/2014/main" id="{DAAE0A0D-FEA8-4990-94DA-7A595D487596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441153" y="3181587"/>
              <a:ext cx="594666" cy="557383"/>
            </a:xfrm>
            <a:prstGeom prst="rect">
              <a:avLst/>
            </a:prstGeom>
          </p:spPr>
        </p:pic>
        <p:sp>
          <p:nvSpPr>
            <p:cNvPr id="118" name="TextBox 117">
              <a:extLst>
                <a:ext uri="{FF2B5EF4-FFF2-40B4-BE49-F238E27FC236}">
                  <a16:creationId xmlns:a16="http://schemas.microsoft.com/office/drawing/2014/main" id="{C8EE3B89-D4AB-4987-8DA8-B430298B874B}"/>
                </a:ext>
              </a:extLst>
            </p:cNvPr>
            <p:cNvSpPr txBox="1"/>
            <p:nvPr/>
          </p:nvSpPr>
          <p:spPr>
            <a:xfrm>
              <a:off x="5528349" y="2249226"/>
              <a:ext cx="1652400" cy="64633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defTabSz="914192">
                <a:defRPr/>
              </a:pPr>
              <a:r>
                <a:rPr lang="en-US" sz="1372" b="1" dirty="0">
                  <a:gradFill>
                    <a:gsLst>
                      <a:gs pos="2917">
                        <a:srgbClr val="1A1A1A"/>
                      </a:gs>
                      <a:gs pos="30000">
                        <a:srgbClr val="1A1A1A"/>
                      </a:gs>
                    </a:gsLst>
                    <a:lin ang="5400000" scaled="0"/>
                  </a:gradFill>
                  <a:latin typeface="Segoe UI"/>
                  <a:cs typeface="Segoe UI Semilight" panose="020B0402040204020203" pitchFamily="34" charset="0"/>
                </a:rPr>
                <a:t>Azure Migrate: </a:t>
              </a:r>
              <a:br>
                <a:rPr lang="en-US" sz="1372" dirty="0">
                  <a:gradFill>
                    <a:gsLst>
                      <a:gs pos="2917">
                        <a:srgbClr val="1A1A1A"/>
                      </a:gs>
                      <a:gs pos="30000">
                        <a:srgbClr val="1A1A1A"/>
                      </a:gs>
                    </a:gsLst>
                    <a:lin ang="5400000" scaled="0"/>
                  </a:gradFill>
                  <a:latin typeface="Segoe UI"/>
                  <a:cs typeface="Segoe UI Semilight" panose="020B0402040204020203" pitchFamily="34" charset="0"/>
                </a:rPr>
              </a:br>
              <a:r>
                <a:rPr lang="en-US" sz="1372" dirty="0">
                  <a:gradFill>
                    <a:gsLst>
                      <a:gs pos="2917">
                        <a:srgbClr val="1A1A1A"/>
                      </a:gs>
                      <a:gs pos="30000">
                        <a:srgbClr val="1A1A1A"/>
                      </a:gs>
                    </a:gsLst>
                    <a:lin ang="5400000" scaled="0"/>
                  </a:gradFill>
                  <a:latin typeface="Segoe UI"/>
                  <a:cs typeface="Segoe UI Semilight" panose="020B0402040204020203" pitchFamily="34" charset="0"/>
                </a:rPr>
                <a:t>Web App Assessment</a:t>
              </a:r>
            </a:p>
          </p:txBody>
        </p:sp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828D0690-BE3C-4FF1-A91B-5835426C00B8}"/>
                </a:ext>
              </a:extLst>
            </p:cNvPr>
            <p:cNvSpPr txBox="1"/>
            <p:nvPr/>
          </p:nvSpPr>
          <p:spPr>
            <a:xfrm>
              <a:off x="5528349" y="3723646"/>
              <a:ext cx="1678595" cy="43088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defTabSz="914192">
                <a:defRPr/>
              </a:pPr>
              <a:r>
                <a:rPr lang="en-US" sz="1372" b="1" dirty="0">
                  <a:gradFill>
                    <a:gsLst>
                      <a:gs pos="2917">
                        <a:srgbClr val="1A1A1A"/>
                      </a:gs>
                      <a:gs pos="30000">
                        <a:srgbClr val="1A1A1A"/>
                      </a:gs>
                    </a:gsLst>
                    <a:lin ang="5400000" scaled="0"/>
                  </a:gradFill>
                  <a:latin typeface="Segoe UI"/>
                  <a:cs typeface="Segoe UI Semilight" panose="020B0402040204020203" pitchFamily="34" charset="0"/>
                </a:rPr>
                <a:t>Azure Migrate: </a:t>
              </a:r>
              <a:br>
                <a:rPr lang="en-US" sz="1372" dirty="0">
                  <a:gradFill>
                    <a:gsLst>
                      <a:gs pos="2917">
                        <a:srgbClr val="1A1A1A"/>
                      </a:gs>
                      <a:gs pos="30000">
                        <a:srgbClr val="1A1A1A"/>
                      </a:gs>
                    </a:gsLst>
                    <a:lin ang="5400000" scaled="0"/>
                  </a:gradFill>
                  <a:latin typeface="Segoe UI"/>
                  <a:cs typeface="Segoe UI Semilight" panose="020B0402040204020203" pitchFamily="34" charset="0"/>
                </a:rPr>
              </a:br>
              <a:r>
                <a:rPr lang="en-US" sz="1372" dirty="0">
                  <a:gradFill>
                    <a:gsLst>
                      <a:gs pos="2917">
                        <a:srgbClr val="1A1A1A"/>
                      </a:gs>
                      <a:gs pos="30000">
                        <a:srgbClr val="1A1A1A"/>
                      </a:gs>
                    </a:gsLst>
                    <a:lin ang="5400000" scaled="0"/>
                  </a:gradFill>
                  <a:latin typeface="Segoe UI"/>
                  <a:cs typeface="Segoe UI Semilight" panose="020B0402040204020203" pitchFamily="34" charset="0"/>
                </a:rPr>
                <a:t>Web App Migration</a:t>
              </a:r>
            </a:p>
          </p:txBody>
        </p:sp>
        <p:pic>
          <p:nvPicPr>
            <p:cNvPr id="81" name="Picture 80">
              <a:extLst>
                <a:ext uri="{FF2B5EF4-FFF2-40B4-BE49-F238E27FC236}">
                  <a16:creationId xmlns:a16="http://schemas.microsoft.com/office/drawing/2014/main" id="{F936084A-10BA-3643-85F0-77A123FB4867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441153" y="1649070"/>
              <a:ext cx="594666" cy="557383"/>
            </a:xfrm>
            <a:prstGeom prst="rect">
              <a:avLst/>
            </a:prstGeom>
          </p:spPr>
        </p:pic>
      </p:grpSp>
      <p:cxnSp>
        <p:nvCxnSpPr>
          <p:cNvPr id="82" name="Straight Connector 81">
            <a:extLst>
              <a:ext uri="{FF2B5EF4-FFF2-40B4-BE49-F238E27FC236}">
                <a16:creationId xmlns:a16="http://schemas.microsoft.com/office/drawing/2014/main" id="{18C4814E-E1BA-F54D-8B93-E62EF2D91B91}"/>
              </a:ext>
            </a:extLst>
          </p:cNvPr>
          <p:cNvCxnSpPr>
            <a:cxnSpLocks/>
          </p:cNvCxnSpPr>
          <p:nvPr/>
        </p:nvCxnSpPr>
        <p:spPr>
          <a:xfrm flipH="1">
            <a:off x="544652" y="5398941"/>
            <a:ext cx="11102696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Box 20">
            <a:extLst>
              <a:ext uri="{FF2B5EF4-FFF2-40B4-BE49-F238E27FC236}">
                <a16:creationId xmlns:a16="http://schemas.microsoft.com/office/drawing/2014/main" id="{1B28E60B-A942-438C-BEEA-4EDCB8E719B5}"/>
              </a:ext>
            </a:extLst>
          </p:cNvPr>
          <p:cNvSpPr txBox="1"/>
          <p:nvPr/>
        </p:nvSpPr>
        <p:spPr>
          <a:xfrm>
            <a:off x="2956447" y="1252836"/>
            <a:ext cx="1660477" cy="36207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i="0" u="none" strike="noStrike" cap="none" normalizeH="0" baseline="0">
                <a:ln w="3175"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Segoe UI Semibold"/>
                <a:cs typeface="Segoe UI" pitchFamily="34" charset="0"/>
              </a:defRPr>
            </a:lvl1pPr>
          </a:lstStyle>
          <a:p>
            <a:pPr defTabSz="914367"/>
            <a:r>
              <a:rPr lang="en-US" sz="2353" dirty="0">
                <a:solidFill>
                  <a:srgbClr val="0078D3"/>
                </a:solidFill>
              </a:rPr>
              <a:t>Databases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D26BFA0C-238B-4E9B-962A-D5A8C84DD4CC}"/>
              </a:ext>
            </a:extLst>
          </p:cNvPr>
          <p:cNvSpPr txBox="1"/>
          <p:nvPr/>
        </p:nvSpPr>
        <p:spPr>
          <a:xfrm>
            <a:off x="5419674" y="1283447"/>
            <a:ext cx="1660477" cy="36207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i="0" u="none" strike="noStrike" cap="none" normalizeH="0" baseline="0">
                <a:ln w="3175"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Segoe UI Semibold"/>
                <a:cs typeface="Segoe UI" pitchFamily="34" charset="0"/>
              </a:defRPr>
            </a:lvl1pPr>
          </a:lstStyle>
          <a:p>
            <a:pPr defTabSz="914367"/>
            <a:r>
              <a:rPr lang="en-US" sz="2353" dirty="0">
                <a:solidFill>
                  <a:srgbClr val="0078D3"/>
                </a:solidFill>
              </a:rPr>
              <a:t>Web apps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37A6D0EF-E48B-42AF-91BA-941F6784990E}"/>
              </a:ext>
            </a:extLst>
          </p:cNvPr>
          <p:cNvSpPr txBox="1"/>
          <p:nvPr/>
        </p:nvSpPr>
        <p:spPr>
          <a:xfrm>
            <a:off x="7740675" y="1276129"/>
            <a:ext cx="1660477" cy="36207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192">
              <a:defRPr/>
            </a:pPr>
            <a:r>
              <a:rPr lang="en-US" sz="2353" spc="-147" dirty="0">
                <a:ln w="3175">
                  <a:noFill/>
                </a:ln>
                <a:solidFill>
                  <a:srgbClr val="0078D3"/>
                </a:solidFill>
                <a:latin typeface="Segoe UI Semibold"/>
                <a:cs typeface="Segoe UI" pitchFamily="34" charset="0"/>
              </a:rPr>
              <a:t>VDI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78AED86E-FD17-44CB-92F6-99EBF8690195}"/>
              </a:ext>
            </a:extLst>
          </p:cNvPr>
          <p:cNvSpPr txBox="1"/>
          <p:nvPr/>
        </p:nvSpPr>
        <p:spPr>
          <a:xfrm>
            <a:off x="10144164" y="1253035"/>
            <a:ext cx="1660477" cy="36207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192">
              <a:defRPr/>
            </a:pPr>
            <a:r>
              <a:rPr lang="en-US" sz="2353" spc="-147" dirty="0">
                <a:ln w="3175">
                  <a:noFill/>
                </a:ln>
                <a:solidFill>
                  <a:srgbClr val="0078D3"/>
                </a:solidFill>
                <a:latin typeface="Segoe UI Semibold"/>
                <a:cs typeface="Segoe UI" pitchFamily="34" charset="0"/>
              </a:rPr>
              <a:t>Data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E7440FDF-BAE9-4CC2-91A6-9C04FCF0BAD7}"/>
              </a:ext>
            </a:extLst>
          </p:cNvPr>
          <p:cNvSpPr txBox="1"/>
          <p:nvPr/>
        </p:nvSpPr>
        <p:spPr>
          <a:xfrm>
            <a:off x="4653591" y="5613332"/>
            <a:ext cx="2884820" cy="36207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i="0" u="none" strike="noStrike" cap="none" normalizeH="0" baseline="0">
                <a:ln w="3175"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cs typeface="Segoe UI" pitchFamily="34" charset="0"/>
              </a:defRPr>
            </a:lvl1pPr>
          </a:lstStyle>
          <a:p>
            <a:pPr algn="ctr" defTabSz="914367"/>
            <a:r>
              <a:rPr lang="en-US" sz="2353" dirty="0">
                <a:solidFill>
                  <a:srgbClr val="0078D3"/>
                </a:solidFill>
                <a:latin typeface="Segoe UI Semibold"/>
              </a:rPr>
              <a:t>Partner tools</a:t>
            </a:r>
          </a:p>
        </p:txBody>
      </p:sp>
      <p:pic>
        <p:nvPicPr>
          <p:cNvPr id="40" name="Picture 39" descr="A picture containing drawing&#10;&#10;Description automatically generated">
            <a:extLst>
              <a:ext uri="{FF2B5EF4-FFF2-40B4-BE49-F238E27FC236}">
                <a16:creationId xmlns:a16="http://schemas.microsoft.com/office/drawing/2014/main" id="{0CD96EF1-26FF-4D44-91B0-16AA2FFEA301}"/>
              </a:ext>
            </a:extLst>
          </p:cNvPr>
          <p:cNvPicPr>
            <a:picLocks noChangeAspect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23571" y="6050405"/>
            <a:ext cx="995079" cy="363187"/>
          </a:xfrm>
          <a:prstGeom prst="rect">
            <a:avLst/>
          </a:prstGeom>
        </p:spPr>
      </p:pic>
      <p:sp>
        <p:nvSpPr>
          <p:cNvPr id="5" name="bk object 17">
            <a:extLst>
              <a:ext uri="{FF2B5EF4-FFF2-40B4-BE49-F238E27FC236}">
                <a16:creationId xmlns:a16="http://schemas.microsoft.com/office/drawing/2014/main" id="{CBA38256-7719-4CF1-929D-7D115AADA183}"/>
              </a:ext>
            </a:extLst>
          </p:cNvPr>
          <p:cNvSpPr/>
          <p:nvPr/>
        </p:nvSpPr>
        <p:spPr>
          <a:xfrm>
            <a:off x="0" y="6497955"/>
            <a:ext cx="12192000" cy="360045"/>
          </a:xfrm>
          <a:custGeom>
            <a:avLst/>
            <a:gdLst/>
            <a:ahLst/>
            <a:cxnLst/>
            <a:rect l="l" t="t" r="r" b="b"/>
            <a:pathLst>
              <a:path w="12434570" h="360045">
                <a:moveTo>
                  <a:pt x="0" y="359994"/>
                </a:moveTo>
                <a:lnTo>
                  <a:pt x="12434404" y="359994"/>
                </a:lnTo>
                <a:lnTo>
                  <a:pt x="12434404" y="0"/>
                </a:lnTo>
                <a:lnTo>
                  <a:pt x="0" y="0"/>
                </a:lnTo>
                <a:lnTo>
                  <a:pt x="0" y="359994"/>
                </a:lnTo>
                <a:close/>
              </a:path>
            </a:pathLst>
          </a:custGeom>
          <a:solidFill>
            <a:srgbClr val="007FBA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E27CB70E-6D92-4366-9380-906B12596DD4}"/>
              </a:ext>
            </a:extLst>
          </p:cNvPr>
          <p:cNvSpPr txBox="1"/>
          <p:nvPr/>
        </p:nvSpPr>
        <p:spPr>
          <a:xfrm>
            <a:off x="7278010" y="6591175"/>
            <a:ext cx="425867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100" b="0" i="0" kern="0" spc="-20" baseline="0" dirty="0">
                <a:solidFill>
                  <a:schemeClr val="bg1"/>
                </a:solidFill>
                <a:latin typeface="Segoe UI Semibold" charset="0"/>
              </a:rPr>
              <a:t>Microsoft Azure    </a:t>
            </a:r>
            <a:r>
              <a:rPr lang="en-US" sz="1100" b="0" i="0" kern="0" spc="-20" baseline="0" dirty="0">
                <a:solidFill>
                  <a:schemeClr val="bg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|  @</a:t>
            </a:r>
            <a:r>
              <a:rPr lang="en-US" sz="1100" b="0" i="0" kern="0" spc="-20" baseline="0" dirty="0" err="1">
                <a:solidFill>
                  <a:schemeClr val="bg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Techielass</a:t>
            </a:r>
            <a:endParaRPr lang="en-US" sz="1100" b="0" i="0" kern="0" spc="-20" baseline="0" dirty="0">
              <a:solidFill>
                <a:schemeClr val="bg1"/>
              </a:solidFill>
              <a:latin typeface="Segoe UI Semilight" panose="020B0402040204020203" pitchFamily="34" charset="0"/>
              <a:ea typeface="Segoe UI Semilight" charset="0"/>
              <a:cs typeface="Segoe UI Semilight" panose="020B04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6483302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9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7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7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9" dur="500"/>
                                        <p:tgtEl>
                                          <p:spTgt spid="8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500"/>
                            </p:stCondLst>
                            <p:childTnLst>
                              <p:par>
                                <p:cTn id="3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8" fill="hold">
                            <p:stCondLst>
                              <p:cond delay="1000"/>
                            </p:stCondLst>
                            <p:childTnLst>
                              <p:par>
                                <p:cTn id="49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1" dur="500"/>
                                        <p:tgtEl>
                                          <p:spTgt spid="8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2" fill="hold">
                            <p:stCondLst>
                              <p:cond delay="1500"/>
                            </p:stCondLst>
                            <p:childTnLst>
                              <p:par>
                                <p:cTn id="53" presetID="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5" dur="5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6" dur="5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9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2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9" grpId="0"/>
      <p:bldP spid="21" grpId="0"/>
      <p:bldP spid="22" grpId="0"/>
      <p:bldP spid="26" grpId="0"/>
      <p:bldP spid="30" grpId="0"/>
      <p:bldP spid="32" grpId="0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58D4DF18-4A43-4285-B2E2-EAC1703F9732}"/>
              </a:ext>
            </a:extLst>
          </p:cNvPr>
          <p:cNvSpPr/>
          <p:nvPr/>
        </p:nvSpPr>
        <p:spPr>
          <a:xfrm>
            <a:off x="435330" y="3291741"/>
            <a:ext cx="2465168" cy="255713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>
            <a:spAutoFit/>
          </a:bodyPr>
          <a:lstStyle/>
          <a:p>
            <a:pPr defTabSz="896181">
              <a:spcAft>
                <a:spcPts val="1176"/>
              </a:spcAft>
              <a:defRPr/>
            </a:pPr>
            <a:r>
              <a:rPr lang="en-US" sz="1961" dirty="0">
                <a:ln w="3175">
                  <a:noFill/>
                </a:ln>
                <a:solidFill>
                  <a:srgbClr val="0078D4"/>
                </a:solidFill>
                <a:latin typeface="+mj-lt"/>
                <a:cs typeface="Segoe UI" pitchFamily="34" charset="0"/>
              </a:rPr>
              <a:t>Unified appliance</a:t>
            </a:r>
          </a:p>
          <a:p>
            <a:pPr defTabSz="914225">
              <a:defRPr/>
            </a:pPr>
            <a:r>
              <a:rPr lang="en-US" sz="1372" dirty="0">
                <a:gradFill>
                  <a:gsLst>
                    <a:gs pos="2917">
                      <a:srgbClr val="1A1A1A"/>
                    </a:gs>
                    <a:gs pos="30000">
                      <a:srgbClr val="1A1A1A"/>
                    </a:gs>
                  </a:gsLst>
                  <a:lin ang="5400000" scaled="0"/>
                </a:gradFill>
                <a:cs typeface="Segoe UI Semilight" panose="020B0402040204020203" pitchFamily="34" charset="0"/>
              </a:rPr>
              <a:t>For server discovery, assessment and migration.</a:t>
            </a:r>
          </a:p>
          <a:p>
            <a:pPr defTabSz="914225">
              <a:spcBef>
                <a:spcPts val="294"/>
              </a:spcBef>
              <a:defRPr/>
            </a:pPr>
            <a:r>
              <a:rPr lang="en-US" sz="1372" b="1" i="1" dirty="0">
                <a:gradFill>
                  <a:gsLst>
                    <a:gs pos="2917">
                      <a:srgbClr val="1A1A1A"/>
                    </a:gs>
                    <a:gs pos="30000">
                      <a:srgbClr val="1A1A1A"/>
                    </a:gs>
                  </a:gsLst>
                  <a:lin ang="5400000" scaled="0"/>
                </a:gradFill>
                <a:cs typeface="Segoe UI Semilight" panose="020B0402040204020203" pitchFamily="34" charset="0"/>
              </a:rPr>
              <a:t>For VMware: </a:t>
            </a:r>
            <a:r>
              <a:rPr lang="en-US" sz="1372" dirty="0">
                <a:gradFill>
                  <a:gsLst>
                    <a:gs pos="2917">
                      <a:srgbClr val="1A1A1A"/>
                    </a:gs>
                    <a:gs pos="30000">
                      <a:srgbClr val="1A1A1A"/>
                    </a:gs>
                  </a:gsLst>
                  <a:lin ang="5400000" scaled="0"/>
                </a:gradFill>
                <a:cs typeface="Segoe UI Semilight" panose="020B0402040204020203" pitchFamily="34" charset="0"/>
              </a:rPr>
              <a:t>discovery, assessment and migration</a:t>
            </a:r>
          </a:p>
          <a:p>
            <a:pPr defTabSz="914225">
              <a:spcBef>
                <a:spcPts val="294"/>
              </a:spcBef>
              <a:defRPr/>
            </a:pPr>
            <a:r>
              <a:rPr lang="en-US" sz="1372" b="1" i="1" dirty="0">
                <a:gradFill>
                  <a:gsLst>
                    <a:gs pos="2917">
                      <a:srgbClr val="1A1A1A"/>
                    </a:gs>
                    <a:gs pos="30000">
                      <a:srgbClr val="1A1A1A"/>
                    </a:gs>
                  </a:gsLst>
                  <a:lin ang="5400000" scaled="0"/>
                </a:gradFill>
                <a:cs typeface="Segoe UI Semilight" panose="020B0402040204020203" pitchFamily="34" charset="0"/>
              </a:rPr>
              <a:t>For Hyper-V: </a:t>
            </a:r>
            <a:r>
              <a:rPr lang="en-US" sz="1372" dirty="0">
                <a:gradFill>
                  <a:gsLst>
                    <a:gs pos="2917">
                      <a:srgbClr val="1A1A1A"/>
                    </a:gs>
                    <a:gs pos="30000">
                      <a:srgbClr val="1A1A1A"/>
                    </a:gs>
                  </a:gsLst>
                  <a:lin ang="5400000" scaled="0"/>
                </a:gradFill>
                <a:cs typeface="Segoe UI Semilight" panose="020B0402040204020203" pitchFamily="34" charset="0"/>
              </a:rPr>
              <a:t>discovery and assessment</a:t>
            </a:r>
          </a:p>
          <a:p>
            <a:pPr defTabSz="914225">
              <a:spcBef>
                <a:spcPts val="294"/>
              </a:spcBef>
              <a:defRPr/>
            </a:pPr>
            <a:r>
              <a:rPr lang="en-US" sz="1372" b="1" i="1" dirty="0">
                <a:gradFill>
                  <a:gsLst>
                    <a:gs pos="2917">
                      <a:srgbClr val="1A1A1A"/>
                    </a:gs>
                    <a:gs pos="30000">
                      <a:srgbClr val="1A1A1A"/>
                    </a:gs>
                  </a:gsLst>
                  <a:lin ang="5400000" scaled="0"/>
                </a:gradFill>
                <a:cs typeface="Segoe UI Semilight" panose="020B0402040204020203" pitchFamily="34" charset="0"/>
              </a:rPr>
              <a:t>For physical and other clouds: </a:t>
            </a:r>
            <a:r>
              <a:rPr lang="en-US" sz="1372" dirty="0">
                <a:gradFill>
                  <a:gsLst>
                    <a:gs pos="2917">
                      <a:srgbClr val="1A1A1A"/>
                    </a:gs>
                    <a:gs pos="30000">
                      <a:srgbClr val="1A1A1A"/>
                    </a:gs>
                  </a:gsLst>
                  <a:lin ang="5400000" scaled="0"/>
                </a:gradFill>
                <a:cs typeface="Segoe UI Semilight" panose="020B0402040204020203" pitchFamily="34" charset="0"/>
              </a:rPr>
              <a:t>discovery and assessment</a:t>
            </a:r>
            <a:endParaRPr lang="en-US" sz="1372" i="1" dirty="0">
              <a:gradFill>
                <a:gsLst>
                  <a:gs pos="2917">
                    <a:srgbClr val="1A1A1A"/>
                  </a:gs>
                  <a:gs pos="30000">
                    <a:srgbClr val="1A1A1A"/>
                  </a:gs>
                </a:gsLst>
                <a:lin ang="5400000" scaled="0"/>
              </a:gradFill>
              <a:cs typeface="Segoe UI Semilight" panose="020B0402040204020203" pitchFamily="34" charset="0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2DEE8E4F-26A4-42D8-BD2A-4BEDEDA8B688}"/>
              </a:ext>
            </a:extLst>
          </p:cNvPr>
          <p:cNvSpPr/>
          <p:nvPr/>
        </p:nvSpPr>
        <p:spPr>
          <a:xfrm>
            <a:off x="3089890" y="3291742"/>
            <a:ext cx="2465168" cy="223277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>
            <a:spAutoFit/>
          </a:bodyPr>
          <a:lstStyle/>
          <a:p>
            <a:pPr defTabSz="896181">
              <a:spcAft>
                <a:spcPts val="1176"/>
              </a:spcAft>
              <a:defRPr/>
            </a:pPr>
            <a:r>
              <a:rPr lang="en-US" sz="1961" dirty="0">
                <a:ln w="3175">
                  <a:noFill/>
                </a:ln>
                <a:solidFill>
                  <a:srgbClr val="0078D4"/>
                </a:solidFill>
                <a:latin typeface="+mj-lt"/>
                <a:cs typeface="Segoe UI" pitchFamily="34" charset="0"/>
              </a:rPr>
              <a:t>Dedicated machine</a:t>
            </a:r>
          </a:p>
          <a:p>
            <a:pPr marL="285695" indent="-285695" defTabSz="914225">
              <a:buFont typeface="Arial" panose="020B0604020202020204" pitchFamily="34" charset="0"/>
              <a:buChar char="•"/>
              <a:defRPr/>
            </a:pPr>
            <a:r>
              <a:rPr lang="en-US" sz="1372" dirty="0">
                <a:gradFill>
                  <a:gsLst>
                    <a:gs pos="2917">
                      <a:srgbClr val="1A1A1A"/>
                    </a:gs>
                    <a:gs pos="30000">
                      <a:srgbClr val="1A1A1A"/>
                    </a:gs>
                  </a:gsLst>
                  <a:lin ang="5400000" scaled="0"/>
                </a:gradFill>
                <a:cs typeface="Segoe UI Semilight" panose="020B0402040204020203" pitchFamily="34" charset="0"/>
              </a:rPr>
              <a:t>Installed in source environment </a:t>
            </a:r>
          </a:p>
          <a:p>
            <a:pPr marL="285695" indent="-285695" defTabSz="914225">
              <a:buFont typeface="Arial" panose="020B0604020202020204" pitchFamily="34" charset="0"/>
              <a:buChar char="•"/>
              <a:defRPr/>
            </a:pPr>
            <a:r>
              <a:rPr lang="en-US" sz="1372" dirty="0">
                <a:gradFill>
                  <a:gsLst>
                    <a:gs pos="2917">
                      <a:srgbClr val="1A1A1A"/>
                    </a:gs>
                    <a:gs pos="30000">
                      <a:srgbClr val="1A1A1A"/>
                    </a:gs>
                  </a:gsLst>
                  <a:lin ang="5400000" scaled="0"/>
                </a:gradFill>
                <a:cs typeface="Segoe UI Semilight" panose="020B0402040204020203" pitchFamily="34" charset="0"/>
              </a:rPr>
              <a:t>Runs Azure Migrate software to connect to vCenter/Hyper-V host/physical servers/virtual machines to perform discovery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249D6A87-EAFD-4F40-B311-78FAEB73BFC3}"/>
              </a:ext>
            </a:extLst>
          </p:cNvPr>
          <p:cNvSpPr/>
          <p:nvPr/>
        </p:nvSpPr>
        <p:spPr>
          <a:xfrm>
            <a:off x="9053008" y="3291741"/>
            <a:ext cx="2683789" cy="118141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>
            <a:spAutoFit/>
          </a:bodyPr>
          <a:lstStyle/>
          <a:p>
            <a:pPr defTabSz="896181">
              <a:spcAft>
                <a:spcPts val="1176"/>
              </a:spcAft>
              <a:defRPr/>
            </a:pPr>
            <a:r>
              <a:rPr lang="en-US" sz="1961" dirty="0">
                <a:ln w="3175">
                  <a:noFill/>
                </a:ln>
                <a:solidFill>
                  <a:srgbClr val="0078D4"/>
                </a:solidFill>
                <a:latin typeface="+mj-lt"/>
                <a:cs typeface="Segoe UI" pitchFamily="34" charset="0"/>
              </a:rPr>
              <a:t>No impact to source</a:t>
            </a:r>
          </a:p>
          <a:p>
            <a:pPr defTabSz="914225">
              <a:defRPr/>
            </a:pPr>
            <a:r>
              <a:rPr lang="en-US" sz="1372" dirty="0">
                <a:gradFill>
                  <a:gsLst>
                    <a:gs pos="2917">
                      <a:srgbClr val="1A1A1A"/>
                    </a:gs>
                    <a:gs pos="30000">
                      <a:srgbClr val="1A1A1A"/>
                    </a:gs>
                  </a:gsLst>
                  <a:lin ang="5400000" scaled="0"/>
                </a:gradFill>
                <a:cs typeface="Segoe UI Semilight" panose="020B0402040204020203" pitchFamily="34" charset="0"/>
              </a:rPr>
              <a:t>Appliance does not install any software on source VMs or hosts 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E71B6DDF-7A99-4F32-AF20-4D3ED57BBEBC}"/>
              </a:ext>
            </a:extLst>
          </p:cNvPr>
          <p:cNvSpPr/>
          <p:nvPr/>
        </p:nvSpPr>
        <p:spPr>
          <a:xfrm>
            <a:off x="5933841" y="3291741"/>
            <a:ext cx="2683789" cy="244398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>
            <a:spAutoFit/>
          </a:bodyPr>
          <a:lstStyle/>
          <a:p>
            <a:pPr defTabSz="896181">
              <a:spcAft>
                <a:spcPts val="1176"/>
              </a:spcAft>
              <a:defRPr/>
            </a:pPr>
            <a:r>
              <a:rPr lang="en-US" sz="1961" dirty="0">
                <a:ln w="3175">
                  <a:noFill/>
                </a:ln>
                <a:solidFill>
                  <a:srgbClr val="0078D4"/>
                </a:solidFill>
                <a:latin typeface="+mj-lt"/>
                <a:cs typeface="Segoe UI" pitchFamily="34" charset="0"/>
              </a:rPr>
              <a:t>Deployment options</a:t>
            </a:r>
          </a:p>
          <a:p>
            <a:pPr marL="285695" indent="-285695" defTabSz="914225">
              <a:buFont typeface="Arial" panose="020B0604020202020204" pitchFamily="34" charset="0"/>
              <a:buChar char="•"/>
              <a:defRPr/>
            </a:pPr>
            <a:r>
              <a:rPr lang="en-US" sz="1372" dirty="0">
                <a:gradFill>
                  <a:gsLst>
                    <a:gs pos="2917">
                      <a:srgbClr val="1A1A1A"/>
                    </a:gs>
                    <a:gs pos="30000">
                      <a:srgbClr val="1A1A1A"/>
                    </a:gs>
                  </a:gsLst>
                  <a:lin ang="5400000" scaled="0"/>
                </a:gradFill>
                <a:cs typeface="Segoe UI Semilight" panose="020B0402040204020203" pitchFamily="34" charset="0"/>
              </a:rPr>
              <a:t>Virtual appliance that can be imported – OVA option for VMware, VHD option for Hyper-V</a:t>
            </a:r>
          </a:p>
          <a:p>
            <a:pPr marL="285695" indent="-285695" defTabSz="914225">
              <a:buFont typeface="Arial" panose="020B0604020202020204" pitchFamily="34" charset="0"/>
              <a:buChar char="•"/>
              <a:defRPr/>
            </a:pPr>
            <a:r>
              <a:rPr lang="en-US" sz="1372" dirty="0">
                <a:gradFill>
                  <a:gsLst>
                    <a:gs pos="2917">
                      <a:srgbClr val="1A1A1A"/>
                    </a:gs>
                    <a:gs pos="30000">
                      <a:srgbClr val="1A1A1A"/>
                    </a:gs>
                  </a:gsLst>
                  <a:lin ang="5400000" scaled="0"/>
                </a:gradFill>
                <a:cs typeface="Segoe UI Semilight" panose="020B0402040204020203" pitchFamily="34" charset="0"/>
              </a:rPr>
              <a:t>Installer option on dedicated Windows Server 2016 for all scenarios</a:t>
            </a:r>
          </a:p>
          <a:p>
            <a:pPr marL="285695" indent="-285695" defTabSz="914225">
              <a:buFont typeface="Arial" panose="020B0604020202020204" pitchFamily="34" charset="0"/>
              <a:buChar char="•"/>
              <a:defRPr/>
            </a:pPr>
            <a:r>
              <a:rPr lang="en-US" sz="1372" dirty="0">
                <a:gradFill>
                  <a:gsLst>
                    <a:gs pos="2917">
                      <a:srgbClr val="1A1A1A"/>
                    </a:gs>
                    <a:gs pos="30000">
                      <a:srgbClr val="1A1A1A"/>
                    </a:gs>
                  </a:gsLst>
                  <a:lin ang="5400000" scaled="0"/>
                </a:gradFill>
                <a:cs typeface="Segoe UI Semilight" panose="020B0402040204020203" pitchFamily="34" charset="0"/>
              </a:rPr>
              <a:t>Deploy as VM or physical machine</a:t>
            </a:r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E9192832-42AF-4CE8-83EB-294179A18548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933841" y="2326874"/>
            <a:ext cx="364052" cy="582676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3A089B3A-CAC1-4D6B-94D0-B7D18AB782D3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053006" y="2280108"/>
            <a:ext cx="676210" cy="676210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28D29140-8E95-3849-9678-A8AB2DE33D98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07847" y="2323982"/>
            <a:ext cx="784183" cy="588460"/>
          </a:xfrm>
          <a:prstGeom prst="rect">
            <a:avLst/>
          </a:prstGeom>
        </p:spPr>
      </p:pic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D53E9558-A8EE-3643-851E-8659ADCE1F77}"/>
              </a:ext>
            </a:extLst>
          </p:cNvPr>
          <p:cNvCxnSpPr>
            <a:cxnSpLocks/>
          </p:cNvCxnSpPr>
          <p:nvPr/>
        </p:nvCxnSpPr>
        <p:spPr>
          <a:xfrm>
            <a:off x="2919041" y="3331304"/>
            <a:ext cx="0" cy="2517568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32D77950-333C-C343-8233-5922CEEC886A}"/>
              </a:ext>
            </a:extLst>
          </p:cNvPr>
          <p:cNvCxnSpPr>
            <a:cxnSpLocks/>
          </p:cNvCxnSpPr>
          <p:nvPr/>
        </p:nvCxnSpPr>
        <p:spPr>
          <a:xfrm>
            <a:off x="5763695" y="3331304"/>
            <a:ext cx="0" cy="2517568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CF9B5ED1-02E0-2949-B247-71E399E561B8}"/>
              </a:ext>
            </a:extLst>
          </p:cNvPr>
          <p:cNvCxnSpPr>
            <a:cxnSpLocks/>
          </p:cNvCxnSpPr>
          <p:nvPr/>
        </p:nvCxnSpPr>
        <p:spPr>
          <a:xfrm>
            <a:off x="8966920" y="3331304"/>
            <a:ext cx="0" cy="2517568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6" name="Picture 25">
            <a:extLst>
              <a:ext uri="{FF2B5EF4-FFF2-40B4-BE49-F238E27FC236}">
                <a16:creationId xmlns:a16="http://schemas.microsoft.com/office/drawing/2014/main" id="{6D4FADA5-A1D8-2648-9173-8A5AA310414D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99556" y="2323982"/>
            <a:ext cx="676209" cy="676209"/>
          </a:xfrm>
          <a:prstGeom prst="rect">
            <a:avLst/>
          </a:prstGeom>
        </p:spPr>
      </p:pic>
      <p:sp>
        <p:nvSpPr>
          <p:cNvPr id="5" name="Title 4">
            <a:extLst>
              <a:ext uri="{FF2B5EF4-FFF2-40B4-BE49-F238E27FC236}">
                <a16:creationId xmlns:a16="http://schemas.microsoft.com/office/drawing/2014/main" id="{AB4E5EC0-5AE4-D64D-A2A5-9C8CD35E12B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pc="-50" dirty="0">
                <a:latin typeface="Segoe UI Semibold (Headings)"/>
              </a:rPr>
              <a:t>Azure Migrate appliance</a:t>
            </a:r>
            <a:endParaRPr lang="en-US" dirty="0"/>
          </a:p>
        </p:txBody>
      </p:sp>
      <p:sp>
        <p:nvSpPr>
          <p:cNvPr id="2" name="bk object 17">
            <a:extLst>
              <a:ext uri="{FF2B5EF4-FFF2-40B4-BE49-F238E27FC236}">
                <a16:creationId xmlns:a16="http://schemas.microsoft.com/office/drawing/2014/main" id="{4315F02C-D338-4D01-BDE9-0FE5BA6D0C26}"/>
              </a:ext>
            </a:extLst>
          </p:cNvPr>
          <p:cNvSpPr/>
          <p:nvPr/>
        </p:nvSpPr>
        <p:spPr>
          <a:xfrm>
            <a:off x="0" y="6497955"/>
            <a:ext cx="12192000" cy="360045"/>
          </a:xfrm>
          <a:custGeom>
            <a:avLst/>
            <a:gdLst/>
            <a:ahLst/>
            <a:cxnLst/>
            <a:rect l="l" t="t" r="r" b="b"/>
            <a:pathLst>
              <a:path w="12434570" h="360045">
                <a:moveTo>
                  <a:pt x="0" y="359994"/>
                </a:moveTo>
                <a:lnTo>
                  <a:pt x="12434404" y="359994"/>
                </a:lnTo>
                <a:lnTo>
                  <a:pt x="12434404" y="0"/>
                </a:lnTo>
                <a:lnTo>
                  <a:pt x="0" y="0"/>
                </a:lnTo>
                <a:lnTo>
                  <a:pt x="0" y="359994"/>
                </a:lnTo>
                <a:close/>
              </a:path>
            </a:pathLst>
          </a:custGeom>
          <a:solidFill>
            <a:srgbClr val="007FBA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13019AC2-8784-4EA9-AB44-BE053834D805}"/>
              </a:ext>
            </a:extLst>
          </p:cNvPr>
          <p:cNvSpPr txBox="1"/>
          <p:nvPr/>
        </p:nvSpPr>
        <p:spPr>
          <a:xfrm>
            <a:off x="7278010" y="6591175"/>
            <a:ext cx="425867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100" b="0" i="0" kern="0" spc="-20" baseline="0" dirty="0">
                <a:solidFill>
                  <a:schemeClr val="bg1"/>
                </a:solidFill>
                <a:latin typeface="Segoe UI Semibold" charset="0"/>
              </a:rPr>
              <a:t>Microsoft Azure    </a:t>
            </a:r>
            <a:r>
              <a:rPr lang="en-US" sz="1100" b="0" i="0" kern="0" spc="-20" baseline="0" dirty="0">
                <a:solidFill>
                  <a:schemeClr val="bg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|  @</a:t>
            </a:r>
            <a:r>
              <a:rPr lang="en-US" sz="1100" b="0" i="0" kern="0" spc="-20" baseline="0" dirty="0" err="1">
                <a:solidFill>
                  <a:schemeClr val="bg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Techielass</a:t>
            </a:r>
            <a:endParaRPr lang="en-US" sz="1100" b="0" i="0" kern="0" spc="-20" baseline="0" dirty="0">
              <a:solidFill>
                <a:schemeClr val="bg1"/>
              </a:solidFill>
              <a:latin typeface="Segoe UI Semilight" panose="020B0402040204020203" pitchFamily="34" charset="0"/>
              <a:ea typeface="Segoe UI Semilight" charset="0"/>
              <a:cs typeface="Segoe UI Semilight" panose="020B04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2018958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>
                            <p:stCondLst>
                              <p:cond delay="500"/>
                            </p:stCondLst>
                            <p:childTnLst>
                              <p:par>
                                <p:cTn id="16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9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5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1000"/>
                            </p:stCondLst>
                            <p:childTnLst>
                              <p:par>
                                <p:cTn id="27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0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2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5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6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7" fill="hold">
                            <p:stCondLst>
                              <p:cond delay="1500"/>
                            </p:stCondLst>
                            <p:childTnLst>
                              <p:par>
                                <p:cTn id="38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1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1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2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3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10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6" dur="1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7" dur="1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animBg="1"/>
      <p:bldP spid="13" grpId="0" animBg="1"/>
      <p:bldP spid="17" grpId="0" animBg="1"/>
      <p:bldP spid="19" grpId="0" animBg="1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13">
            <a:extLst>
              <a:ext uri="{FF2B5EF4-FFF2-40B4-BE49-F238E27FC236}">
                <a16:creationId xmlns:a16="http://schemas.microsoft.com/office/drawing/2014/main" id="{E307D465-5D56-0B41-96C4-901FFC2422D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5995" y="433143"/>
            <a:ext cx="11303917" cy="813704"/>
          </a:xfrm>
        </p:spPr>
        <p:txBody>
          <a:bodyPr/>
          <a:lstStyle/>
          <a:p>
            <a:r>
              <a:rPr lang="en-US"/>
              <a:t>Discover: Capabilities</a:t>
            </a:r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F8FF8149-13BF-4ED2-84BD-E4FA985AC655}"/>
              </a:ext>
            </a:extLst>
          </p:cNvPr>
          <p:cNvSpPr/>
          <p:nvPr/>
        </p:nvSpPr>
        <p:spPr bwMode="auto">
          <a:xfrm>
            <a:off x="1993930" y="1986189"/>
            <a:ext cx="3169847" cy="482500"/>
          </a:xfrm>
          <a:prstGeom prst="rect">
            <a:avLst/>
          </a:prstGeom>
          <a:noFill/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896181" fontAlgn="base">
              <a:spcBef>
                <a:spcPts val="600"/>
              </a:spcBef>
              <a:spcAft>
                <a:spcPts val="1176"/>
              </a:spcAft>
              <a:defRPr/>
            </a:pPr>
            <a:r>
              <a:rPr lang="en-US" sz="2353" dirty="0">
                <a:ln w="3175">
                  <a:noFill/>
                </a:ln>
                <a:solidFill>
                  <a:srgbClr val="0078D4"/>
                </a:solidFill>
                <a:latin typeface="Segoe UI Semibold"/>
                <a:cs typeface="Segoe UI" pitchFamily="34" charset="0"/>
              </a:rPr>
              <a:t>Any platform</a:t>
            </a:r>
            <a:endParaRPr lang="en-US" sz="1568" dirty="0">
              <a:gradFill>
                <a:gsLst>
                  <a:gs pos="2917">
                    <a:srgbClr val="1A1A1A"/>
                  </a:gs>
                  <a:gs pos="30000">
                    <a:srgbClr val="1A1A1A"/>
                  </a:gs>
                </a:gsLst>
                <a:lin ang="5400000" scaled="0"/>
              </a:gradFill>
              <a:cs typeface="Segoe UI Semilight" panose="020B0402040204020203" pitchFamily="34" charset="0"/>
            </a:endParaRPr>
          </a:p>
          <a:p>
            <a:pPr defTabSz="914225">
              <a:spcAft>
                <a:spcPts val="588"/>
              </a:spcAft>
              <a:defRPr/>
            </a:pPr>
            <a:r>
              <a:rPr lang="en-US" sz="1568" dirty="0">
                <a:gradFill>
                  <a:gsLst>
                    <a:gs pos="2917">
                      <a:srgbClr val="1A1A1A"/>
                    </a:gs>
                    <a:gs pos="30000">
                      <a:srgbClr val="1A1A1A"/>
                    </a:gs>
                  </a:gsLst>
                  <a:lin ang="5400000" scaled="0"/>
                </a:gradFill>
                <a:cs typeface="Segoe UI Semilight" panose="020B0402040204020203" pitchFamily="34" charset="0"/>
              </a:rPr>
              <a:t>VMware, Hyper-V, physical servers, AWS, GCP</a:t>
            </a:r>
          </a:p>
          <a:p>
            <a:pPr defTabSz="914225">
              <a:spcAft>
                <a:spcPts val="588"/>
              </a:spcAft>
              <a:defRPr/>
            </a:pPr>
            <a:r>
              <a:rPr lang="en-US" sz="1568" dirty="0">
                <a:gradFill>
                  <a:gsLst>
                    <a:gs pos="2917">
                      <a:srgbClr val="1A1A1A"/>
                    </a:gs>
                    <a:gs pos="30000">
                      <a:srgbClr val="1A1A1A"/>
                    </a:gs>
                  </a:gsLst>
                  <a:lin ang="5400000" scaled="0"/>
                </a:gradFill>
                <a:cs typeface="Segoe UI Semilight" panose="020B0402040204020203" pitchFamily="34" charset="0"/>
              </a:rPr>
              <a:t>CMDB, CSV imports</a:t>
            </a:r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id="{9EF76B76-48E9-914F-9F0F-8D76FF60954D}"/>
              </a:ext>
            </a:extLst>
          </p:cNvPr>
          <p:cNvSpPr/>
          <p:nvPr/>
        </p:nvSpPr>
        <p:spPr bwMode="auto">
          <a:xfrm>
            <a:off x="7302403" y="1999875"/>
            <a:ext cx="3123810" cy="482500"/>
          </a:xfrm>
          <a:prstGeom prst="rect">
            <a:avLst/>
          </a:prstGeom>
          <a:noFill/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896181" fontAlgn="base">
              <a:spcBef>
                <a:spcPts val="600"/>
              </a:spcBef>
              <a:spcAft>
                <a:spcPts val="1176"/>
              </a:spcAft>
              <a:defRPr/>
            </a:pPr>
            <a:r>
              <a:rPr lang="en-US" sz="2353" dirty="0">
                <a:ln w="3175">
                  <a:noFill/>
                </a:ln>
                <a:solidFill>
                  <a:srgbClr val="0078D4"/>
                </a:solidFill>
                <a:latin typeface="Segoe UI Semibold"/>
                <a:cs typeface="Segoe UI" pitchFamily="34" charset="0"/>
              </a:rPr>
              <a:t>Agentless discovery</a:t>
            </a:r>
          </a:p>
          <a:p>
            <a:pPr defTabSz="914225">
              <a:spcAft>
                <a:spcPts val="588"/>
              </a:spcAft>
              <a:defRPr/>
            </a:pPr>
            <a:r>
              <a:rPr lang="en-US" sz="1568" dirty="0">
                <a:gradFill>
                  <a:gsLst>
                    <a:gs pos="2917">
                      <a:srgbClr val="1A1A1A"/>
                    </a:gs>
                    <a:gs pos="30000">
                      <a:srgbClr val="1A1A1A"/>
                    </a:gs>
                  </a:gsLst>
                  <a:lin ang="5400000" scaled="0"/>
                </a:gradFill>
                <a:cs typeface="Segoe UI Semilight" panose="020B0402040204020203" pitchFamily="34" charset="0"/>
              </a:rPr>
              <a:t>For all hypervisors, bare-metal servers and servers on other clouds</a:t>
            </a:r>
          </a:p>
        </p:txBody>
      </p:sp>
      <p:sp>
        <p:nvSpPr>
          <p:cNvPr id="65" name="Rectangle 64">
            <a:extLst>
              <a:ext uri="{FF2B5EF4-FFF2-40B4-BE49-F238E27FC236}">
                <a16:creationId xmlns:a16="http://schemas.microsoft.com/office/drawing/2014/main" id="{663273C7-603E-FF44-BB8E-02DD7EBA60AA}"/>
              </a:ext>
            </a:extLst>
          </p:cNvPr>
          <p:cNvSpPr/>
          <p:nvPr/>
        </p:nvSpPr>
        <p:spPr bwMode="auto">
          <a:xfrm>
            <a:off x="1993930" y="4317283"/>
            <a:ext cx="3333163" cy="482500"/>
          </a:xfrm>
          <a:prstGeom prst="rect">
            <a:avLst/>
          </a:prstGeom>
          <a:noFill/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896181" fontAlgn="base">
              <a:spcBef>
                <a:spcPts val="600"/>
              </a:spcBef>
              <a:spcAft>
                <a:spcPts val="1176"/>
              </a:spcAft>
              <a:defRPr/>
            </a:pPr>
            <a:r>
              <a:rPr lang="en-US" sz="2353" dirty="0">
                <a:ln w="3175">
                  <a:noFill/>
                </a:ln>
                <a:solidFill>
                  <a:srgbClr val="0078D4"/>
                </a:solidFill>
                <a:latin typeface="Segoe UI Semibold"/>
                <a:cs typeface="Segoe UI" pitchFamily="34" charset="0"/>
              </a:rPr>
              <a:t>Inventory applications</a:t>
            </a:r>
          </a:p>
          <a:p>
            <a:pPr defTabSz="914225">
              <a:spcAft>
                <a:spcPts val="588"/>
              </a:spcAft>
              <a:defRPr/>
            </a:pPr>
            <a:r>
              <a:rPr lang="en-US" sz="1568" dirty="0">
                <a:gradFill>
                  <a:gsLst>
                    <a:gs pos="2917">
                      <a:srgbClr val="1A1A1A"/>
                    </a:gs>
                    <a:gs pos="30000">
                      <a:srgbClr val="1A1A1A"/>
                    </a:gs>
                  </a:gsLst>
                  <a:lin ang="5400000" scaled="0"/>
                </a:gradFill>
                <a:cs typeface="Segoe UI Semilight" panose="020B0402040204020203" pitchFamily="34" charset="0"/>
              </a:rPr>
              <a:t>And roles enabled on servers</a:t>
            </a:r>
            <a:br>
              <a:rPr lang="en-US" sz="1568" dirty="0">
                <a:gradFill>
                  <a:gsLst>
                    <a:gs pos="2917">
                      <a:srgbClr val="1A1A1A"/>
                    </a:gs>
                    <a:gs pos="30000">
                      <a:srgbClr val="1A1A1A"/>
                    </a:gs>
                  </a:gsLst>
                  <a:lin ang="5400000" scaled="0"/>
                </a:gradFill>
                <a:cs typeface="Segoe UI Semilight" panose="020B0402040204020203" pitchFamily="34" charset="0"/>
              </a:rPr>
            </a:br>
            <a:r>
              <a:rPr lang="en-US" sz="1568" dirty="0">
                <a:gradFill>
                  <a:gsLst>
                    <a:gs pos="2917">
                      <a:srgbClr val="1A1A1A"/>
                    </a:gs>
                    <a:gs pos="30000">
                      <a:srgbClr val="1A1A1A"/>
                    </a:gs>
                  </a:gsLst>
                  <a:lin ang="5400000" scaled="0"/>
                </a:gradFill>
                <a:cs typeface="Segoe UI Semilight" panose="020B0402040204020203" pitchFamily="34" charset="0"/>
              </a:rPr>
              <a:t>(only for VMware) </a:t>
            </a:r>
          </a:p>
        </p:txBody>
      </p:sp>
      <p:sp>
        <p:nvSpPr>
          <p:cNvPr id="66" name="Rectangle 65">
            <a:extLst>
              <a:ext uri="{FF2B5EF4-FFF2-40B4-BE49-F238E27FC236}">
                <a16:creationId xmlns:a16="http://schemas.microsoft.com/office/drawing/2014/main" id="{9BB2480B-9F64-E848-A9D5-F2D9F8D096E5}"/>
              </a:ext>
            </a:extLst>
          </p:cNvPr>
          <p:cNvSpPr/>
          <p:nvPr/>
        </p:nvSpPr>
        <p:spPr bwMode="auto">
          <a:xfrm>
            <a:off x="7302403" y="4317283"/>
            <a:ext cx="3364894" cy="482500"/>
          </a:xfrm>
          <a:prstGeom prst="rect">
            <a:avLst/>
          </a:prstGeom>
          <a:noFill/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896181" fontAlgn="base">
              <a:spcBef>
                <a:spcPts val="600"/>
              </a:spcBef>
              <a:spcAft>
                <a:spcPts val="1176"/>
              </a:spcAft>
              <a:defRPr/>
            </a:pPr>
            <a:r>
              <a:rPr lang="en-US" sz="2353" dirty="0">
                <a:ln w="3175">
                  <a:noFill/>
                </a:ln>
                <a:solidFill>
                  <a:srgbClr val="0078D4"/>
                </a:solidFill>
                <a:latin typeface="Segoe UI Semibold"/>
                <a:cs typeface="Segoe UI" pitchFamily="34" charset="0"/>
              </a:rPr>
              <a:t>Visualize dependencies</a:t>
            </a:r>
          </a:p>
          <a:p>
            <a:pPr defTabSz="914225">
              <a:spcAft>
                <a:spcPts val="588"/>
              </a:spcAft>
              <a:defRPr/>
            </a:pPr>
            <a:r>
              <a:rPr lang="en-US" sz="1568" dirty="0">
                <a:gradFill>
                  <a:gsLst>
                    <a:gs pos="2917">
                      <a:srgbClr val="1A1A1A"/>
                    </a:gs>
                    <a:gs pos="30000">
                      <a:srgbClr val="1A1A1A"/>
                    </a:gs>
                  </a:gsLst>
                  <a:lin ang="5400000" scaled="0"/>
                </a:gradFill>
                <a:cs typeface="Segoe UI Semilight" panose="020B0402040204020203" pitchFamily="34" charset="0"/>
              </a:rPr>
              <a:t>Across application layers or across servers (agentless for VMware) </a:t>
            </a:r>
          </a:p>
        </p:txBody>
      </p:sp>
      <p:cxnSp>
        <p:nvCxnSpPr>
          <p:cNvPr id="68" name="Straight Connector 67">
            <a:extLst>
              <a:ext uri="{FF2B5EF4-FFF2-40B4-BE49-F238E27FC236}">
                <a16:creationId xmlns:a16="http://schemas.microsoft.com/office/drawing/2014/main" id="{167523AC-446B-534E-90C1-470A912028EB}"/>
              </a:ext>
            </a:extLst>
          </p:cNvPr>
          <p:cNvCxnSpPr>
            <a:cxnSpLocks/>
          </p:cNvCxnSpPr>
          <p:nvPr/>
        </p:nvCxnSpPr>
        <p:spPr>
          <a:xfrm>
            <a:off x="1703241" y="1986189"/>
            <a:ext cx="0" cy="1574964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" name="Straight Connector 69">
            <a:extLst>
              <a:ext uri="{FF2B5EF4-FFF2-40B4-BE49-F238E27FC236}">
                <a16:creationId xmlns:a16="http://schemas.microsoft.com/office/drawing/2014/main" id="{42337B59-13F4-E449-B0D4-EFB3F629EB3D}"/>
              </a:ext>
            </a:extLst>
          </p:cNvPr>
          <p:cNvCxnSpPr>
            <a:cxnSpLocks/>
          </p:cNvCxnSpPr>
          <p:nvPr/>
        </p:nvCxnSpPr>
        <p:spPr>
          <a:xfrm>
            <a:off x="1703241" y="4210230"/>
            <a:ext cx="0" cy="1574964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Straight Connector 70">
            <a:extLst>
              <a:ext uri="{FF2B5EF4-FFF2-40B4-BE49-F238E27FC236}">
                <a16:creationId xmlns:a16="http://schemas.microsoft.com/office/drawing/2014/main" id="{3C356368-56CE-4046-A0D4-ECFA86F70BCE}"/>
              </a:ext>
            </a:extLst>
          </p:cNvPr>
          <p:cNvCxnSpPr>
            <a:cxnSpLocks/>
          </p:cNvCxnSpPr>
          <p:nvPr/>
        </p:nvCxnSpPr>
        <p:spPr>
          <a:xfrm>
            <a:off x="6965689" y="1986189"/>
            <a:ext cx="0" cy="1574964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" name="Straight Connector 71">
            <a:extLst>
              <a:ext uri="{FF2B5EF4-FFF2-40B4-BE49-F238E27FC236}">
                <a16:creationId xmlns:a16="http://schemas.microsoft.com/office/drawing/2014/main" id="{D08208BA-CD78-1145-AA95-CAAAAF367D84}"/>
              </a:ext>
            </a:extLst>
          </p:cNvPr>
          <p:cNvCxnSpPr>
            <a:cxnSpLocks/>
          </p:cNvCxnSpPr>
          <p:nvPr/>
        </p:nvCxnSpPr>
        <p:spPr>
          <a:xfrm>
            <a:off x="6965689" y="4210230"/>
            <a:ext cx="0" cy="1574964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5" name="Picture 74">
            <a:extLst>
              <a:ext uri="{FF2B5EF4-FFF2-40B4-BE49-F238E27FC236}">
                <a16:creationId xmlns:a16="http://schemas.microsoft.com/office/drawing/2014/main" id="{4B7CD8DE-DF02-A143-A939-0AA5E1666884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0860" y="4353001"/>
            <a:ext cx="582676" cy="582676"/>
          </a:xfrm>
          <a:prstGeom prst="rect">
            <a:avLst/>
          </a:prstGeom>
        </p:spPr>
      </p:pic>
      <p:pic>
        <p:nvPicPr>
          <p:cNvPr id="76" name="Picture 75">
            <a:extLst>
              <a:ext uri="{FF2B5EF4-FFF2-40B4-BE49-F238E27FC236}">
                <a16:creationId xmlns:a16="http://schemas.microsoft.com/office/drawing/2014/main" id="{6CE8F6CD-CEA3-F64A-9AE9-4BFED1B45469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140770" y="1986188"/>
            <a:ext cx="573712" cy="573712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809C547A-663B-CA46-BE67-635066FBCE4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29878" y="2022500"/>
            <a:ext cx="582676" cy="437247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6C378FB2-F084-1B41-BD2F-D2DF202997CD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131806" y="4362535"/>
            <a:ext cx="582676" cy="437247"/>
          </a:xfrm>
          <a:prstGeom prst="rect">
            <a:avLst/>
          </a:prstGeom>
        </p:spPr>
      </p:pic>
      <p:sp>
        <p:nvSpPr>
          <p:cNvPr id="2" name="bk object 17">
            <a:extLst>
              <a:ext uri="{FF2B5EF4-FFF2-40B4-BE49-F238E27FC236}">
                <a16:creationId xmlns:a16="http://schemas.microsoft.com/office/drawing/2014/main" id="{097D22BA-71DE-49BF-B8FF-64DC236AA324}"/>
              </a:ext>
            </a:extLst>
          </p:cNvPr>
          <p:cNvSpPr/>
          <p:nvPr/>
        </p:nvSpPr>
        <p:spPr>
          <a:xfrm>
            <a:off x="0" y="6497955"/>
            <a:ext cx="12192000" cy="360045"/>
          </a:xfrm>
          <a:custGeom>
            <a:avLst/>
            <a:gdLst/>
            <a:ahLst/>
            <a:cxnLst/>
            <a:rect l="l" t="t" r="r" b="b"/>
            <a:pathLst>
              <a:path w="12434570" h="360045">
                <a:moveTo>
                  <a:pt x="0" y="359994"/>
                </a:moveTo>
                <a:lnTo>
                  <a:pt x="12434404" y="359994"/>
                </a:lnTo>
                <a:lnTo>
                  <a:pt x="12434404" y="0"/>
                </a:lnTo>
                <a:lnTo>
                  <a:pt x="0" y="0"/>
                </a:lnTo>
                <a:lnTo>
                  <a:pt x="0" y="359994"/>
                </a:lnTo>
                <a:close/>
              </a:path>
            </a:pathLst>
          </a:custGeom>
          <a:solidFill>
            <a:srgbClr val="007FBA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1FE6676F-0367-45CC-86F9-CEAC13AA484D}"/>
              </a:ext>
            </a:extLst>
          </p:cNvPr>
          <p:cNvSpPr txBox="1"/>
          <p:nvPr/>
        </p:nvSpPr>
        <p:spPr>
          <a:xfrm>
            <a:off x="7278010" y="6591175"/>
            <a:ext cx="425867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100" b="0" i="0" kern="0" spc="-20" baseline="0" dirty="0">
                <a:solidFill>
                  <a:schemeClr val="bg1"/>
                </a:solidFill>
                <a:latin typeface="Segoe UI Semibold" charset="0"/>
              </a:rPr>
              <a:t>Microsoft Azure    </a:t>
            </a:r>
            <a:r>
              <a:rPr lang="en-US" sz="1100" b="0" i="0" kern="0" spc="-20" baseline="0" dirty="0">
                <a:solidFill>
                  <a:schemeClr val="bg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|  @</a:t>
            </a:r>
            <a:r>
              <a:rPr lang="en-US" sz="1100" b="0" i="0" kern="0" spc="-20" baseline="0" dirty="0" err="1">
                <a:solidFill>
                  <a:schemeClr val="bg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Techielass</a:t>
            </a:r>
            <a:endParaRPr lang="en-US" sz="1100" b="0" i="0" kern="0" spc="-20" baseline="0" dirty="0">
              <a:solidFill>
                <a:schemeClr val="bg1"/>
              </a:solidFill>
              <a:latin typeface="Segoe UI Semilight" panose="020B0402040204020203" pitchFamily="34" charset="0"/>
              <a:ea typeface="Segoe UI Semilight" charset="0"/>
              <a:cs typeface="Segoe UI Semilight" panose="020B04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8072833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5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5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>
                            <p:stCondLst>
                              <p:cond delay="500"/>
                            </p:stCondLst>
                            <p:childTnLst>
                              <p:par>
                                <p:cTn id="16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7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9" dur="500" fill="hold"/>
                                        <p:tgtEl>
                                          <p:spTgt spid="7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500" fill="hold"/>
                                        <p:tgtEl>
                                          <p:spTgt spid="7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6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6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5" dur="500" fill="hold"/>
                                        <p:tgtEl>
                                          <p:spTgt spid="6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1000"/>
                            </p:stCondLst>
                            <p:childTnLst>
                              <p:par>
                                <p:cTn id="27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7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0" dur="500" fill="hold"/>
                                        <p:tgtEl>
                                          <p:spTgt spid="7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7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2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6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5" dur="500" fill="hold"/>
                                        <p:tgtEl>
                                          <p:spTgt spid="6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6" dur="500" fill="hold"/>
                                        <p:tgtEl>
                                          <p:spTgt spid="6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7" fill="hold">
                            <p:stCondLst>
                              <p:cond delay="1500"/>
                            </p:stCondLst>
                            <p:childTnLst>
                              <p:par>
                                <p:cTn id="38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1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2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3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500"/>
                                        <p:tgtEl>
                                          <p:spTgt spid="6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6" dur="500" fill="hold"/>
                                        <p:tgtEl>
                                          <p:spTgt spid="6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7" dur="500" fill="hold"/>
                                        <p:tgtEl>
                                          <p:spTgt spid="6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5" grpId="0"/>
      <p:bldP spid="64" grpId="0"/>
      <p:bldP spid="65" grpId="0"/>
      <p:bldP spid="66" grpId="0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33">
            <a:extLst>
              <a:ext uri="{FF2B5EF4-FFF2-40B4-BE49-F238E27FC236}">
                <a16:creationId xmlns:a16="http://schemas.microsoft.com/office/drawing/2014/main" id="{78B41730-BC36-0D47-B687-A2C8AEA843C1}"/>
              </a:ext>
            </a:extLst>
          </p:cNvPr>
          <p:cNvSpPr/>
          <p:nvPr/>
        </p:nvSpPr>
        <p:spPr bwMode="auto">
          <a:xfrm>
            <a:off x="8184555" y="1493957"/>
            <a:ext cx="3598144" cy="2564771"/>
          </a:xfrm>
          <a:prstGeom prst="rect">
            <a:avLst/>
          </a:prstGeom>
          <a:solidFill>
            <a:schemeClr val="tx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C55EB6F5-6731-5A45-899D-DC8DA89F8EEF}"/>
              </a:ext>
            </a:extLst>
          </p:cNvPr>
          <p:cNvSpPr/>
          <p:nvPr/>
        </p:nvSpPr>
        <p:spPr bwMode="auto">
          <a:xfrm>
            <a:off x="8184555" y="4058728"/>
            <a:ext cx="3598144" cy="12885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9770852C-8763-164E-AB54-C3A06BACC95B}"/>
              </a:ext>
            </a:extLst>
          </p:cNvPr>
          <p:cNvSpPr/>
          <p:nvPr/>
        </p:nvSpPr>
        <p:spPr bwMode="auto">
          <a:xfrm>
            <a:off x="4320275" y="1493957"/>
            <a:ext cx="3598144" cy="2564771"/>
          </a:xfrm>
          <a:prstGeom prst="rect">
            <a:avLst/>
          </a:prstGeom>
          <a:solidFill>
            <a:schemeClr val="tx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53641312-E6A1-6D4F-B91E-CC670D18B489}"/>
              </a:ext>
            </a:extLst>
          </p:cNvPr>
          <p:cNvSpPr/>
          <p:nvPr/>
        </p:nvSpPr>
        <p:spPr bwMode="auto">
          <a:xfrm>
            <a:off x="4320275" y="4058728"/>
            <a:ext cx="3598144" cy="12885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44B0308D-BF2B-CC4E-BC1A-BF030B727FF6}"/>
              </a:ext>
            </a:extLst>
          </p:cNvPr>
          <p:cNvSpPr/>
          <p:nvPr/>
        </p:nvSpPr>
        <p:spPr bwMode="auto">
          <a:xfrm>
            <a:off x="455995" y="1493957"/>
            <a:ext cx="3598144" cy="2564771"/>
          </a:xfrm>
          <a:prstGeom prst="rect">
            <a:avLst/>
          </a:prstGeom>
          <a:solidFill>
            <a:schemeClr val="tx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7214633E-E3F7-6946-9B5B-86A35DE96258}"/>
              </a:ext>
            </a:extLst>
          </p:cNvPr>
          <p:cNvSpPr/>
          <p:nvPr/>
        </p:nvSpPr>
        <p:spPr bwMode="auto">
          <a:xfrm>
            <a:off x="455995" y="4058728"/>
            <a:ext cx="3598144" cy="12885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6" name="Picture 4">
            <a:extLst>
              <a:ext uri="{FF2B5EF4-FFF2-40B4-BE49-F238E27FC236}">
                <a16:creationId xmlns:a16="http://schemas.microsoft.com/office/drawing/2014/main" id="{76DC9720-EF61-4452-AF3A-5F9585C1F6D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/>
          <a:srcRect/>
          <a:stretch/>
        </p:blipFill>
        <p:spPr bwMode="auto">
          <a:xfrm>
            <a:off x="4320275" y="5683941"/>
            <a:ext cx="1577192" cy="675938"/>
          </a:xfrm>
          <a:prstGeom prst="rect">
            <a:avLst/>
          </a:prstGeom>
          <a:noFill/>
          <a:ln>
            <a:solidFill>
              <a:schemeClr val="bg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2ECC1F07-44C0-4762-8984-A5CBF61BE7EA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15975" y="5806630"/>
            <a:ext cx="553249" cy="553249"/>
          </a:xfrm>
          <a:prstGeom prst="rect">
            <a:avLst/>
          </a:prstGeom>
        </p:spPr>
      </p:pic>
      <p:pic>
        <p:nvPicPr>
          <p:cNvPr id="16" name="Picture 6" descr="Image result for aws transparent icon">
            <a:extLst>
              <a:ext uri="{FF2B5EF4-FFF2-40B4-BE49-F238E27FC236}">
                <a16:creationId xmlns:a16="http://schemas.microsoft.com/office/drawing/2014/main" id="{FF5A6098-924E-4C6C-B8A1-8068A4B1248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028066" y="5895594"/>
            <a:ext cx="960180" cy="3753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" name="Picture 4" descr="Image result for google cloud logo png">
            <a:extLst>
              <a:ext uri="{FF2B5EF4-FFF2-40B4-BE49-F238E27FC236}">
                <a16:creationId xmlns:a16="http://schemas.microsoft.com/office/drawing/2014/main" id="{F5239517-6B3D-42EE-83A4-9DD8CB11FF6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324079" y="5972655"/>
            <a:ext cx="1435272" cy="2211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Picture 4" descr="Image result for vmware icon transparent">
            <a:extLst>
              <a:ext uri="{FF2B5EF4-FFF2-40B4-BE49-F238E27FC236}">
                <a16:creationId xmlns:a16="http://schemas.microsoft.com/office/drawing/2014/main" id="{665FE3FC-A2E6-473C-B03C-7F448C793EF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55995" y="5960105"/>
            <a:ext cx="1510827" cy="2462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Rectangle 18">
            <a:extLst>
              <a:ext uri="{FF2B5EF4-FFF2-40B4-BE49-F238E27FC236}">
                <a16:creationId xmlns:a16="http://schemas.microsoft.com/office/drawing/2014/main" id="{D5FB4310-DA62-4293-B64D-CB15960B7195}"/>
              </a:ext>
            </a:extLst>
          </p:cNvPr>
          <p:cNvSpPr/>
          <p:nvPr/>
        </p:nvSpPr>
        <p:spPr>
          <a:xfrm>
            <a:off x="668157" y="1722725"/>
            <a:ext cx="1656598" cy="452590"/>
          </a:xfrm>
          <a:prstGeom prst="rect">
            <a:avLst/>
          </a:prstGeom>
          <a:noFill/>
          <a:ln>
            <a:noFill/>
            <a:prstDash val="dash"/>
          </a:ln>
        </p:spPr>
        <p:txBody>
          <a:bodyPr wrap="square">
            <a:spAutoFit/>
          </a:bodyPr>
          <a:lstStyle/>
          <a:p>
            <a:pPr defTabSz="896181">
              <a:spcAft>
                <a:spcPts val="1176"/>
              </a:spcAft>
              <a:defRPr/>
            </a:pPr>
            <a:r>
              <a:rPr lang="en-US" sz="2353" dirty="0">
                <a:ln w="3175">
                  <a:noFill/>
                </a:ln>
                <a:solidFill>
                  <a:schemeClr val="accent5"/>
                </a:solidFill>
                <a:latin typeface="+mj-lt"/>
                <a:cs typeface="Segoe UI" pitchFamily="34" charset="0"/>
              </a:rPr>
              <a:t>VMware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486FC5D4-4607-43D6-8719-D557858A304A}"/>
              </a:ext>
            </a:extLst>
          </p:cNvPr>
          <p:cNvSpPr/>
          <p:nvPr/>
        </p:nvSpPr>
        <p:spPr>
          <a:xfrm>
            <a:off x="4502015" y="1714456"/>
            <a:ext cx="1605066" cy="452590"/>
          </a:xfrm>
          <a:prstGeom prst="rect">
            <a:avLst/>
          </a:prstGeom>
          <a:noFill/>
          <a:ln>
            <a:noFill/>
            <a:prstDash val="dash"/>
          </a:ln>
        </p:spPr>
        <p:txBody>
          <a:bodyPr wrap="square">
            <a:spAutoFit/>
          </a:bodyPr>
          <a:lstStyle/>
          <a:p>
            <a:pPr defTabSz="896181">
              <a:spcAft>
                <a:spcPts val="1176"/>
              </a:spcAft>
            </a:pPr>
            <a:r>
              <a:rPr lang="en-US" sz="2353" dirty="0">
                <a:ln w="3175">
                  <a:noFill/>
                </a:ln>
                <a:solidFill>
                  <a:schemeClr val="accent5"/>
                </a:solidFill>
                <a:latin typeface="+mj-lt"/>
                <a:cs typeface="Segoe UI" pitchFamily="34" charset="0"/>
              </a:rPr>
              <a:t>Hyper-V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0C9126D5-56C6-471B-B2C9-AC4E9023C27E}"/>
              </a:ext>
            </a:extLst>
          </p:cNvPr>
          <p:cNvSpPr/>
          <p:nvPr/>
        </p:nvSpPr>
        <p:spPr>
          <a:xfrm>
            <a:off x="8403837" y="1726235"/>
            <a:ext cx="3131383" cy="452590"/>
          </a:xfrm>
          <a:prstGeom prst="rect">
            <a:avLst/>
          </a:prstGeom>
          <a:noFill/>
          <a:ln>
            <a:noFill/>
            <a:prstDash val="dash"/>
          </a:ln>
        </p:spPr>
        <p:txBody>
          <a:bodyPr wrap="square">
            <a:spAutoFit/>
          </a:bodyPr>
          <a:lstStyle/>
          <a:p>
            <a:pPr defTabSz="896181">
              <a:spcAft>
                <a:spcPts val="1176"/>
              </a:spcAft>
            </a:pPr>
            <a:r>
              <a:rPr lang="en-US" sz="2353" dirty="0">
                <a:ln w="3175">
                  <a:noFill/>
                </a:ln>
                <a:solidFill>
                  <a:schemeClr val="accent5"/>
                </a:solidFill>
                <a:latin typeface="+mj-lt"/>
                <a:cs typeface="Segoe UI" pitchFamily="34" charset="0"/>
              </a:rPr>
              <a:t>Physical/other cloud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8A65B892-0FC9-41B9-926D-344DB6DE5C0C}"/>
              </a:ext>
            </a:extLst>
          </p:cNvPr>
          <p:cNvSpPr txBox="1"/>
          <p:nvPr/>
        </p:nvSpPr>
        <p:spPr>
          <a:xfrm>
            <a:off x="668157" y="2251016"/>
            <a:ext cx="3117455" cy="54794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896181"/>
            <a:r>
              <a:rPr lang="en-US" sz="1600" b="1" dirty="0">
                <a:solidFill>
                  <a:schemeClr val="bg2"/>
                </a:solidFill>
                <a:cs typeface="Segoe UI Semilight" panose="020B0402040204020203" pitchFamily="34" charset="0"/>
              </a:rPr>
              <a:t>Host requirements </a:t>
            </a:r>
          </a:p>
          <a:p>
            <a:pPr marL="224097" indent="-224097" defTabSz="914225">
              <a:buFont typeface="Arial" panose="020B0604020202020204" pitchFamily="34" charset="0"/>
              <a:buChar char="•"/>
              <a:defRPr/>
            </a:pPr>
            <a:r>
              <a:rPr lang="en-US" sz="1372" dirty="0" err="1">
                <a:solidFill>
                  <a:schemeClr val="bg2"/>
                </a:solidFill>
                <a:cs typeface="Segoe UI Semilight" panose="020B0402040204020203" pitchFamily="34" charset="0"/>
              </a:rPr>
              <a:t>ESXi</a:t>
            </a:r>
            <a:r>
              <a:rPr lang="en-US" sz="1372" dirty="0">
                <a:solidFill>
                  <a:schemeClr val="bg2"/>
                </a:solidFill>
                <a:cs typeface="Segoe UI Semilight" panose="020B0402040204020203" pitchFamily="34" charset="0"/>
              </a:rPr>
              <a:t> hosts version (5.5 or later)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0E4D601D-344A-4501-B036-F9292899D68E}"/>
              </a:ext>
            </a:extLst>
          </p:cNvPr>
          <p:cNvSpPr txBox="1"/>
          <p:nvPr/>
        </p:nvSpPr>
        <p:spPr>
          <a:xfrm>
            <a:off x="668158" y="2968539"/>
            <a:ext cx="2762544" cy="9703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896181"/>
            <a:r>
              <a:rPr lang="en-US" sz="1600" b="1" dirty="0">
                <a:solidFill>
                  <a:schemeClr val="bg2"/>
                </a:solidFill>
                <a:cs typeface="Segoe UI Semilight" panose="020B0402040204020203" pitchFamily="34" charset="0"/>
              </a:rPr>
              <a:t>vCenter requirements</a:t>
            </a:r>
          </a:p>
          <a:p>
            <a:pPr marL="224097" indent="-224097" defTabSz="914225">
              <a:buFont typeface="Arial" panose="020B0604020202020204" pitchFamily="34" charset="0"/>
              <a:buChar char="•"/>
              <a:defRPr/>
            </a:pPr>
            <a:r>
              <a:rPr lang="en-US" sz="1372" dirty="0">
                <a:solidFill>
                  <a:schemeClr val="bg2"/>
                </a:solidFill>
                <a:cs typeface="Segoe UI Semilight" panose="020B0402040204020203" pitchFamily="34" charset="0"/>
              </a:rPr>
              <a:t>vCenter Server version </a:t>
            </a:r>
            <a:br>
              <a:rPr lang="en-US" sz="1372" dirty="0">
                <a:solidFill>
                  <a:schemeClr val="bg2"/>
                </a:solidFill>
                <a:cs typeface="Segoe UI Semilight" panose="020B0402040204020203" pitchFamily="34" charset="0"/>
              </a:rPr>
            </a:br>
            <a:r>
              <a:rPr lang="en-US" sz="1372" dirty="0">
                <a:solidFill>
                  <a:schemeClr val="bg2"/>
                </a:solidFill>
                <a:cs typeface="Segoe UI Semilight" panose="020B0402040204020203" pitchFamily="34" charset="0"/>
              </a:rPr>
              <a:t>(5.5, 6, 6.5, 6.7, 7) </a:t>
            </a:r>
          </a:p>
          <a:p>
            <a:pPr marL="224097" indent="-224097" defTabSz="914225">
              <a:buFont typeface="Arial" panose="020B0604020202020204" pitchFamily="34" charset="0"/>
              <a:buChar char="•"/>
              <a:defRPr/>
            </a:pPr>
            <a:r>
              <a:rPr lang="en-US" sz="1372" dirty="0">
                <a:solidFill>
                  <a:schemeClr val="bg2"/>
                </a:solidFill>
                <a:cs typeface="Segoe UI Semilight" panose="020B0402040204020203" pitchFamily="34" charset="0"/>
              </a:rPr>
              <a:t>Read-only account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73DCC50E-ED1A-4D54-8EB4-1CA16C066D38}"/>
              </a:ext>
            </a:extLst>
          </p:cNvPr>
          <p:cNvSpPr txBox="1"/>
          <p:nvPr/>
        </p:nvSpPr>
        <p:spPr>
          <a:xfrm>
            <a:off x="666188" y="4228301"/>
            <a:ext cx="2762544" cy="1247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896181"/>
            <a:r>
              <a:rPr lang="en-US" sz="1600" b="1" dirty="0">
                <a:gradFill>
                  <a:gsLst>
                    <a:gs pos="2917">
                      <a:srgbClr val="1A1A1A"/>
                    </a:gs>
                    <a:gs pos="30000">
                      <a:srgbClr val="1A1A1A"/>
                    </a:gs>
                  </a:gsLst>
                  <a:lin ang="5400000" scaled="0"/>
                </a:gradFill>
                <a:cs typeface="Segoe UI Semilight" panose="020B0402040204020203" pitchFamily="34" charset="0"/>
              </a:rPr>
              <a:t>Supported VMs </a:t>
            </a:r>
          </a:p>
          <a:p>
            <a:pPr marL="224097" indent="-224097" defTabSz="914225">
              <a:buFont typeface="Arial" panose="020B0604020202020204" pitchFamily="34" charset="0"/>
              <a:buChar char="•"/>
              <a:defRPr/>
            </a:pPr>
            <a:r>
              <a:rPr lang="en-US" sz="1372" dirty="0">
                <a:gradFill>
                  <a:gsLst>
                    <a:gs pos="2917">
                      <a:srgbClr val="1A1A1A"/>
                    </a:gs>
                    <a:gs pos="30000">
                      <a:srgbClr val="1A1A1A"/>
                    </a:gs>
                  </a:gsLst>
                  <a:lin ang="5400000" scaled="0"/>
                </a:gradFill>
                <a:cs typeface="Segoe UI Semilight" panose="020B0402040204020203" pitchFamily="34" charset="0"/>
              </a:rPr>
              <a:t>All operating systems</a:t>
            </a:r>
          </a:p>
          <a:p>
            <a:pPr marL="224097" indent="-224097" defTabSz="914225">
              <a:buFont typeface="Arial" panose="020B0604020202020204" pitchFamily="34" charset="0"/>
              <a:buChar char="•"/>
              <a:defRPr/>
            </a:pPr>
            <a:r>
              <a:rPr lang="en-US" sz="1372" dirty="0">
                <a:gradFill>
                  <a:gsLst>
                    <a:gs pos="2917">
                      <a:srgbClr val="1A1A1A"/>
                    </a:gs>
                    <a:gs pos="30000">
                      <a:srgbClr val="1A1A1A"/>
                    </a:gs>
                  </a:gsLst>
                  <a:lin ang="5400000" scaled="0"/>
                </a:gradFill>
                <a:cs typeface="Segoe UI Semilight" panose="020B0402040204020203" pitchFamily="34" charset="0"/>
              </a:rPr>
              <a:t>Disks attached to SCSI, IDE, SATA controllers</a:t>
            </a:r>
          </a:p>
          <a:p>
            <a:pPr defTabSz="896181"/>
            <a:endParaRPr lang="en-US" dirty="0">
              <a:gradFill>
                <a:gsLst>
                  <a:gs pos="2917">
                    <a:srgbClr val="1A1A1A"/>
                  </a:gs>
                  <a:gs pos="30000">
                    <a:srgbClr val="1A1A1A"/>
                  </a:gs>
                </a:gsLst>
                <a:lin ang="5400000" scaled="0"/>
              </a:gradFill>
              <a:latin typeface="Segoe UI"/>
              <a:cs typeface="Segoe UI Semilight" panose="020B0402040204020203" pitchFamily="34" charset="0"/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5CC5DD8D-432D-42DA-95D4-C7EF2E80CE87}"/>
              </a:ext>
            </a:extLst>
          </p:cNvPr>
          <p:cNvSpPr txBox="1"/>
          <p:nvPr/>
        </p:nvSpPr>
        <p:spPr>
          <a:xfrm>
            <a:off x="4533567" y="2251017"/>
            <a:ext cx="3081551" cy="9703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896181">
              <a:defRPr/>
            </a:pPr>
            <a:r>
              <a:rPr lang="en-US" sz="1600" b="1" dirty="0">
                <a:solidFill>
                  <a:schemeClr val="bg2"/>
                </a:solidFill>
                <a:cs typeface="Segoe UI Semilight" panose="020B0402040204020203" pitchFamily="34" charset="0"/>
              </a:rPr>
              <a:t>Host requirements </a:t>
            </a:r>
          </a:p>
          <a:p>
            <a:pPr marL="336080" indent="-336080" defTabSz="896181">
              <a:buFont typeface="Arial" panose="020B0604020202020204" pitchFamily="34" charset="0"/>
              <a:buChar char="•"/>
            </a:pPr>
            <a:r>
              <a:rPr lang="en-US" sz="1372" dirty="0">
                <a:solidFill>
                  <a:schemeClr val="bg2"/>
                </a:solidFill>
                <a:cs typeface="Segoe UI Semilight" panose="020B0402040204020203" pitchFamily="34" charset="0"/>
              </a:rPr>
              <a:t>Windows Server 2012 R2 or later</a:t>
            </a:r>
          </a:p>
          <a:p>
            <a:pPr marL="336080" indent="-336080" defTabSz="896181">
              <a:buFont typeface="Arial" panose="020B0604020202020204" pitchFamily="34" charset="0"/>
              <a:buChar char="•"/>
            </a:pPr>
            <a:r>
              <a:rPr lang="en-US" sz="1372" dirty="0">
                <a:solidFill>
                  <a:schemeClr val="bg2"/>
                </a:solidFill>
                <a:cs typeface="Segoe UI Semilight" panose="020B0402040204020203" pitchFamily="34" charset="0"/>
              </a:rPr>
              <a:t>PowerShell remoting </a:t>
            </a:r>
          </a:p>
          <a:p>
            <a:pPr marL="336080" indent="-336080" defTabSz="896181">
              <a:buFont typeface="Arial" panose="020B0604020202020204" pitchFamily="34" charset="0"/>
              <a:buChar char="•"/>
            </a:pPr>
            <a:r>
              <a:rPr lang="en-US" sz="1372" dirty="0">
                <a:solidFill>
                  <a:schemeClr val="bg2"/>
                </a:solidFill>
                <a:cs typeface="Segoe UI Semilight" panose="020B0402040204020203" pitchFamily="34" charset="0"/>
              </a:rPr>
              <a:t>Administrator permissions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601534A0-316B-4832-8481-0684AFDA20C5}"/>
              </a:ext>
            </a:extLst>
          </p:cNvPr>
          <p:cNvSpPr txBox="1"/>
          <p:nvPr/>
        </p:nvSpPr>
        <p:spPr>
          <a:xfrm>
            <a:off x="4519636" y="4228302"/>
            <a:ext cx="2762544" cy="9703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896181">
              <a:defRPr/>
            </a:pPr>
            <a:r>
              <a:rPr lang="en-US" sz="1600" b="1" dirty="0">
                <a:gradFill>
                  <a:gsLst>
                    <a:gs pos="2917">
                      <a:srgbClr val="1A1A1A"/>
                    </a:gs>
                    <a:gs pos="30000">
                      <a:srgbClr val="1A1A1A"/>
                    </a:gs>
                  </a:gsLst>
                  <a:lin ang="5400000" scaled="0"/>
                </a:gradFill>
                <a:cs typeface="Segoe UI Semilight" panose="020B0402040204020203" pitchFamily="34" charset="0"/>
              </a:rPr>
              <a:t>Supported VMs </a:t>
            </a:r>
          </a:p>
          <a:p>
            <a:pPr marL="224097" indent="-224097" defTabSz="914225">
              <a:buFont typeface="Arial" panose="020B0604020202020204" pitchFamily="34" charset="0"/>
              <a:buChar char="•"/>
              <a:defRPr/>
            </a:pPr>
            <a:r>
              <a:rPr lang="en-US" sz="1372" dirty="0">
                <a:gradFill>
                  <a:gsLst>
                    <a:gs pos="2917">
                      <a:srgbClr val="1A1A1A"/>
                    </a:gs>
                    <a:gs pos="30000">
                      <a:srgbClr val="1A1A1A"/>
                    </a:gs>
                  </a:gsLst>
                  <a:lin ang="5400000" scaled="0"/>
                </a:gradFill>
                <a:cs typeface="Segoe UI Semilight" panose="020B0402040204020203" pitchFamily="34" charset="0"/>
              </a:rPr>
              <a:t>All operating systems</a:t>
            </a:r>
          </a:p>
          <a:p>
            <a:pPr marL="224097" indent="-224097" defTabSz="914225">
              <a:buFont typeface="Arial" panose="020B0604020202020204" pitchFamily="34" charset="0"/>
              <a:buChar char="•"/>
              <a:defRPr/>
            </a:pPr>
            <a:r>
              <a:rPr lang="en-US" sz="1372" dirty="0">
                <a:gradFill>
                  <a:gsLst>
                    <a:gs pos="2917">
                      <a:srgbClr val="1A1A1A"/>
                    </a:gs>
                    <a:gs pos="30000">
                      <a:srgbClr val="1A1A1A"/>
                    </a:gs>
                  </a:gsLst>
                  <a:lin ang="5400000" scaled="0"/>
                </a:gradFill>
                <a:cs typeface="Segoe UI Semilight" panose="020B0402040204020203" pitchFamily="34" charset="0"/>
              </a:rPr>
              <a:t>Hyper-V Integration Services enabled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56A1BD29-4F17-4DA9-BB7D-134E30BA8363}"/>
              </a:ext>
            </a:extLst>
          </p:cNvPr>
          <p:cNvSpPr txBox="1"/>
          <p:nvPr/>
        </p:nvSpPr>
        <p:spPr>
          <a:xfrm>
            <a:off x="8403837" y="2251016"/>
            <a:ext cx="3081551" cy="54794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896181">
              <a:defRPr/>
            </a:pPr>
            <a:r>
              <a:rPr lang="en-US" sz="1600" b="1" dirty="0">
                <a:solidFill>
                  <a:schemeClr val="bg1"/>
                </a:solidFill>
                <a:cs typeface="Segoe UI Semilight" panose="020B0402040204020203" pitchFamily="34" charset="0"/>
              </a:rPr>
              <a:t>For Windows servers</a:t>
            </a:r>
          </a:p>
          <a:p>
            <a:pPr marL="177410" indent="-177410" defTabSz="896181">
              <a:buFont typeface="Arial" panose="020B0604020202020204" pitchFamily="34" charset="0"/>
              <a:buChar char="•"/>
              <a:defRPr/>
            </a:pPr>
            <a:r>
              <a:rPr lang="en-US" sz="1372" dirty="0">
                <a:solidFill>
                  <a:schemeClr val="bg1"/>
                </a:solidFill>
                <a:cs typeface="Segoe UI Semilight" panose="020B0402040204020203" pitchFamily="34" charset="0"/>
              </a:rPr>
              <a:t>Local or domain joined account 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C82E0A89-8B5A-4144-AFBD-1CE06B960285}"/>
              </a:ext>
            </a:extLst>
          </p:cNvPr>
          <p:cNvSpPr txBox="1"/>
          <p:nvPr/>
        </p:nvSpPr>
        <p:spPr>
          <a:xfrm>
            <a:off x="8403837" y="2968539"/>
            <a:ext cx="2762544" cy="7591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896181">
              <a:defRPr/>
            </a:pPr>
            <a:r>
              <a:rPr lang="en-US" sz="1600" b="1" dirty="0">
                <a:solidFill>
                  <a:schemeClr val="bg1"/>
                </a:solidFill>
                <a:cs typeface="Segoe UI Semilight" panose="020B0402040204020203" pitchFamily="34" charset="0"/>
              </a:rPr>
              <a:t>For Linux servers</a:t>
            </a:r>
          </a:p>
          <a:p>
            <a:pPr marL="177410" indent="-166517" defTabSz="896181">
              <a:buFont typeface="Arial" panose="020B0604020202020204" pitchFamily="34" charset="0"/>
              <a:buChar char="•"/>
              <a:defRPr/>
            </a:pPr>
            <a:r>
              <a:rPr lang="en-US" sz="1372" dirty="0">
                <a:solidFill>
                  <a:schemeClr val="bg1"/>
                </a:solidFill>
                <a:cs typeface="Segoe UI Semilight" panose="020B0402040204020203" pitchFamily="34" charset="0"/>
              </a:rPr>
              <a:t>An account with root permissions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1D0104F8-797A-443B-9E7D-E54977EF0E54}"/>
              </a:ext>
            </a:extLst>
          </p:cNvPr>
          <p:cNvSpPr txBox="1"/>
          <p:nvPr/>
        </p:nvSpPr>
        <p:spPr>
          <a:xfrm>
            <a:off x="8444826" y="4228302"/>
            <a:ext cx="2762544" cy="54794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896181">
              <a:defRPr/>
            </a:pPr>
            <a:r>
              <a:rPr lang="en-US" sz="1600" b="1" dirty="0">
                <a:gradFill>
                  <a:gsLst>
                    <a:gs pos="2917">
                      <a:srgbClr val="1A1A1A"/>
                    </a:gs>
                    <a:gs pos="30000">
                      <a:srgbClr val="1A1A1A"/>
                    </a:gs>
                  </a:gsLst>
                  <a:lin ang="5400000" scaled="0"/>
                </a:gradFill>
                <a:cs typeface="Segoe UI Semilight" panose="020B0402040204020203" pitchFamily="34" charset="0"/>
              </a:rPr>
              <a:t>Supported VMs </a:t>
            </a:r>
          </a:p>
          <a:p>
            <a:pPr marL="177410" indent="-166517" defTabSz="896181">
              <a:buFont typeface="Arial" panose="020B0604020202020204" pitchFamily="34" charset="0"/>
              <a:buChar char="•"/>
              <a:defRPr/>
            </a:pPr>
            <a:r>
              <a:rPr lang="en-US" sz="1372" dirty="0">
                <a:gradFill>
                  <a:gsLst>
                    <a:gs pos="2917">
                      <a:srgbClr val="1A1A1A"/>
                    </a:gs>
                    <a:gs pos="30000">
                      <a:srgbClr val="1A1A1A"/>
                    </a:gs>
                  </a:gsLst>
                  <a:lin ang="5400000" scaled="0"/>
                </a:gradFill>
                <a:cs typeface="Segoe UI Semilight" panose="020B0402040204020203" pitchFamily="34" charset="0"/>
              </a:rPr>
              <a:t>All operating systems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DBDDFD08-A404-45DB-AC05-3053479CF3C7}"/>
              </a:ext>
            </a:extLst>
          </p:cNvPr>
          <p:cNvSpPr txBox="1">
            <a:spLocks/>
          </p:cNvSpPr>
          <p:nvPr/>
        </p:nvSpPr>
        <p:spPr>
          <a:xfrm>
            <a:off x="589825" y="442548"/>
            <a:ext cx="11015394" cy="553841"/>
          </a:xfrm>
          <a:prstGeom prst="rect">
            <a:avLst/>
          </a:prstGeom>
        </p:spPr>
        <p:txBody>
          <a:bodyPr vert="horz" wrap="square" lIns="0" tIns="89630" rIns="143407" bIns="89630" rtlCol="0" anchor="t">
            <a:noAutofit/>
          </a:bodyPr>
          <a:lstStyle>
            <a:lvl1pPr algn="l" defTabSz="93256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800" b="0" kern="1200" cap="none" spc="-50" baseline="0" dirty="0" smtClean="0">
                <a:ln w="3175">
                  <a:noFill/>
                </a:ln>
                <a:solidFill>
                  <a:srgbClr val="000000"/>
                </a:soli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defTabSz="932384"/>
            <a:endParaRPr lang="en-US" sz="2745" dirty="0">
              <a:latin typeface="Segoe UI"/>
            </a:endParaRPr>
          </a:p>
        </p:txBody>
      </p:sp>
      <p:sp>
        <p:nvSpPr>
          <p:cNvPr id="15" name="Title 14">
            <a:extLst>
              <a:ext uri="{FF2B5EF4-FFF2-40B4-BE49-F238E27FC236}">
                <a16:creationId xmlns:a16="http://schemas.microsoft.com/office/drawing/2014/main" id="{E2F8FFE2-0840-CF45-999C-C456EBCBF8E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5995" y="433143"/>
            <a:ext cx="11303917" cy="813704"/>
          </a:xfrm>
        </p:spPr>
        <p:txBody>
          <a:bodyPr/>
          <a:lstStyle/>
          <a:p>
            <a:r>
              <a:rPr lang="en-US" dirty="0"/>
              <a:t>Discovery: Supported versions &amp; pre-requisites</a:t>
            </a:r>
          </a:p>
        </p:txBody>
      </p:sp>
      <p:sp>
        <p:nvSpPr>
          <p:cNvPr id="3" name="bk object 17">
            <a:extLst>
              <a:ext uri="{FF2B5EF4-FFF2-40B4-BE49-F238E27FC236}">
                <a16:creationId xmlns:a16="http://schemas.microsoft.com/office/drawing/2014/main" id="{C7FE33B4-74FA-4F71-AA94-93341E327F4B}"/>
              </a:ext>
            </a:extLst>
          </p:cNvPr>
          <p:cNvSpPr/>
          <p:nvPr/>
        </p:nvSpPr>
        <p:spPr>
          <a:xfrm>
            <a:off x="0" y="6497955"/>
            <a:ext cx="12192000" cy="360045"/>
          </a:xfrm>
          <a:custGeom>
            <a:avLst/>
            <a:gdLst/>
            <a:ahLst/>
            <a:cxnLst/>
            <a:rect l="l" t="t" r="r" b="b"/>
            <a:pathLst>
              <a:path w="12434570" h="360045">
                <a:moveTo>
                  <a:pt x="0" y="359994"/>
                </a:moveTo>
                <a:lnTo>
                  <a:pt x="12434404" y="359994"/>
                </a:lnTo>
                <a:lnTo>
                  <a:pt x="12434404" y="0"/>
                </a:lnTo>
                <a:lnTo>
                  <a:pt x="0" y="0"/>
                </a:lnTo>
                <a:lnTo>
                  <a:pt x="0" y="359994"/>
                </a:lnTo>
                <a:close/>
              </a:path>
            </a:pathLst>
          </a:custGeom>
          <a:solidFill>
            <a:srgbClr val="007FBA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480D82EB-EB41-4322-BC80-223A60DF40AB}"/>
              </a:ext>
            </a:extLst>
          </p:cNvPr>
          <p:cNvSpPr txBox="1"/>
          <p:nvPr/>
        </p:nvSpPr>
        <p:spPr>
          <a:xfrm>
            <a:off x="7278010" y="6591175"/>
            <a:ext cx="425867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100" b="0" i="0" kern="0" spc="-20" baseline="0" dirty="0">
                <a:solidFill>
                  <a:schemeClr val="bg1"/>
                </a:solidFill>
                <a:latin typeface="Segoe UI Semibold" charset="0"/>
              </a:rPr>
              <a:t>Microsoft Azure    </a:t>
            </a:r>
            <a:r>
              <a:rPr lang="en-US" sz="1100" b="0" i="0" kern="0" spc="-20" baseline="0" dirty="0">
                <a:solidFill>
                  <a:schemeClr val="bg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|  @</a:t>
            </a:r>
            <a:r>
              <a:rPr lang="en-US" sz="1100" b="0" i="0" kern="0" spc="-20" baseline="0" dirty="0" err="1">
                <a:solidFill>
                  <a:schemeClr val="bg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Techielass</a:t>
            </a:r>
            <a:endParaRPr lang="en-US" sz="1100" b="0" i="0" kern="0" spc="-20" baseline="0" dirty="0">
              <a:solidFill>
                <a:schemeClr val="bg1"/>
              </a:solidFill>
              <a:latin typeface="Segoe UI Semilight" panose="020B0402040204020203" pitchFamily="34" charset="0"/>
              <a:ea typeface="Segoe UI Semilight" charset="0"/>
              <a:cs typeface="Segoe UI Semilight" panose="020B04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0961111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>
            <a:extLst>
              <a:ext uri="{FF2B5EF4-FFF2-40B4-BE49-F238E27FC236}">
                <a16:creationId xmlns:a16="http://schemas.microsoft.com/office/drawing/2014/main" id="{34F1C061-86F2-41AE-AFB6-A1EEF5642FBD}"/>
              </a:ext>
            </a:extLst>
          </p:cNvPr>
          <p:cNvGrpSpPr/>
          <p:nvPr/>
        </p:nvGrpSpPr>
        <p:grpSpPr>
          <a:xfrm>
            <a:off x="11089341" y="284761"/>
            <a:ext cx="885005" cy="746180"/>
            <a:chOff x="1243893" y="2839841"/>
            <a:chExt cx="715323" cy="712615"/>
          </a:xfrm>
        </p:grpSpPr>
        <p:sp>
          <p:nvSpPr>
            <p:cNvPr id="9" name="Freeform 101">
              <a:extLst>
                <a:ext uri="{FF2B5EF4-FFF2-40B4-BE49-F238E27FC236}">
                  <a16:creationId xmlns:a16="http://schemas.microsoft.com/office/drawing/2014/main" id="{E59BC9BD-1CA0-4769-8608-940B27AAC8E5}"/>
                </a:ext>
              </a:extLst>
            </p:cNvPr>
            <p:cNvSpPr>
              <a:spLocks/>
            </p:cNvSpPr>
            <p:nvPr/>
          </p:nvSpPr>
          <p:spPr bwMode="auto">
            <a:xfrm>
              <a:off x="1468786" y="2839841"/>
              <a:ext cx="490430" cy="490431"/>
            </a:xfrm>
            <a:custGeom>
              <a:avLst/>
              <a:gdLst>
                <a:gd name="T0" fmla="*/ 293 w 293"/>
                <a:gd name="T1" fmla="*/ 145 h 292"/>
                <a:gd name="T2" fmla="*/ 292 w 293"/>
                <a:gd name="T3" fmla="*/ 129 h 292"/>
                <a:gd name="T4" fmla="*/ 288 w 293"/>
                <a:gd name="T5" fmla="*/ 107 h 292"/>
                <a:gd name="T6" fmla="*/ 283 w 293"/>
                <a:gd name="T7" fmla="*/ 91 h 292"/>
                <a:gd name="T8" fmla="*/ 273 w 293"/>
                <a:gd name="T9" fmla="*/ 72 h 292"/>
                <a:gd name="T10" fmla="*/ 264 w 293"/>
                <a:gd name="T11" fmla="*/ 58 h 292"/>
                <a:gd name="T12" fmla="*/ 250 w 293"/>
                <a:gd name="T13" fmla="*/ 42 h 292"/>
                <a:gd name="T14" fmla="*/ 236 w 293"/>
                <a:gd name="T15" fmla="*/ 30 h 292"/>
                <a:gd name="T16" fmla="*/ 220 w 293"/>
                <a:gd name="T17" fmla="*/ 19 h 292"/>
                <a:gd name="T18" fmla="*/ 205 w 293"/>
                <a:gd name="T19" fmla="*/ 11 h 292"/>
                <a:gd name="T20" fmla="*/ 185 w 293"/>
                <a:gd name="T21" fmla="*/ 4 h 292"/>
                <a:gd name="T22" fmla="*/ 169 w 293"/>
                <a:gd name="T23" fmla="*/ 2 h 292"/>
                <a:gd name="T24" fmla="*/ 146 w 293"/>
                <a:gd name="T25" fmla="*/ 0 h 292"/>
                <a:gd name="T26" fmla="*/ 146 w 293"/>
                <a:gd name="T27" fmla="*/ 0 h 292"/>
                <a:gd name="T28" fmla="*/ 130 w 293"/>
                <a:gd name="T29" fmla="*/ 1 h 292"/>
                <a:gd name="T30" fmla="*/ 108 w 293"/>
                <a:gd name="T31" fmla="*/ 4 h 292"/>
                <a:gd name="T32" fmla="*/ 92 w 293"/>
                <a:gd name="T33" fmla="*/ 9 h 292"/>
                <a:gd name="T34" fmla="*/ 73 w 293"/>
                <a:gd name="T35" fmla="*/ 19 h 292"/>
                <a:gd name="T36" fmla="*/ 61 w 293"/>
                <a:gd name="T37" fmla="*/ 27 h 292"/>
                <a:gd name="T38" fmla="*/ 59 w 293"/>
                <a:gd name="T39" fmla="*/ 28 h 292"/>
                <a:gd name="T40" fmla="*/ 43 w 293"/>
                <a:gd name="T41" fmla="*/ 42 h 292"/>
                <a:gd name="T42" fmla="*/ 31 w 293"/>
                <a:gd name="T43" fmla="*/ 56 h 292"/>
                <a:gd name="T44" fmla="*/ 20 w 293"/>
                <a:gd name="T45" fmla="*/ 72 h 292"/>
                <a:gd name="T46" fmla="*/ 12 w 293"/>
                <a:gd name="T47" fmla="*/ 87 h 292"/>
                <a:gd name="T48" fmla="*/ 5 w 293"/>
                <a:gd name="T49" fmla="*/ 107 h 292"/>
                <a:gd name="T50" fmla="*/ 2 w 293"/>
                <a:gd name="T51" fmla="*/ 123 h 292"/>
                <a:gd name="T52" fmla="*/ 0 w 293"/>
                <a:gd name="T53" fmla="*/ 145 h 292"/>
                <a:gd name="T54" fmla="*/ 1 w 293"/>
                <a:gd name="T55" fmla="*/ 160 h 292"/>
                <a:gd name="T56" fmla="*/ 9 w 293"/>
                <a:gd name="T57" fmla="*/ 195 h 292"/>
                <a:gd name="T58" fmla="*/ 10 w 293"/>
                <a:gd name="T59" fmla="*/ 200 h 292"/>
                <a:gd name="T60" fmla="*/ 26 w 293"/>
                <a:gd name="T61" fmla="*/ 229 h 292"/>
                <a:gd name="T62" fmla="*/ 34 w 293"/>
                <a:gd name="T63" fmla="*/ 239 h 292"/>
                <a:gd name="T64" fmla="*/ 80 w 293"/>
                <a:gd name="T65" fmla="*/ 276 h 292"/>
                <a:gd name="T66" fmla="*/ 136 w 293"/>
                <a:gd name="T67" fmla="*/ 292 h 292"/>
                <a:gd name="T68" fmla="*/ 148 w 293"/>
                <a:gd name="T69" fmla="*/ 292 h 292"/>
                <a:gd name="T70" fmla="*/ 182 w 293"/>
                <a:gd name="T71" fmla="*/ 288 h 292"/>
                <a:gd name="T72" fmla="*/ 187 w 293"/>
                <a:gd name="T73" fmla="*/ 287 h 292"/>
                <a:gd name="T74" fmla="*/ 219 w 293"/>
                <a:gd name="T75" fmla="*/ 273 h 292"/>
                <a:gd name="T76" fmla="*/ 232 w 293"/>
                <a:gd name="T77" fmla="*/ 265 h 292"/>
                <a:gd name="T78" fmla="*/ 250 w 293"/>
                <a:gd name="T79" fmla="*/ 250 h 292"/>
                <a:gd name="T80" fmla="*/ 261 w 293"/>
                <a:gd name="T81" fmla="*/ 238 h 292"/>
                <a:gd name="T82" fmla="*/ 273 w 293"/>
                <a:gd name="T83" fmla="*/ 220 h 292"/>
                <a:gd name="T84" fmla="*/ 281 w 293"/>
                <a:gd name="T85" fmla="*/ 205 h 292"/>
                <a:gd name="T86" fmla="*/ 287 w 293"/>
                <a:gd name="T87" fmla="*/ 187 h 292"/>
                <a:gd name="T88" fmla="*/ 291 w 293"/>
                <a:gd name="T89" fmla="*/ 169 h 292"/>
                <a:gd name="T90" fmla="*/ 293 w 293"/>
                <a:gd name="T91" fmla="*/ 148 h 2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293" h="292">
                  <a:moveTo>
                    <a:pt x="293" y="148"/>
                  </a:moveTo>
                  <a:lnTo>
                    <a:pt x="293" y="148"/>
                  </a:lnTo>
                  <a:cubicBezTo>
                    <a:pt x="293" y="147"/>
                    <a:pt x="293" y="146"/>
                    <a:pt x="293" y="145"/>
                  </a:cubicBezTo>
                  <a:cubicBezTo>
                    <a:pt x="293" y="143"/>
                    <a:pt x="293" y="141"/>
                    <a:pt x="293" y="138"/>
                  </a:cubicBezTo>
                  <a:cubicBezTo>
                    <a:pt x="293" y="136"/>
                    <a:pt x="293" y="134"/>
                    <a:pt x="293" y="132"/>
                  </a:cubicBezTo>
                  <a:cubicBezTo>
                    <a:pt x="292" y="131"/>
                    <a:pt x="292" y="130"/>
                    <a:pt x="292" y="129"/>
                  </a:cubicBezTo>
                  <a:cubicBezTo>
                    <a:pt x="292" y="126"/>
                    <a:pt x="291" y="122"/>
                    <a:pt x="291" y="119"/>
                  </a:cubicBezTo>
                  <a:cubicBezTo>
                    <a:pt x="290" y="116"/>
                    <a:pt x="289" y="113"/>
                    <a:pt x="289" y="110"/>
                  </a:cubicBezTo>
                  <a:cubicBezTo>
                    <a:pt x="288" y="109"/>
                    <a:pt x="288" y="108"/>
                    <a:pt x="288" y="107"/>
                  </a:cubicBezTo>
                  <a:cubicBezTo>
                    <a:pt x="287" y="104"/>
                    <a:pt x="287" y="103"/>
                    <a:pt x="286" y="101"/>
                  </a:cubicBezTo>
                  <a:cubicBezTo>
                    <a:pt x="285" y="99"/>
                    <a:pt x="285" y="97"/>
                    <a:pt x="284" y="94"/>
                  </a:cubicBezTo>
                  <a:cubicBezTo>
                    <a:pt x="284" y="93"/>
                    <a:pt x="283" y="93"/>
                    <a:pt x="283" y="91"/>
                  </a:cubicBezTo>
                  <a:cubicBezTo>
                    <a:pt x="282" y="88"/>
                    <a:pt x="280" y="86"/>
                    <a:pt x="279" y="83"/>
                  </a:cubicBezTo>
                  <a:cubicBezTo>
                    <a:pt x="277" y="80"/>
                    <a:pt x="276" y="77"/>
                    <a:pt x="274" y="74"/>
                  </a:cubicBezTo>
                  <a:cubicBezTo>
                    <a:pt x="274" y="73"/>
                    <a:pt x="274" y="72"/>
                    <a:pt x="273" y="72"/>
                  </a:cubicBezTo>
                  <a:cubicBezTo>
                    <a:pt x="272" y="70"/>
                    <a:pt x="271" y="68"/>
                    <a:pt x="269" y="66"/>
                  </a:cubicBezTo>
                  <a:cubicBezTo>
                    <a:pt x="268" y="64"/>
                    <a:pt x="267" y="62"/>
                    <a:pt x="266" y="60"/>
                  </a:cubicBezTo>
                  <a:cubicBezTo>
                    <a:pt x="265" y="59"/>
                    <a:pt x="264" y="58"/>
                    <a:pt x="264" y="58"/>
                  </a:cubicBezTo>
                  <a:cubicBezTo>
                    <a:pt x="262" y="56"/>
                    <a:pt x="261" y="54"/>
                    <a:pt x="259" y="52"/>
                  </a:cubicBezTo>
                  <a:cubicBezTo>
                    <a:pt x="256" y="49"/>
                    <a:pt x="254" y="45"/>
                    <a:pt x="251" y="42"/>
                  </a:cubicBezTo>
                  <a:cubicBezTo>
                    <a:pt x="250" y="42"/>
                    <a:pt x="250" y="42"/>
                    <a:pt x="250" y="42"/>
                  </a:cubicBezTo>
                  <a:cubicBezTo>
                    <a:pt x="249" y="41"/>
                    <a:pt x="249" y="41"/>
                    <a:pt x="248" y="40"/>
                  </a:cubicBezTo>
                  <a:cubicBezTo>
                    <a:pt x="245" y="37"/>
                    <a:pt x="242" y="34"/>
                    <a:pt x="239" y="31"/>
                  </a:cubicBezTo>
                  <a:cubicBezTo>
                    <a:pt x="238" y="31"/>
                    <a:pt x="237" y="30"/>
                    <a:pt x="236" y="30"/>
                  </a:cubicBezTo>
                  <a:cubicBezTo>
                    <a:pt x="235" y="29"/>
                    <a:pt x="234" y="28"/>
                    <a:pt x="233" y="27"/>
                  </a:cubicBezTo>
                  <a:cubicBezTo>
                    <a:pt x="229" y="25"/>
                    <a:pt x="225" y="22"/>
                    <a:pt x="221" y="19"/>
                  </a:cubicBezTo>
                  <a:cubicBezTo>
                    <a:pt x="221" y="19"/>
                    <a:pt x="221" y="19"/>
                    <a:pt x="220" y="19"/>
                  </a:cubicBezTo>
                  <a:cubicBezTo>
                    <a:pt x="218" y="17"/>
                    <a:pt x="216" y="16"/>
                    <a:pt x="213" y="15"/>
                  </a:cubicBezTo>
                  <a:cubicBezTo>
                    <a:pt x="211" y="14"/>
                    <a:pt x="209" y="13"/>
                    <a:pt x="206" y="11"/>
                  </a:cubicBezTo>
                  <a:cubicBezTo>
                    <a:pt x="206" y="11"/>
                    <a:pt x="205" y="11"/>
                    <a:pt x="205" y="11"/>
                  </a:cubicBezTo>
                  <a:cubicBezTo>
                    <a:pt x="201" y="9"/>
                    <a:pt x="196" y="8"/>
                    <a:pt x="192" y="6"/>
                  </a:cubicBezTo>
                  <a:cubicBezTo>
                    <a:pt x="191" y="6"/>
                    <a:pt x="189" y="5"/>
                    <a:pt x="188" y="5"/>
                  </a:cubicBezTo>
                  <a:cubicBezTo>
                    <a:pt x="187" y="5"/>
                    <a:pt x="186" y="4"/>
                    <a:pt x="185" y="4"/>
                  </a:cubicBezTo>
                  <a:cubicBezTo>
                    <a:pt x="181" y="4"/>
                    <a:pt x="177" y="3"/>
                    <a:pt x="173" y="2"/>
                  </a:cubicBezTo>
                  <a:cubicBezTo>
                    <a:pt x="172" y="2"/>
                    <a:pt x="171" y="2"/>
                    <a:pt x="170" y="2"/>
                  </a:cubicBezTo>
                  <a:cubicBezTo>
                    <a:pt x="170" y="2"/>
                    <a:pt x="170" y="2"/>
                    <a:pt x="169" y="2"/>
                  </a:cubicBezTo>
                  <a:cubicBezTo>
                    <a:pt x="165" y="1"/>
                    <a:pt x="161" y="1"/>
                    <a:pt x="157" y="0"/>
                  </a:cubicBezTo>
                  <a:cubicBezTo>
                    <a:pt x="154" y="0"/>
                    <a:pt x="152" y="0"/>
                    <a:pt x="149" y="0"/>
                  </a:cubicBezTo>
                  <a:cubicBezTo>
                    <a:pt x="148" y="0"/>
                    <a:pt x="147" y="0"/>
                    <a:pt x="146" y="0"/>
                  </a:cubicBezTo>
                  <a:lnTo>
                    <a:pt x="146" y="0"/>
                  </a:lnTo>
                  <a:lnTo>
                    <a:pt x="146" y="0"/>
                  </a:lnTo>
                  <a:lnTo>
                    <a:pt x="146" y="0"/>
                  </a:lnTo>
                  <a:cubicBezTo>
                    <a:pt x="144" y="0"/>
                    <a:pt x="142" y="0"/>
                    <a:pt x="139" y="0"/>
                  </a:cubicBezTo>
                  <a:cubicBezTo>
                    <a:pt x="137" y="0"/>
                    <a:pt x="135" y="0"/>
                    <a:pt x="133" y="0"/>
                  </a:cubicBezTo>
                  <a:cubicBezTo>
                    <a:pt x="132" y="1"/>
                    <a:pt x="131" y="1"/>
                    <a:pt x="130" y="1"/>
                  </a:cubicBezTo>
                  <a:cubicBezTo>
                    <a:pt x="127" y="1"/>
                    <a:pt x="123" y="2"/>
                    <a:pt x="120" y="2"/>
                  </a:cubicBezTo>
                  <a:cubicBezTo>
                    <a:pt x="117" y="3"/>
                    <a:pt x="114" y="4"/>
                    <a:pt x="111" y="4"/>
                  </a:cubicBezTo>
                  <a:cubicBezTo>
                    <a:pt x="110" y="4"/>
                    <a:pt x="109" y="4"/>
                    <a:pt x="108" y="4"/>
                  </a:cubicBezTo>
                  <a:cubicBezTo>
                    <a:pt x="105" y="5"/>
                    <a:pt x="104" y="5"/>
                    <a:pt x="102" y="6"/>
                  </a:cubicBezTo>
                  <a:cubicBezTo>
                    <a:pt x="100" y="7"/>
                    <a:pt x="98" y="7"/>
                    <a:pt x="96" y="8"/>
                  </a:cubicBezTo>
                  <a:cubicBezTo>
                    <a:pt x="94" y="8"/>
                    <a:pt x="94" y="9"/>
                    <a:pt x="92" y="9"/>
                  </a:cubicBezTo>
                  <a:cubicBezTo>
                    <a:pt x="89" y="10"/>
                    <a:pt x="87" y="12"/>
                    <a:pt x="84" y="13"/>
                  </a:cubicBezTo>
                  <a:cubicBezTo>
                    <a:pt x="81" y="15"/>
                    <a:pt x="78" y="16"/>
                    <a:pt x="75" y="18"/>
                  </a:cubicBezTo>
                  <a:cubicBezTo>
                    <a:pt x="74" y="18"/>
                    <a:pt x="73" y="18"/>
                    <a:pt x="73" y="19"/>
                  </a:cubicBezTo>
                  <a:cubicBezTo>
                    <a:pt x="71" y="20"/>
                    <a:pt x="69" y="21"/>
                    <a:pt x="67" y="23"/>
                  </a:cubicBezTo>
                  <a:cubicBezTo>
                    <a:pt x="65" y="24"/>
                    <a:pt x="63" y="25"/>
                    <a:pt x="61" y="26"/>
                  </a:cubicBezTo>
                  <a:lnTo>
                    <a:pt x="61" y="27"/>
                  </a:lnTo>
                  <a:lnTo>
                    <a:pt x="61" y="27"/>
                  </a:lnTo>
                  <a:lnTo>
                    <a:pt x="61" y="26"/>
                  </a:lnTo>
                  <a:cubicBezTo>
                    <a:pt x="60" y="27"/>
                    <a:pt x="59" y="28"/>
                    <a:pt x="59" y="28"/>
                  </a:cubicBezTo>
                  <a:cubicBezTo>
                    <a:pt x="57" y="30"/>
                    <a:pt x="55" y="31"/>
                    <a:pt x="53" y="33"/>
                  </a:cubicBezTo>
                  <a:cubicBezTo>
                    <a:pt x="50" y="36"/>
                    <a:pt x="46" y="38"/>
                    <a:pt x="43" y="41"/>
                  </a:cubicBezTo>
                  <a:cubicBezTo>
                    <a:pt x="43" y="42"/>
                    <a:pt x="43" y="42"/>
                    <a:pt x="43" y="42"/>
                  </a:cubicBezTo>
                  <a:cubicBezTo>
                    <a:pt x="42" y="43"/>
                    <a:pt x="42" y="43"/>
                    <a:pt x="41" y="44"/>
                  </a:cubicBezTo>
                  <a:cubicBezTo>
                    <a:pt x="38" y="47"/>
                    <a:pt x="35" y="50"/>
                    <a:pt x="32" y="53"/>
                  </a:cubicBezTo>
                  <a:cubicBezTo>
                    <a:pt x="32" y="54"/>
                    <a:pt x="31" y="55"/>
                    <a:pt x="31" y="56"/>
                  </a:cubicBezTo>
                  <a:cubicBezTo>
                    <a:pt x="30" y="57"/>
                    <a:pt x="29" y="58"/>
                    <a:pt x="28" y="59"/>
                  </a:cubicBezTo>
                  <a:cubicBezTo>
                    <a:pt x="26" y="63"/>
                    <a:pt x="23" y="67"/>
                    <a:pt x="20" y="71"/>
                  </a:cubicBezTo>
                  <a:cubicBezTo>
                    <a:pt x="20" y="71"/>
                    <a:pt x="20" y="71"/>
                    <a:pt x="20" y="72"/>
                  </a:cubicBezTo>
                  <a:cubicBezTo>
                    <a:pt x="18" y="74"/>
                    <a:pt x="17" y="76"/>
                    <a:pt x="16" y="79"/>
                  </a:cubicBezTo>
                  <a:cubicBezTo>
                    <a:pt x="15" y="81"/>
                    <a:pt x="14" y="83"/>
                    <a:pt x="12" y="86"/>
                  </a:cubicBezTo>
                  <a:cubicBezTo>
                    <a:pt x="12" y="86"/>
                    <a:pt x="12" y="87"/>
                    <a:pt x="12" y="87"/>
                  </a:cubicBezTo>
                  <a:cubicBezTo>
                    <a:pt x="10" y="91"/>
                    <a:pt x="9" y="96"/>
                    <a:pt x="7" y="100"/>
                  </a:cubicBezTo>
                  <a:cubicBezTo>
                    <a:pt x="7" y="101"/>
                    <a:pt x="6" y="103"/>
                    <a:pt x="6" y="104"/>
                  </a:cubicBezTo>
                  <a:cubicBezTo>
                    <a:pt x="6" y="105"/>
                    <a:pt x="5" y="106"/>
                    <a:pt x="5" y="107"/>
                  </a:cubicBezTo>
                  <a:cubicBezTo>
                    <a:pt x="4" y="111"/>
                    <a:pt x="3" y="115"/>
                    <a:pt x="2" y="119"/>
                  </a:cubicBezTo>
                  <a:cubicBezTo>
                    <a:pt x="2" y="120"/>
                    <a:pt x="2" y="121"/>
                    <a:pt x="2" y="122"/>
                  </a:cubicBezTo>
                  <a:cubicBezTo>
                    <a:pt x="2" y="122"/>
                    <a:pt x="2" y="122"/>
                    <a:pt x="2" y="123"/>
                  </a:cubicBezTo>
                  <a:cubicBezTo>
                    <a:pt x="1" y="127"/>
                    <a:pt x="1" y="131"/>
                    <a:pt x="0" y="135"/>
                  </a:cubicBezTo>
                  <a:cubicBezTo>
                    <a:pt x="0" y="138"/>
                    <a:pt x="0" y="140"/>
                    <a:pt x="0" y="143"/>
                  </a:cubicBezTo>
                  <a:cubicBezTo>
                    <a:pt x="0" y="144"/>
                    <a:pt x="0" y="145"/>
                    <a:pt x="0" y="145"/>
                  </a:cubicBezTo>
                  <a:cubicBezTo>
                    <a:pt x="0" y="150"/>
                    <a:pt x="0" y="155"/>
                    <a:pt x="0" y="159"/>
                  </a:cubicBezTo>
                  <a:cubicBezTo>
                    <a:pt x="0" y="159"/>
                    <a:pt x="0" y="159"/>
                    <a:pt x="0" y="159"/>
                  </a:cubicBezTo>
                  <a:cubicBezTo>
                    <a:pt x="1" y="160"/>
                    <a:pt x="1" y="160"/>
                    <a:pt x="1" y="160"/>
                  </a:cubicBezTo>
                  <a:cubicBezTo>
                    <a:pt x="1" y="166"/>
                    <a:pt x="2" y="171"/>
                    <a:pt x="3" y="176"/>
                  </a:cubicBezTo>
                  <a:cubicBezTo>
                    <a:pt x="3" y="177"/>
                    <a:pt x="4" y="179"/>
                    <a:pt x="4" y="180"/>
                  </a:cubicBezTo>
                  <a:cubicBezTo>
                    <a:pt x="5" y="185"/>
                    <a:pt x="7" y="190"/>
                    <a:pt x="9" y="195"/>
                  </a:cubicBezTo>
                  <a:cubicBezTo>
                    <a:pt x="9" y="195"/>
                    <a:pt x="9" y="195"/>
                    <a:pt x="9" y="196"/>
                  </a:cubicBezTo>
                  <a:cubicBezTo>
                    <a:pt x="9" y="196"/>
                    <a:pt x="9" y="196"/>
                    <a:pt x="9" y="196"/>
                  </a:cubicBezTo>
                  <a:cubicBezTo>
                    <a:pt x="9" y="198"/>
                    <a:pt x="10" y="199"/>
                    <a:pt x="10" y="200"/>
                  </a:cubicBezTo>
                  <a:cubicBezTo>
                    <a:pt x="12" y="203"/>
                    <a:pt x="13" y="207"/>
                    <a:pt x="15" y="211"/>
                  </a:cubicBezTo>
                  <a:cubicBezTo>
                    <a:pt x="16" y="213"/>
                    <a:pt x="17" y="215"/>
                    <a:pt x="18" y="217"/>
                  </a:cubicBezTo>
                  <a:cubicBezTo>
                    <a:pt x="21" y="221"/>
                    <a:pt x="24" y="225"/>
                    <a:pt x="26" y="229"/>
                  </a:cubicBezTo>
                  <a:cubicBezTo>
                    <a:pt x="27" y="230"/>
                    <a:pt x="27" y="231"/>
                    <a:pt x="27" y="231"/>
                  </a:cubicBezTo>
                  <a:cubicBezTo>
                    <a:pt x="29" y="234"/>
                    <a:pt x="31" y="236"/>
                    <a:pt x="34" y="239"/>
                  </a:cubicBezTo>
                  <a:cubicBezTo>
                    <a:pt x="34" y="239"/>
                    <a:pt x="34" y="239"/>
                    <a:pt x="34" y="239"/>
                  </a:cubicBezTo>
                  <a:lnTo>
                    <a:pt x="34" y="239"/>
                  </a:lnTo>
                  <a:cubicBezTo>
                    <a:pt x="43" y="250"/>
                    <a:pt x="52" y="259"/>
                    <a:pt x="64" y="267"/>
                  </a:cubicBezTo>
                  <a:cubicBezTo>
                    <a:pt x="69" y="270"/>
                    <a:pt x="74" y="273"/>
                    <a:pt x="80" y="276"/>
                  </a:cubicBezTo>
                  <a:cubicBezTo>
                    <a:pt x="85" y="279"/>
                    <a:pt x="91" y="281"/>
                    <a:pt x="97" y="283"/>
                  </a:cubicBezTo>
                  <a:cubicBezTo>
                    <a:pt x="109" y="288"/>
                    <a:pt x="123" y="291"/>
                    <a:pt x="136" y="292"/>
                  </a:cubicBezTo>
                  <a:lnTo>
                    <a:pt x="136" y="292"/>
                  </a:lnTo>
                  <a:cubicBezTo>
                    <a:pt x="136" y="292"/>
                    <a:pt x="137" y="292"/>
                    <a:pt x="137" y="292"/>
                  </a:cubicBezTo>
                  <a:cubicBezTo>
                    <a:pt x="140" y="292"/>
                    <a:pt x="143" y="292"/>
                    <a:pt x="146" y="292"/>
                  </a:cubicBezTo>
                  <a:cubicBezTo>
                    <a:pt x="147" y="292"/>
                    <a:pt x="148" y="292"/>
                    <a:pt x="148" y="292"/>
                  </a:cubicBezTo>
                  <a:cubicBezTo>
                    <a:pt x="153" y="292"/>
                    <a:pt x="158" y="292"/>
                    <a:pt x="163" y="291"/>
                  </a:cubicBezTo>
                  <a:cubicBezTo>
                    <a:pt x="166" y="291"/>
                    <a:pt x="168" y="290"/>
                    <a:pt x="170" y="290"/>
                  </a:cubicBezTo>
                  <a:cubicBezTo>
                    <a:pt x="174" y="289"/>
                    <a:pt x="178" y="289"/>
                    <a:pt x="182" y="288"/>
                  </a:cubicBezTo>
                  <a:cubicBezTo>
                    <a:pt x="183" y="287"/>
                    <a:pt x="184" y="287"/>
                    <a:pt x="185" y="287"/>
                  </a:cubicBezTo>
                  <a:cubicBezTo>
                    <a:pt x="186" y="287"/>
                    <a:pt x="186" y="287"/>
                    <a:pt x="186" y="287"/>
                  </a:cubicBezTo>
                  <a:cubicBezTo>
                    <a:pt x="186" y="287"/>
                    <a:pt x="186" y="287"/>
                    <a:pt x="187" y="287"/>
                  </a:cubicBezTo>
                  <a:cubicBezTo>
                    <a:pt x="192" y="285"/>
                    <a:pt x="197" y="283"/>
                    <a:pt x="202" y="281"/>
                  </a:cubicBezTo>
                  <a:cubicBezTo>
                    <a:pt x="203" y="281"/>
                    <a:pt x="204" y="280"/>
                    <a:pt x="206" y="280"/>
                  </a:cubicBezTo>
                  <a:cubicBezTo>
                    <a:pt x="210" y="278"/>
                    <a:pt x="215" y="275"/>
                    <a:pt x="219" y="273"/>
                  </a:cubicBezTo>
                  <a:cubicBezTo>
                    <a:pt x="220" y="273"/>
                    <a:pt x="220" y="272"/>
                    <a:pt x="220" y="272"/>
                  </a:cubicBezTo>
                  <a:cubicBezTo>
                    <a:pt x="221" y="272"/>
                    <a:pt x="221" y="272"/>
                    <a:pt x="221" y="272"/>
                  </a:cubicBezTo>
                  <a:cubicBezTo>
                    <a:pt x="225" y="270"/>
                    <a:pt x="228" y="267"/>
                    <a:pt x="232" y="265"/>
                  </a:cubicBezTo>
                  <a:cubicBezTo>
                    <a:pt x="233" y="264"/>
                    <a:pt x="234" y="263"/>
                    <a:pt x="234" y="263"/>
                  </a:cubicBezTo>
                  <a:cubicBezTo>
                    <a:pt x="236" y="261"/>
                    <a:pt x="238" y="260"/>
                    <a:pt x="240" y="258"/>
                  </a:cubicBezTo>
                  <a:cubicBezTo>
                    <a:pt x="243" y="255"/>
                    <a:pt x="247" y="253"/>
                    <a:pt x="250" y="250"/>
                  </a:cubicBezTo>
                  <a:cubicBezTo>
                    <a:pt x="250" y="249"/>
                    <a:pt x="250" y="249"/>
                    <a:pt x="250" y="249"/>
                  </a:cubicBezTo>
                  <a:cubicBezTo>
                    <a:pt x="251" y="248"/>
                    <a:pt x="251" y="248"/>
                    <a:pt x="252" y="247"/>
                  </a:cubicBezTo>
                  <a:cubicBezTo>
                    <a:pt x="255" y="244"/>
                    <a:pt x="258" y="241"/>
                    <a:pt x="261" y="238"/>
                  </a:cubicBezTo>
                  <a:cubicBezTo>
                    <a:pt x="261" y="237"/>
                    <a:pt x="262" y="236"/>
                    <a:pt x="262" y="235"/>
                  </a:cubicBezTo>
                  <a:cubicBezTo>
                    <a:pt x="263" y="234"/>
                    <a:pt x="264" y="233"/>
                    <a:pt x="265" y="232"/>
                  </a:cubicBezTo>
                  <a:cubicBezTo>
                    <a:pt x="267" y="228"/>
                    <a:pt x="270" y="224"/>
                    <a:pt x="273" y="220"/>
                  </a:cubicBezTo>
                  <a:cubicBezTo>
                    <a:pt x="273" y="220"/>
                    <a:pt x="273" y="220"/>
                    <a:pt x="273" y="219"/>
                  </a:cubicBezTo>
                  <a:cubicBezTo>
                    <a:pt x="274" y="217"/>
                    <a:pt x="275" y="215"/>
                    <a:pt x="277" y="213"/>
                  </a:cubicBezTo>
                  <a:cubicBezTo>
                    <a:pt x="278" y="210"/>
                    <a:pt x="279" y="208"/>
                    <a:pt x="281" y="205"/>
                  </a:cubicBezTo>
                  <a:cubicBezTo>
                    <a:pt x="281" y="205"/>
                    <a:pt x="281" y="204"/>
                    <a:pt x="281" y="204"/>
                  </a:cubicBezTo>
                  <a:cubicBezTo>
                    <a:pt x="283" y="200"/>
                    <a:pt x="284" y="196"/>
                    <a:pt x="286" y="191"/>
                  </a:cubicBezTo>
                  <a:cubicBezTo>
                    <a:pt x="286" y="190"/>
                    <a:pt x="287" y="188"/>
                    <a:pt x="287" y="187"/>
                  </a:cubicBezTo>
                  <a:cubicBezTo>
                    <a:pt x="287" y="186"/>
                    <a:pt x="288" y="185"/>
                    <a:pt x="288" y="184"/>
                  </a:cubicBezTo>
                  <a:cubicBezTo>
                    <a:pt x="289" y="180"/>
                    <a:pt x="290" y="176"/>
                    <a:pt x="291" y="172"/>
                  </a:cubicBezTo>
                  <a:cubicBezTo>
                    <a:pt x="291" y="171"/>
                    <a:pt x="291" y="170"/>
                    <a:pt x="291" y="169"/>
                  </a:cubicBezTo>
                  <a:cubicBezTo>
                    <a:pt x="291" y="169"/>
                    <a:pt x="291" y="169"/>
                    <a:pt x="291" y="168"/>
                  </a:cubicBezTo>
                  <a:cubicBezTo>
                    <a:pt x="292" y="164"/>
                    <a:pt x="292" y="160"/>
                    <a:pt x="292" y="156"/>
                  </a:cubicBezTo>
                  <a:cubicBezTo>
                    <a:pt x="293" y="153"/>
                    <a:pt x="293" y="151"/>
                    <a:pt x="293" y="148"/>
                  </a:cubicBezTo>
                  <a:close/>
                </a:path>
              </a:pathLst>
            </a:custGeom>
            <a:solidFill>
              <a:srgbClr val="0078D4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" name="Freeform 102">
              <a:extLst>
                <a:ext uri="{FF2B5EF4-FFF2-40B4-BE49-F238E27FC236}">
                  <a16:creationId xmlns:a16="http://schemas.microsoft.com/office/drawing/2014/main" id="{ED12D182-6395-48ED-85F3-13632068C397}"/>
                </a:ext>
              </a:extLst>
            </p:cNvPr>
            <p:cNvSpPr>
              <a:spLocks/>
            </p:cNvSpPr>
            <p:nvPr/>
          </p:nvSpPr>
          <p:spPr bwMode="auto">
            <a:xfrm>
              <a:off x="1243893" y="3240856"/>
              <a:ext cx="311599" cy="311600"/>
            </a:xfrm>
            <a:custGeom>
              <a:avLst/>
              <a:gdLst>
                <a:gd name="T0" fmla="*/ 186 w 186"/>
                <a:gd name="T1" fmla="*/ 19 h 186"/>
                <a:gd name="T2" fmla="*/ 186 w 186"/>
                <a:gd name="T3" fmla="*/ 19 h 186"/>
                <a:gd name="T4" fmla="*/ 22 w 186"/>
                <a:gd name="T5" fmla="*/ 183 h 186"/>
                <a:gd name="T6" fmla="*/ 13 w 186"/>
                <a:gd name="T7" fmla="*/ 186 h 186"/>
                <a:gd name="T8" fmla="*/ 3 w 186"/>
                <a:gd name="T9" fmla="*/ 183 h 186"/>
                <a:gd name="T10" fmla="*/ 0 w 186"/>
                <a:gd name="T11" fmla="*/ 173 h 186"/>
                <a:gd name="T12" fmla="*/ 3 w 186"/>
                <a:gd name="T13" fmla="*/ 164 h 186"/>
                <a:gd name="T14" fmla="*/ 167 w 186"/>
                <a:gd name="T15" fmla="*/ 0 h 186"/>
                <a:gd name="T16" fmla="*/ 186 w 186"/>
                <a:gd name="T17" fmla="*/ 19 h 1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86" h="186">
                  <a:moveTo>
                    <a:pt x="186" y="19"/>
                  </a:moveTo>
                  <a:lnTo>
                    <a:pt x="186" y="19"/>
                  </a:lnTo>
                  <a:lnTo>
                    <a:pt x="22" y="183"/>
                  </a:lnTo>
                  <a:cubicBezTo>
                    <a:pt x="20" y="185"/>
                    <a:pt x="16" y="186"/>
                    <a:pt x="13" y="186"/>
                  </a:cubicBezTo>
                  <a:cubicBezTo>
                    <a:pt x="9" y="186"/>
                    <a:pt x="6" y="185"/>
                    <a:pt x="3" y="183"/>
                  </a:cubicBezTo>
                  <a:cubicBezTo>
                    <a:pt x="1" y="180"/>
                    <a:pt x="0" y="177"/>
                    <a:pt x="0" y="173"/>
                  </a:cubicBezTo>
                  <a:cubicBezTo>
                    <a:pt x="0" y="170"/>
                    <a:pt x="1" y="166"/>
                    <a:pt x="3" y="164"/>
                  </a:cubicBezTo>
                  <a:lnTo>
                    <a:pt x="167" y="0"/>
                  </a:lnTo>
                  <a:lnTo>
                    <a:pt x="186" y="19"/>
                  </a:lnTo>
                  <a:close/>
                </a:path>
              </a:pathLst>
            </a:custGeom>
            <a:solidFill>
              <a:srgbClr val="0078D4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" name="Freeform 103">
              <a:extLst>
                <a:ext uri="{FF2B5EF4-FFF2-40B4-BE49-F238E27FC236}">
                  <a16:creationId xmlns:a16="http://schemas.microsoft.com/office/drawing/2014/main" id="{F1CFFC3D-753E-4EA3-91FF-6FF2F299F1C8}"/>
                </a:ext>
              </a:extLst>
            </p:cNvPr>
            <p:cNvSpPr>
              <a:spLocks/>
            </p:cNvSpPr>
            <p:nvPr/>
          </p:nvSpPr>
          <p:spPr bwMode="auto">
            <a:xfrm>
              <a:off x="1512139" y="2883194"/>
              <a:ext cx="403724" cy="403725"/>
            </a:xfrm>
            <a:custGeom>
              <a:avLst/>
              <a:gdLst>
                <a:gd name="T0" fmla="*/ 120 w 240"/>
                <a:gd name="T1" fmla="*/ 240 h 240"/>
                <a:gd name="T2" fmla="*/ 120 w 240"/>
                <a:gd name="T3" fmla="*/ 240 h 240"/>
                <a:gd name="T4" fmla="*/ 167 w 240"/>
                <a:gd name="T5" fmla="*/ 230 h 240"/>
                <a:gd name="T6" fmla="*/ 205 w 240"/>
                <a:gd name="T7" fmla="*/ 204 h 240"/>
                <a:gd name="T8" fmla="*/ 231 w 240"/>
                <a:gd name="T9" fmla="*/ 166 h 240"/>
                <a:gd name="T10" fmla="*/ 240 w 240"/>
                <a:gd name="T11" fmla="*/ 120 h 240"/>
                <a:gd name="T12" fmla="*/ 231 w 240"/>
                <a:gd name="T13" fmla="*/ 73 h 240"/>
                <a:gd name="T14" fmla="*/ 205 w 240"/>
                <a:gd name="T15" fmla="*/ 35 h 240"/>
                <a:gd name="T16" fmla="*/ 167 w 240"/>
                <a:gd name="T17" fmla="*/ 9 h 240"/>
                <a:gd name="T18" fmla="*/ 120 w 240"/>
                <a:gd name="T19" fmla="*/ 0 h 240"/>
                <a:gd name="T20" fmla="*/ 74 w 240"/>
                <a:gd name="T21" fmla="*/ 9 h 240"/>
                <a:gd name="T22" fmla="*/ 36 w 240"/>
                <a:gd name="T23" fmla="*/ 35 h 240"/>
                <a:gd name="T24" fmla="*/ 10 w 240"/>
                <a:gd name="T25" fmla="*/ 73 h 240"/>
                <a:gd name="T26" fmla="*/ 0 w 240"/>
                <a:gd name="T27" fmla="*/ 120 h 240"/>
                <a:gd name="T28" fmla="*/ 10 w 240"/>
                <a:gd name="T29" fmla="*/ 166 h 240"/>
                <a:gd name="T30" fmla="*/ 36 w 240"/>
                <a:gd name="T31" fmla="*/ 204 h 240"/>
                <a:gd name="T32" fmla="*/ 74 w 240"/>
                <a:gd name="T33" fmla="*/ 230 h 240"/>
                <a:gd name="T34" fmla="*/ 120 w 240"/>
                <a:gd name="T35" fmla="*/ 240 h 2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40" h="240">
                  <a:moveTo>
                    <a:pt x="120" y="240"/>
                  </a:moveTo>
                  <a:lnTo>
                    <a:pt x="120" y="240"/>
                  </a:lnTo>
                  <a:cubicBezTo>
                    <a:pt x="137" y="240"/>
                    <a:pt x="153" y="236"/>
                    <a:pt x="167" y="230"/>
                  </a:cubicBezTo>
                  <a:cubicBezTo>
                    <a:pt x="182" y="224"/>
                    <a:pt x="194" y="215"/>
                    <a:pt x="205" y="204"/>
                  </a:cubicBezTo>
                  <a:cubicBezTo>
                    <a:pt x="216" y="193"/>
                    <a:pt x="225" y="181"/>
                    <a:pt x="231" y="166"/>
                  </a:cubicBezTo>
                  <a:cubicBezTo>
                    <a:pt x="237" y="152"/>
                    <a:pt x="240" y="136"/>
                    <a:pt x="240" y="120"/>
                  </a:cubicBezTo>
                  <a:cubicBezTo>
                    <a:pt x="240" y="103"/>
                    <a:pt x="237" y="87"/>
                    <a:pt x="231" y="73"/>
                  </a:cubicBezTo>
                  <a:cubicBezTo>
                    <a:pt x="225" y="58"/>
                    <a:pt x="216" y="46"/>
                    <a:pt x="205" y="35"/>
                  </a:cubicBezTo>
                  <a:cubicBezTo>
                    <a:pt x="194" y="24"/>
                    <a:pt x="182" y="15"/>
                    <a:pt x="167" y="9"/>
                  </a:cubicBezTo>
                  <a:cubicBezTo>
                    <a:pt x="153" y="3"/>
                    <a:pt x="137" y="0"/>
                    <a:pt x="120" y="0"/>
                  </a:cubicBezTo>
                  <a:cubicBezTo>
                    <a:pt x="104" y="0"/>
                    <a:pt x="88" y="3"/>
                    <a:pt x="74" y="9"/>
                  </a:cubicBezTo>
                  <a:cubicBezTo>
                    <a:pt x="59" y="15"/>
                    <a:pt x="47" y="24"/>
                    <a:pt x="36" y="35"/>
                  </a:cubicBezTo>
                  <a:cubicBezTo>
                    <a:pt x="25" y="46"/>
                    <a:pt x="16" y="58"/>
                    <a:pt x="10" y="73"/>
                  </a:cubicBezTo>
                  <a:cubicBezTo>
                    <a:pt x="4" y="87"/>
                    <a:pt x="0" y="103"/>
                    <a:pt x="0" y="120"/>
                  </a:cubicBezTo>
                  <a:cubicBezTo>
                    <a:pt x="0" y="136"/>
                    <a:pt x="4" y="152"/>
                    <a:pt x="10" y="166"/>
                  </a:cubicBezTo>
                  <a:cubicBezTo>
                    <a:pt x="16" y="181"/>
                    <a:pt x="25" y="193"/>
                    <a:pt x="36" y="204"/>
                  </a:cubicBezTo>
                  <a:cubicBezTo>
                    <a:pt x="47" y="215"/>
                    <a:pt x="59" y="224"/>
                    <a:pt x="74" y="230"/>
                  </a:cubicBezTo>
                  <a:cubicBezTo>
                    <a:pt x="88" y="236"/>
                    <a:pt x="104" y="240"/>
                    <a:pt x="120" y="240"/>
                  </a:cubicBezTo>
                  <a:close/>
                </a:path>
              </a:pathLst>
            </a:custGeom>
            <a:solidFill>
              <a:schemeClr val="bg1"/>
            </a:solidFill>
            <a:ln w="12700">
              <a:solidFill>
                <a:srgbClr val="0078D4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878E9AD5-37FF-4D0D-B5BF-72CC084F72D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2700749"/>
            <a:ext cx="12192000" cy="651653"/>
          </a:xfr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algn="ctr">
              <a:lnSpc>
                <a:spcPct val="90000"/>
              </a:lnSpc>
            </a:pPr>
            <a:r>
              <a:rPr lang="en-US" dirty="0">
                <a:gradFill flip="none" rotWithShape="1">
                  <a:gsLst>
                    <a:gs pos="12000">
                      <a:srgbClr val="0078D4"/>
                    </a:gs>
                    <a:gs pos="100000">
                      <a:srgbClr val="50E6FF"/>
                    </a:gs>
                  </a:gsLst>
                  <a:lin ang="18900000" scaled="1"/>
                  <a:tileRect/>
                </a:gradFill>
                <a:cs typeface="+mn-cs"/>
              </a:rPr>
              <a:t>How is everything connected?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49FB5A8D-D3EC-4E8D-AB95-9AE9A35C803E}"/>
              </a:ext>
            </a:extLst>
          </p:cNvPr>
          <p:cNvSpPr/>
          <p:nvPr/>
        </p:nvSpPr>
        <p:spPr>
          <a:xfrm>
            <a:off x="0" y="6494753"/>
            <a:ext cx="12192000" cy="361507"/>
          </a:xfrm>
          <a:prstGeom prst="rect">
            <a:avLst/>
          </a:prstGeom>
          <a:solidFill>
            <a:srgbClr val="007FB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9869E0D-E4F1-46F8-82CB-9D64733FC2A7}"/>
              </a:ext>
            </a:extLst>
          </p:cNvPr>
          <p:cNvSpPr txBox="1"/>
          <p:nvPr/>
        </p:nvSpPr>
        <p:spPr>
          <a:xfrm>
            <a:off x="9520101" y="6536826"/>
            <a:ext cx="2397642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b="0" i="0" kern="0" spc="-20" baseline="0" dirty="0">
                <a:latin typeface="Segoe UI Semibold" charset="0"/>
              </a:rPr>
              <a:t>Microsoft Azure    </a:t>
            </a:r>
            <a:r>
              <a:rPr lang="en-US" sz="1100" b="0" i="0" kern="0" spc="-20" baseline="0" dirty="0">
                <a:latin typeface="Segoe UI Semilight" panose="020B0402040204020203" pitchFamily="34" charset="0"/>
                <a:cs typeface="Segoe UI Semilight" panose="020B0402040204020203" pitchFamily="34" charset="0"/>
              </a:rPr>
              <a:t>|  @Techielass</a:t>
            </a:r>
            <a:endParaRPr lang="en-US" sz="1100" b="0" i="0" kern="0" spc="-20" baseline="0" dirty="0">
              <a:latin typeface="Segoe UI Semilight" panose="020B0402040204020203" pitchFamily="34" charset="0"/>
              <a:ea typeface="Segoe UI Semilight" charset="0"/>
              <a:cs typeface="Segoe UI Semilight" panose="020B0402040204020203" pitchFamily="34" charset="0"/>
            </a:endParaRPr>
          </a:p>
          <a:p>
            <a:endParaRPr lang="en-GB" sz="1100" b="1" dirty="0"/>
          </a:p>
        </p:txBody>
      </p:sp>
    </p:spTree>
    <p:extLst>
      <p:ext uri="{BB962C8B-B14F-4D97-AF65-F5344CB8AC3E}">
        <p14:creationId xmlns:p14="http://schemas.microsoft.com/office/powerpoint/2010/main" val="191620248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-3.7037E-6 L 0 0.04167 " pathEditMode="relative" rAng="0" ptsTypes="AA">
                                      <p:cBhvr>
                                        <p:cTn id="9" dur="750" spd="-100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2083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2" grpId="1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" name="Rectangle 49">
            <a:extLst>
              <a:ext uri="{FF2B5EF4-FFF2-40B4-BE49-F238E27FC236}">
                <a16:creationId xmlns:a16="http://schemas.microsoft.com/office/drawing/2014/main" id="{DE41330E-3C85-D340-A053-F5B49B36F46C}"/>
              </a:ext>
            </a:extLst>
          </p:cNvPr>
          <p:cNvSpPr/>
          <p:nvPr/>
        </p:nvSpPr>
        <p:spPr bwMode="auto">
          <a:xfrm>
            <a:off x="6325520" y="1677670"/>
            <a:ext cx="1947834" cy="439654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451EADAE-4A93-B647-BBA7-F693ABF71729}"/>
              </a:ext>
            </a:extLst>
          </p:cNvPr>
          <p:cNvSpPr/>
          <p:nvPr/>
        </p:nvSpPr>
        <p:spPr bwMode="auto">
          <a:xfrm>
            <a:off x="484299" y="1677670"/>
            <a:ext cx="1947834" cy="439654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F56EDA30-9624-41EF-8946-6482C8614200}"/>
              </a:ext>
            </a:extLst>
          </p:cNvPr>
          <p:cNvSpPr txBox="1">
            <a:spLocks/>
          </p:cNvSpPr>
          <p:nvPr/>
        </p:nvSpPr>
        <p:spPr>
          <a:xfrm>
            <a:off x="589825" y="442548"/>
            <a:ext cx="11015394" cy="553841"/>
          </a:xfrm>
          <a:prstGeom prst="rect">
            <a:avLst/>
          </a:prstGeom>
        </p:spPr>
        <p:txBody>
          <a:bodyPr vert="horz" wrap="square" lIns="0" tIns="89630" rIns="143407" bIns="89630" rtlCol="0" anchor="t">
            <a:noAutofit/>
          </a:bodyPr>
          <a:lstStyle>
            <a:lvl1pPr algn="l" defTabSz="93256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800" b="0" kern="1200" cap="none" spc="-50" baseline="0" dirty="0" smtClean="0">
                <a:ln w="3175">
                  <a:noFill/>
                </a:ln>
                <a:solidFill>
                  <a:srgbClr val="000000"/>
                </a:soli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defTabSz="932384"/>
            <a:endParaRPr lang="en-US" sz="1765" i="1" dirty="0">
              <a:solidFill>
                <a:prstClr val="black"/>
              </a:solidFill>
              <a:latin typeface="Segoe UI Semibold (Headings)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F7A99201-89CE-354E-B17C-DE059F0382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5995" y="433143"/>
            <a:ext cx="11303917" cy="813704"/>
          </a:xfrm>
        </p:spPr>
        <p:txBody>
          <a:bodyPr/>
          <a:lstStyle/>
          <a:p>
            <a:r>
              <a:rPr lang="en-US" dirty="0"/>
              <a:t>Dependency analysis: Supported versions &amp; pre-requisites </a:t>
            </a:r>
          </a:p>
        </p:txBody>
      </p:sp>
      <p:pic>
        <p:nvPicPr>
          <p:cNvPr id="26" name="Picture 4" descr="Image result for vmware icon transparent">
            <a:extLst>
              <a:ext uri="{FF2B5EF4-FFF2-40B4-BE49-F238E27FC236}">
                <a16:creationId xmlns:a16="http://schemas.microsoft.com/office/drawing/2014/main" id="{E900F37A-3807-6F40-947D-F37F5622A43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82047" y="2617335"/>
            <a:ext cx="1351199" cy="2202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9" name="Table 11">
            <a:extLst>
              <a:ext uri="{FF2B5EF4-FFF2-40B4-BE49-F238E27FC236}">
                <a16:creationId xmlns:a16="http://schemas.microsoft.com/office/drawing/2014/main" id="{C01FE9F1-6DB1-4A4B-920D-7C4599F5326A}"/>
              </a:ext>
            </a:extLst>
          </p:cNvPr>
          <p:cNvGraphicFramePr>
            <a:graphicFrameLocks noGrp="1"/>
          </p:cNvGraphicFramePr>
          <p:nvPr/>
        </p:nvGraphicFramePr>
        <p:xfrm>
          <a:off x="2547774" y="2002576"/>
          <a:ext cx="2958697" cy="419577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958697">
                  <a:extLst>
                    <a:ext uri="{9D8B030D-6E8A-4147-A177-3AD203B41FA5}">
                      <a16:colId xmlns:a16="http://schemas.microsoft.com/office/drawing/2014/main" val="1167338688"/>
                    </a:ext>
                  </a:extLst>
                </a:gridCol>
              </a:tblGrid>
              <a:tr h="1232391">
                <a:tc>
                  <a:txBody>
                    <a:bodyPr/>
                    <a:lstStyle/>
                    <a:p>
                      <a:pPr marL="9525" lvl="1" indent="0" algn="l" defTabSz="914191" rtl="0" eaLnBrk="1" latinLnBrk="0" hangingPunct="1">
                        <a:spcAft>
                          <a:spcPts val="3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n-US" sz="1600" b="0" kern="1200" dirty="0">
                          <a:solidFill>
                            <a:schemeClr val="tx2"/>
                          </a:solidFill>
                          <a:latin typeface="+mj-lt"/>
                          <a:ea typeface="+mn-ea"/>
                          <a:cs typeface="Segoe UI Semilight" panose="020B0402040204020203" pitchFamily="34" charset="0"/>
                        </a:rPr>
                        <a:t>On VMs</a:t>
                      </a:r>
                    </a:p>
                    <a:p>
                      <a:pPr marL="9525" lvl="1" indent="0" algn="l" defTabSz="914191" rtl="0" eaLnBrk="1" latinLnBrk="0" hangingPunct="1">
                        <a:spcAft>
                          <a:spcPts val="300"/>
                        </a:spcAft>
                        <a:buFont typeface="Arial" panose="020B0604020202020204" pitchFamily="34" charset="0"/>
                        <a:buNone/>
                        <a:defRPr/>
                      </a:pPr>
                      <a:r>
                        <a:rPr lang="en-US" sz="1200" b="0" kern="1200" dirty="0">
                          <a:gradFill>
                            <a:gsLst>
                              <a:gs pos="2917">
                                <a:srgbClr val="1A1A1A"/>
                              </a:gs>
                              <a:gs pos="30000">
                                <a:srgbClr val="1A1A1A"/>
                              </a:gs>
                            </a:gsLst>
                            <a:lin ang="5400000" scaled="0"/>
                          </a:gradFill>
                          <a:latin typeface="+mn-lt"/>
                          <a:ea typeface="+mn-ea"/>
                          <a:cs typeface="Segoe UI Semilight" panose="020B0402040204020203" pitchFamily="34" charset="0"/>
                        </a:rPr>
                        <a:t>PowerShell 2.0 </a:t>
                      </a:r>
                    </a:p>
                    <a:p>
                      <a:pPr marL="9525" lvl="1" indent="0" algn="l" defTabSz="914191" rtl="0" eaLnBrk="1" latinLnBrk="0" hangingPunct="1">
                        <a:spcAft>
                          <a:spcPts val="300"/>
                        </a:spcAft>
                        <a:buFont typeface="Arial" panose="020B0604020202020204" pitchFamily="34" charset="0"/>
                        <a:buNone/>
                        <a:defRPr/>
                      </a:pPr>
                      <a:r>
                        <a:rPr lang="en-US" sz="1200" b="0" kern="1200" dirty="0">
                          <a:gradFill>
                            <a:gsLst>
                              <a:gs pos="2917">
                                <a:srgbClr val="1A1A1A"/>
                              </a:gs>
                              <a:gs pos="30000">
                                <a:srgbClr val="1A1A1A"/>
                              </a:gs>
                            </a:gsLst>
                            <a:lin ang="5400000" scaled="0"/>
                          </a:gradFill>
                          <a:latin typeface="+mn-lt"/>
                          <a:ea typeface="+mn-ea"/>
                          <a:cs typeface="Segoe UI Semilight" panose="020B0402040204020203" pitchFamily="34" charset="0"/>
                        </a:rPr>
                        <a:t>VMware tools 10.2.0 or later</a:t>
                      </a:r>
                    </a:p>
                    <a:p>
                      <a:pPr marL="9525" lvl="1" indent="0" algn="l" defTabSz="914191" rtl="0" eaLnBrk="1" latinLnBrk="0" hangingPunct="1">
                        <a:spcAft>
                          <a:spcPts val="300"/>
                        </a:spcAft>
                        <a:buFont typeface="Arial" panose="020B0604020202020204" pitchFamily="34" charset="0"/>
                        <a:buNone/>
                        <a:defRPr/>
                      </a:pPr>
                      <a:r>
                        <a:rPr lang="en-US" sz="1200" b="0" kern="1200" dirty="0">
                          <a:gradFill>
                            <a:gsLst>
                              <a:gs pos="2917">
                                <a:srgbClr val="1A1A1A"/>
                              </a:gs>
                              <a:gs pos="30000">
                                <a:srgbClr val="1A1A1A"/>
                              </a:gs>
                            </a:gsLst>
                            <a:lin ang="5400000" scaled="0"/>
                          </a:gradFill>
                          <a:latin typeface="+mn-lt"/>
                          <a:ea typeface="+mn-ea"/>
                          <a:cs typeface="Segoe UI Semilight" panose="020B0402040204020203" pitchFamily="34" charset="0"/>
                        </a:rPr>
                        <a:t>Administrator account </a:t>
                      </a:r>
                    </a:p>
                  </a:txBody>
                  <a:tcPr marL="89642" marR="89642" marT="44821" marB="44821"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99590517"/>
                  </a:ext>
                </a:extLst>
              </a:tr>
              <a:tr h="912534">
                <a:tc>
                  <a:txBody>
                    <a:bodyPr/>
                    <a:lstStyle/>
                    <a:p>
                      <a:pPr marL="9525" lvl="1" indent="0" algn="l" defTabSz="914191" rtl="0" eaLnBrk="1" latinLnBrk="0" hangingPunct="1">
                        <a:spcAft>
                          <a:spcPts val="3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n-US" sz="1600" b="0" kern="1200" dirty="0">
                          <a:solidFill>
                            <a:schemeClr val="tx2"/>
                          </a:solidFill>
                          <a:latin typeface="+mj-lt"/>
                          <a:ea typeface="+mn-ea"/>
                          <a:cs typeface="Segoe UI Semilight" panose="020B0402040204020203" pitchFamily="34" charset="0"/>
                        </a:rPr>
                        <a:t>On vCenter</a:t>
                      </a:r>
                    </a:p>
                    <a:p>
                      <a:pPr marL="9525" lvl="1" indent="0" algn="l" defTabSz="914191" rtl="0" eaLnBrk="1" latinLnBrk="0" hangingPunct="1">
                        <a:spcAft>
                          <a:spcPts val="300"/>
                        </a:spcAft>
                        <a:buFont typeface="Arial" panose="020B0604020202020204" pitchFamily="34" charset="0"/>
                        <a:buNone/>
                        <a:defRPr/>
                      </a:pPr>
                      <a:r>
                        <a:rPr lang="en-US" sz="1200" b="0" kern="1200" dirty="0">
                          <a:gradFill>
                            <a:gsLst>
                              <a:gs pos="2917">
                                <a:srgbClr val="1A1A1A"/>
                              </a:gs>
                              <a:gs pos="30000">
                                <a:srgbClr val="1A1A1A"/>
                              </a:gs>
                            </a:gsLst>
                            <a:lin ang="5400000" scaled="0"/>
                          </a:gradFill>
                          <a:latin typeface="+mn-lt"/>
                          <a:ea typeface="+mn-ea"/>
                          <a:cs typeface="Segoe UI Semilight" panose="020B0402040204020203" pitchFamily="34" charset="0"/>
                        </a:rPr>
                        <a:t>Read-only account with Virtual Machines </a:t>
                      </a:r>
                      <a:br>
                        <a:rPr lang="en-US" sz="1200" b="0" kern="1200" dirty="0">
                          <a:gradFill>
                            <a:gsLst>
                              <a:gs pos="2917">
                                <a:srgbClr val="1A1A1A"/>
                              </a:gs>
                              <a:gs pos="30000">
                                <a:srgbClr val="1A1A1A"/>
                              </a:gs>
                            </a:gsLst>
                            <a:lin ang="5400000" scaled="0"/>
                          </a:gradFill>
                          <a:latin typeface="+mn-lt"/>
                          <a:ea typeface="+mn-ea"/>
                          <a:cs typeface="Segoe UI Semilight" panose="020B0402040204020203" pitchFamily="34" charset="0"/>
                        </a:rPr>
                      </a:br>
                      <a:r>
                        <a:rPr lang="en-US" sz="1200" b="0" kern="1200" dirty="0">
                          <a:gradFill>
                            <a:gsLst>
                              <a:gs pos="2917">
                                <a:srgbClr val="1A1A1A"/>
                              </a:gs>
                              <a:gs pos="30000">
                                <a:srgbClr val="1A1A1A"/>
                              </a:gs>
                            </a:gsLst>
                            <a:lin ang="5400000" scaled="0"/>
                          </a:gradFill>
                          <a:latin typeface="+mn-lt"/>
                          <a:ea typeface="+mn-ea"/>
                          <a:cs typeface="Segoe UI Semilight" panose="020B0402040204020203" pitchFamily="34" charset="0"/>
                        </a:rPr>
                        <a:t>-&gt; Guest Operations privilege </a:t>
                      </a:r>
                    </a:p>
                  </a:txBody>
                  <a:tcPr marL="89642" marR="89642" marT="44821" marB="44821"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67529519"/>
                  </a:ext>
                </a:extLst>
              </a:tr>
              <a:tr h="2050849">
                <a:tc>
                  <a:txBody>
                    <a:bodyPr/>
                    <a:lstStyle/>
                    <a:p>
                      <a:pPr marL="9525" lvl="1" indent="0" algn="l" defTabSz="914191" rtl="0" eaLnBrk="1" latinLnBrk="0" hangingPunct="1">
                        <a:spcAft>
                          <a:spcPts val="3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n-US" sz="1600" b="0" kern="1200" dirty="0">
                          <a:solidFill>
                            <a:schemeClr val="tx2"/>
                          </a:solidFill>
                          <a:latin typeface="+mj-lt"/>
                          <a:ea typeface="+mn-ea"/>
                          <a:cs typeface="Segoe UI Semilight" panose="020B0402040204020203" pitchFamily="34" charset="0"/>
                        </a:rPr>
                        <a:t>Supported VMs </a:t>
                      </a:r>
                    </a:p>
                    <a:p>
                      <a:pPr marL="9525" lvl="1" indent="0" algn="l" defTabSz="914191" rtl="0" eaLnBrk="1" latinLnBrk="0" hangingPunct="1">
                        <a:spcAft>
                          <a:spcPts val="300"/>
                        </a:spcAft>
                        <a:buFont typeface="Arial" panose="020B0604020202020204" pitchFamily="34" charset="0"/>
                        <a:buNone/>
                        <a:defRPr/>
                      </a:pPr>
                      <a:r>
                        <a:rPr lang="en-US" sz="1200" b="0" kern="1200" dirty="0">
                          <a:gradFill>
                            <a:gsLst>
                              <a:gs pos="2917">
                                <a:srgbClr val="1A1A1A"/>
                              </a:gs>
                              <a:gs pos="30000">
                                <a:srgbClr val="1A1A1A"/>
                              </a:gs>
                            </a:gsLst>
                            <a:lin ang="5400000" scaled="0"/>
                          </a:gradFill>
                          <a:latin typeface="+mn-lt"/>
                          <a:ea typeface="+mn-ea"/>
                          <a:cs typeface="Segoe UI Semilight" panose="020B0402040204020203" pitchFamily="34" charset="0"/>
                        </a:rPr>
                        <a:t>Windows Server 2008 R2 and above</a:t>
                      </a:r>
                    </a:p>
                    <a:p>
                      <a:pPr marL="9525" lvl="1" indent="0" algn="l" defTabSz="914191" rtl="0" eaLnBrk="1" latinLnBrk="0" hangingPunct="1">
                        <a:spcAft>
                          <a:spcPts val="300"/>
                        </a:spcAft>
                        <a:buFont typeface="Arial" panose="020B0604020202020204" pitchFamily="34" charset="0"/>
                        <a:buNone/>
                        <a:defRPr/>
                      </a:pPr>
                      <a:r>
                        <a:rPr lang="en-US" sz="1200" b="0" kern="1200" dirty="0">
                          <a:gradFill>
                            <a:gsLst>
                              <a:gs pos="2917">
                                <a:srgbClr val="1A1A1A"/>
                              </a:gs>
                              <a:gs pos="30000">
                                <a:srgbClr val="1A1A1A"/>
                              </a:gs>
                            </a:gsLst>
                            <a:lin ang="5400000" scaled="0"/>
                          </a:gradFill>
                          <a:latin typeface="+mn-lt"/>
                          <a:ea typeface="+mn-ea"/>
                          <a:cs typeface="Segoe UI Semilight" panose="020B0402040204020203" pitchFamily="34" charset="0"/>
                        </a:rPr>
                        <a:t>Red Hat Enterprise Linux 7, 6, 5</a:t>
                      </a:r>
                    </a:p>
                    <a:p>
                      <a:pPr marL="9525" lvl="1" indent="0" algn="l" defTabSz="914191" rtl="0" eaLnBrk="1" latinLnBrk="0" hangingPunct="1">
                        <a:spcAft>
                          <a:spcPts val="300"/>
                        </a:spcAft>
                        <a:buFont typeface="Arial" panose="020B0604020202020204" pitchFamily="34" charset="0"/>
                        <a:buNone/>
                        <a:defRPr/>
                      </a:pPr>
                      <a:r>
                        <a:rPr lang="en-US" sz="1200" b="0" kern="1200" dirty="0">
                          <a:gradFill>
                            <a:gsLst>
                              <a:gs pos="2917">
                                <a:srgbClr val="1A1A1A"/>
                              </a:gs>
                              <a:gs pos="30000">
                                <a:srgbClr val="1A1A1A"/>
                              </a:gs>
                            </a:gsLst>
                            <a:lin ang="5400000" scaled="0"/>
                          </a:gradFill>
                          <a:latin typeface="+mn-lt"/>
                          <a:ea typeface="+mn-ea"/>
                          <a:cs typeface="Segoe UI Semilight" panose="020B0402040204020203" pitchFamily="34" charset="0"/>
                        </a:rPr>
                        <a:t>Ubuntu Linux 14.04, 16.04</a:t>
                      </a:r>
                    </a:p>
                    <a:p>
                      <a:pPr marL="9525" lvl="1" indent="0" algn="l" defTabSz="914191" rtl="0" eaLnBrk="1" latinLnBrk="0" hangingPunct="1">
                        <a:spcAft>
                          <a:spcPts val="300"/>
                        </a:spcAft>
                        <a:buFont typeface="Arial" panose="020B0604020202020204" pitchFamily="34" charset="0"/>
                        <a:buNone/>
                        <a:defRPr/>
                      </a:pPr>
                      <a:r>
                        <a:rPr lang="en-US" sz="1200" b="0" kern="1200" dirty="0">
                          <a:gradFill>
                            <a:gsLst>
                              <a:gs pos="2917">
                                <a:srgbClr val="1A1A1A"/>
                              </a:gs>
                              <a:gs pos="30000">
                                <a:srgbClr val="1A1A1A"/>
                              </a:gs>
                            </a:gsLst>
                            <a:lin ang="5400000" scaled="0"/>
                          </a:gradFill>
                          <a:latin typeface="+mn-lt"/>
                          <a:ea typeface="+mn-ea"/>
                          <a:cs typeface="Segoe UI Semilight" panose="020B0402040204020203" pitchFamily="34" charset="0"/>
                        </a:rPr>
                        <a:t>Debian 7, 8</a:t>
                      </a:r>
                    </a:p>
                    <a:p>
                      <a:pPr marL="9525" lvl="1" indent="0" algn="l" defTabSz="914191" rtl="0" eaLnBrk="1" latinLnBrk="0" hangingPunct="1">
                        <a:spcAft>
                          <a:spcPts val="300"/>
                        </a:spcAft>
                        <a:buFont typeface="Arial" panose="020B0604020202020204" pitchFamily="34" charset="0"/>
                        <a:buNone/>
                        <a:defRPr/>
                      </a:pPr>
                      <a:r>
                        <a:rPr lang="en-US" sz="1200" b="0" kern="1200" dirty="0">
                          <a:gradFill>
                            <a:gsLst>
                              <a:gs pos="2917">
                                <a:srgbClr val="1A1A1A"/>
                              </a:gs>
                              <a:gs pos="30000">
                                <a:srgbClr val="1A1A1A"/>
                              </a:gs>
                            </a:gsLst>
                            <a:lin ang="5400000" scaled="0"/>
                          </a:gradFill>
                          <a:latin typeface="+mn-lt"/>
                          <a:ea typeface="+mn-ea"/>
                          <a:cs typeface="Segoe UI Semilight" panose="020B0402040204020203" pitchFamily="34" charset="0"/>
                        </a:rPr>
                        <a:t>Oracle Linux 6, 7</a:t>
                      </a:r>
                    </a:p>
                    <a:p>
                      <a:pPr marL="9525" lvl="1" indent="0" algn="l" defTabSz="914191" rtl="0" eaLnBrk="1" latinLnBrk="0" hangingPunct="1">
                        <a:spcAft>
                          <a:spcPts val="300"/>
                        </a:spcAft>
                        <a:buFont typeface="Arial" panose="020B0604020202020204" pitchFamily="34" charset="0"/>
                        <a:buNone/>
                        <a:defRPr/>
                      </a:pPr>
                      <a:r>
                        <a:rPr lang="en-US" sz="1200" b="0" kern="1200" dirty="0">
                          <a:gradFill>
                            <a:gsLst>
                              <a:gs pos="2917">
                                <a:srgbClr val="1A1A1A"/>
                              </a:gs>
                              <a:gs pos="30000">
                                <a:srgbClr val="1A1A1A"/>
                              </a:gs>
                            </a:gsLst>
                            <a:lin ang="5400000" scaled="0"/>
                          </a:gradFill>
                          <a:latin typeface="+mn-lt"/>
                          <a:ea typeface="+mn-ea"/>
                          <a:cs typeface="Segoe UI Semilight" panose="020B0402040204020203" pitchFamily="34" charset="0"/>
                        </a:rPr>
                        <a:t>CentOS 5, 6, 7</a:t>
                      </a:r>
                    </a:p>
                  </a:txBody>
                  <a:tcPr marL="89642" marR="89642" marT="44821" marB="44821"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89784918"/>
                  </a:ext>
                </a:extLst>
              </a:tr>
            </a:tbl>
          </a:graphicData>
        </a:graphic>
      </p:graphicFrame>
      <p:sp>
        <p:nvSpPr>
          <p:cNvPr id="12" name="Rectangle 11">
            <a:extLst>
              <a:ext uri="{FF2B5EF4-FFF2-40B4-BE49-F238E27FC236}">
                <a16:creationId xmlns:a16="http://schemas.microsoft.com/office/drawing/2014/main" id="{69B4A5FA-42AA-F648-B34F-12574236B52E}"/>
              </a:ext>
            </a:extLst>
          </p:cNvPr>
          <p:cNvSpPr/>
          <p:nvPr/>
        </p:nvSpPr>
        <p:spPr>
          <a:xfrm>
            <a:off x="964135" y="1849073"/>
            <a:ext cx="987022" cy="51293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568" dirty="0">
                <a:latin typeface="+mj-lt"/>
              </a:rPr>
              <a:t>VMware </a:t>
            </a:r>
            <a:br>
              <a:rPr lang="en-US" sz="1568" dirty="0"/>
            </a:br>
            <a:r>
              <a:rPr lang="en-US" sz="1176" dirty="0"/>
              <a:t>(agentless)</a:t>
            </a:r>
            <a:endParaRPr lang="en-US" sz="1568" dirty="0"/>
          </a:p>
        </p:txBody>
      </p:sp>
      <p:graphicFrame>
        <p:nvGraphicFramePr>
          <p:cNvPr id="39" name="Table 11">
            <a:extLst>
              <a:ext uri="{FF2B5EF4-FFF2-40B4-BE49-F238E27FC236}">
                <a16:creationId xmlns:a16="http://schemas.microsoft.com/office/drawing/2014/main" id="{9EC5E6AB-426E-624C-A75E-EE77A1D04481}"/>
              </a:ext>
            </a:extLst>
          </p:cNvPr>
          <p:cNvGraphicFramePr>
            <a:graphicFrameLocks noGrp="1"/>
          </p:cNvGraphicFramePr>
          <p:nvPr/>
        </p:nvGraphicFramePr>
        <p:xfrm>
          <a:off x="8406161" y="2002576"/>
          <a:ext cx="2958697" cy="419577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958697">
                  <a:extLst>
                    <a:ext uri="{9D8B030D-6E8A-4147-A177-3AD203B41FA5}">
                      <a16:colId xmlns:a16="http://schemas.microsoft.com/office/drawing/2014/main" val="1167338688"/>
                    </a:ext>
                  </a:extLst>
                </a:gridCol>
              </a:tblGrid>
              <a:tr h="1232391">
                <a:tc>
                  <a:txBody>
                    <a:bodyPr/>
                    <a:lstStyle/>
                    <a:p>
                      <a:pPr marL="9525" lvl="1" indent="0" algn="l" defTabSz="914191" rtl="0" eaLnBrk="1" latinLnBrk="0" hangingPunct="1">
                        <a:spcAft>
                          <a:spcPts val="3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n-US" sz="1600" b="0" kern="1200" dirty="0">
                          <a:solidFill>
                            <a:schemeClr val="tx2"/>
                          </a:solidFill>
                          <a:latin typeface="+mj-lt"/>
                          <a:ea typeface="+mn-ea"/>
                          <a:cs typeface="Segoe UI Semilight" panose="020B0402040204020203" pitchFamily="34" charset="0"/>
                        </a:rPr>
                        <a:t>On VMs</a:t>
                      </a:r>
                    </a:p>
                    <a:p>
                      <a:pPr marL="9525" lvl="1" indent="0" algn="l" defTabSz="914191" rtl="0" eaLnBrk="1" latinLnBrk="0" hangingPunct="1">
                        <a:spcAft>
                          <a:spcPts val="300"/>
                        </a:spcAft>
                        <a:buFont typeface="Arial" panose="020B0604020202020204" pitchFamily="34" charset="0"/>
                        <a:buNone/>
                        <a:defRPr/>
                      </a:pPr>
                      <a:r>
                        <a:rPr lang="en-US" sz="1200" b="0" kern="1200" dirty="0">
                          <a:gradFill>
                            <a:gsLst>
                              <a:gs pos="2917">
                                <a:srgbClr val="1A1A1A"/>
                              </a:gs>
                              <a:gs pos="30000">
                                <a:srgbClr val="1A1A1A"/>
                              </a:gs>
                            </a:gsLst>
                            <a:lin ang="5400000" scaled="0"/>
                          </a:gradFill>
                          <a:latin typeface="+mn-lt"/>
                          <a:ea typeface="+mn-ea"/>
                          <a:cs typeface="Segoe UI Semilight" panose="020B0402040204020203" pitchFamily="34" charset="0"/>
                        </a:rPr>
                        <a:t>Microsoft Monitoring agent</a:t>
                      </a:r>
                    </a:p>
                    <a:p>
                      <a:pPr marL="9525" lvl="1" indent="0" algn="l" defTabSz="914191" rtl="0" eaLnBrk="1" latinLnBrk="0" hangingPunct="1">
                        <a:spcAft>
                          <a:spcPts val="300"/>
                        </a:spcAft>
                        <a:buFont typeface="Arial" panose="020B0604020202020204" pitchFamily="34" charset="0"/>
                        <a:buNone/>
                        <a:defRPr/>
                      </a:pPr>
                      <a:r>
                        <a:rPr lang="en-US" sz="1200" b="0" kern="1200" dirty="0">
                          <a:gradFill>
                            <a:gsLst>
                              <a:gs pos="2917">
                                <a:srgbClr val="1A1A1A"/>
                              </a:gs>
                              <a:gs pos="30000">
                                <a:srgbClr val="1A1A1A"/>
                              </a:gs>
                            </a:gsLst>
                            <a:lin ang="5400000" scaled="0"/>
                          </a:gradFill>
                          <a:latin typeface="+mn-lt"/>
                          <a:ea typeface="+mn-ea"/>
                          <a:cs typeface="Segoe UI Semilight" panose="020B0402040204020203" pitchFamily="34" charset="0"/>
                        </a:rPr>
                        <a:t>Dependency agent</a:t>
                      </a:r>
                    </a:p>
                  </a:txBody>
                  <a:tcPr marL="89642" marR="89642" marT="44821" marB="44821"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99590517"/>
                  </a:ext>
                </a:extLst>
              </a:tr>
              <a:tr h="912534">
                <a:tc>
                  <a:txBody>
                    <a:bodyPr/>
                    <a:lstStyle/>
                    <a:p>
                      <a:pPr marL="9525" lvl="1" indent="0" algn="l" defTabSz="914191" rtl="0" eaLnBrk="1" latinLnBrk="0" hangingPunct="1">
                        <a:spcAft>
                          <a:spcPts val="3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n-US" sz="1600" b="0" kern="1200" dirty="0">
                          <a:solidFill>
                            <a:schemeClr val="tx2"/>
                          </a:solidFill>
                          <a:latin typeface="+mj-lt"/>
                          <a:ea typeface="+mn-ea"/>
                          <a:cs typeface="Segoe UI Semilight" panose="020B0402040204020203" pitchFamily="34" charset="0"/>
                        </a:rPr>
                        <a:t>On Azure</a:t>
                      </a:r>
                    </a:p>
                    <a:p>
                      <a:pPr marL="9525" lvl="1" indent="0" algn="l" defTabSz="914191" rtl="0" eaLnBrk="1" latinLnBrk="0" hangingPunct="1">
                        <a:spcAft>
                          <a:spcPts val="300"/>
                        </a:spcAft>
                        <a:buFont typeface="Arial" panose="020B0604020202020204" pitchFamily="34" charset="0"/>
                        <a:buNone/>
                        <a:defRPr/>
                      </a:pPr>
                      <a:r>
                        <a:rPr lang="en-US" sz="1200" b="0" kern="1200" dirty="0">
                          <a:gradFill>
                            <a:gsLst>
                              <a:gs pos="2917">
                                <a:srgbClr val="1A1A1A"/>
                              </a:gs>
                              <a:gs pos="30000">
                                <a:srgbClr val="1A1A1A"/>
                              </a:gs>
                            </a:gsLst>
                            <a:lin ang="5400000" scaled="0"/>
                          </a:gradFill>
                          <a:latin typeface="+mn-lt"/>
                          <a:ea typeface="+mn-ea"/>
                          <a:cs typeface="Segoe UI Semilight" panose="020B0402040204020203" pitchFamily="34" charset="0"/>
                        </a:rPr>
                        <a:t>Log Analytics workspace</a:t>
                      </a:r>
                    </a:p>
                  </a:txBody>
                  <a:tcPr marL="89642" marR="89642" marT="44821" marB="44821"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67529519"/>
                  </a:ext>
                </a:extLst>
              </a:tr>
              <a:tr h="2050849">
                <a:tc>
                  <a:txBody>
                    <a:bodyPr/>
                    <a:lstStyle/>
                    <a:p>
                      <a:pPr marL="9525" lvl="1" indent="0" algn="l" defTabSz="914191" rtl="0" eaLnBrk="1" latinLnBrk="0" hangingPunct="1">
                        <a:spcAft>
                          <a:spcPts val="3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n-US" sz="1600" b="0" kern="1200" dirty="0">
                          <a:solidFill>
                            <a:schemeClr val="tx2"/>
                          </a:solidFill>
                          <a:latin typeface="+mj-lt"/>
                          <a:ea typeface="+mn-ea"/>
                          <a:cs typeface="Segoe UI Semilight" panose="020B0402040204020203" pitchFamily="34" charset="0"/>
                        </a:rPr>
                        <a:t>Supported VMs </a:t>
                      </a:r>
                    </a:p>
                    <a:p>
                      <a:pPr marL="9525" lvl="1" indent="0" algn="l" defTabSz="914191" rtl="0" eaLnBrk="1" latinLnBrk="0" hangingPunct="1">
                        <a:spcAft>
                          <a:spcPts val="300"/>
                        </a:spcAft>
                        <a:buFont typeface="Arial" panose="020B0604020202020204" pitchFamily="34" charset="0"/>
                        <a:buNone/>
                        <a:defRPr/>
                      </a:pPr>
                      <a:r>
                        <a:rPr lang="en-US" sz="1200" b="0" kern="1200" dirty="0">
                          <a:gradFill>
                            <a:gsLst>
                              <a:gs pos="2917">
                                <a:srgbClr val="1A1A1A"/>
                              </a:gs>
                              <a:gs pos="30000">
                                <a:srgbClr val="1A1A1A"/>
                              </a:gs>
                            </a:gsLst>
                            <a:lin ang="5400000" scaled="0"/>
                          </a:gradFill>
                          <a:latin typeface="+mn-lt"/>
                          <a:ea typeface="+mn-ea"/>
                          <a:cs typeface="Segoe UI Semilight" panose="020B0402040204020203" pitchFamily="34" charset="0"/>
                        </a:rPr>
                        <a:t>All except</a:t>
                      </a:r>
                    </a:p>
                    <a:p>
                      <a:pPr marL="9525" lvl="1" indent="0" algn="l" defTabSz="914191" rtl="0" eaLnBrk="1" latinLnBrk="0" hangingPunct="1">
                        <a:spcAft>
                          <a:spcPts val="300"/>
                        </a:spcAft>
                        <a:buFont typeface="Arial" panose="020B0604020202020204" pitchFamily="34" charset="0"/>
                        <a:buNone/>
                        <a:defRPr/>
                      </a:pPr>
                      <a:r>
                        <a:rPr lang="en-US" sz="1200" b="0" kern="1200" dirty="0">
                          <a:gradFill>
                            <a:gsLst>
                              <a:gs pos="2917">
                                <a:srgbClr val="1A1A1A"/>
                              </a:gs>
                              <a:gs pos="30000">
                                <a:srgbClr val="1A1A1A"/>
                              </a:gs>
                            </a:gsLst>
                            <a:lin ang="5400000" scaled="0"/>
                          </a:gradFill>
                          <a:latin typeface="+mn-lt"/>
                          <a:ea typeface="+mn-ea"/>
                          <a:cs typeface="Segoe UI Semilight" panose="020B0402040204020203" pitchFamily="34" charset="0"/>
                        </a:rPr>
                        <a:t>Windows Server 2003</a:t>
                      </a:r>
                    </a:p>
                    <a:p>
                      <a:pPr marL="9525" lvl="1" indent="0" algn="l" defTabSz="914191" rtl="0" eaLnBrk="1" latinLnBrk="0" hangingPunct="1">
                        <a:spcAft>
                          <a:spcPts val="300"/>
                        </a:spcAft>
                        <a:buFont typeface="Arial" panose="020B0604020202020204" pitchFamily="34" charset="0"/>
                        <a:buNone/>
                        <a:defRPr/>
                      </a:pPr>
                      <a:r>
                        <a:rPr lang="en-US" sz="1200" b="0" kern="1200" dirty="0">
                          <a:gradFill>
                            <a:gsLst>
                              <a:gs pos="2917">
                                <a:srgbClr val="1A1A1A"/>
                              </a:gs>
                              <a:gs pos="30000">
                                <a:srgbClr val="1A1A1A"/>
                              </a:gs>
                            </a:gsLst>
                            <a:lin ang="5400000" scaled="0"/>
                          </a:gradFill>
                          <a:latin typeface="+mn-lt"/>
                          <a:ea typeface="+mn-ea"/>
                          <a:cs typeface="Segoe UI Semilight" panose="020B0402040204020203" pitchFamily="34" charset="0"/>
                        </a:rPr>
                        <a:t>SUSE Linux</a:t>
                      </a:r>
                    </a:p>
                  </a:txBody>
                  <a:tcPr marL="89642" marR="89642" marT="44821" marB="44821"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89784918"/>
                  </a:ext>
                </a:extLst>
              </a:tr>
            </a:tbl>
          </a:graphicData>
        </a:graphic>
      </p:graphicFrame>
      <p:sp>
        <p:nvSpPr>
          <p:cNvPr id="40" name="Rectangle 39">
            <a:extLst>
              <a:ext uri="{FF2B5EF4-FFF2-40B4-BE49-F238E27FC236}">
                <a16:creationId xmlns:a16="http://schemas.microsoft.com/office/drawing/2014/main" id="{E7209B20-2571-864A-9638-AFEDAB95615D}"/>
              </a:ext>
            </a:extLst>
          </p:cNvPr>
          <p:cNvSpPr/>
          <p:nvPr/>
        </p:nvSpPr>
        <p:spPr>
          <a:xfrm>
            <a:off x="6325520" y="1849073"/>
            <a:ext cx="1947834" cy="105604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568" dirty="0">
                <a:latin typeface="+mj-lt"/>
              </a:rPr>
              <a:t>Hyper-V/ physical servers/ </a:t>
            </a:r>
          </a:p>
          <a:p>
            <a:pPr algn="ctr"/>
            <a:r>
              <a:rPr lang="en-US" sz="1568" dirty="0">
                <a:latin typeface="+mj-lt"/>
              </a:rPr>
              <a:t>other cloud servers </a:t>
            </a:r>
            <a:br>
              <a:rPr lang="en-US" sz="1568" dirty="0"/>
            </a:br>
            <a:endParaRPr lang="en-US" sz="1568" dirty="0"/>
          </a:p>
        </p:txBody>
      </p:sp>
      <p:pic>
        <p:nvPicPr>
          <p:cNvPr id="45" name="Picture 4">
            <a:extLst>
              <a:ext uri="{FF2B5EF4-FFF2-40B4-BE49-F238E27FC236}">
                <a16:creationId xmlns:a16="http://schemas.microsoft.com/office/drawing/2014/main" id="{BE0974F7-067D-5247-86FC-ED59C96B280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/>
          <a:srcRect/>
          <a:stretch/>
        </p:blipFill>
        <p:spPr bwMode="auto">
          <a:xfrm>
            <a:off x="6816247" y="3414682"/>
            <a:ext cx="966381" cy="4141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6" name="Picture 45">
            <a:extLst>
              <a:ext uri="{FF2B5EF4-FFF2-40B4-BE49-F238E27FC236}">
                <a16:creationId xmlns:a16="http://schemas.microsoft.com/office/drawing/2014/main" id="{58B04118-A1F7-484B-97A3-3E818B5C8682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141618" y="2880576"/>
            <a:ext cx="315640" cy="315640"/>
          </a:xfrm>
          <a:prstGeom prst="rect">
            <a:avLst/>
          </a:prstGeom>
        </p:spPr>
      </p:pic>
      <p:pic>
        <p:nvPicPr>
          <p:cNvPr id="47" name="Picture 6" descr="Image result for aws transparent icon">
            <a:extLst>
              <a:ext uri="{FF2B5EF4-FFF2-40B4-BE49-F238E27FC236}">
                <a16:creationId xmlns:a16="http://schemas.microsoft.com/office/drawing/2014/main" id="{317CC506-548D-9E4C-8D0F-6B9CE669CA8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895687" y="4047309"/>
            <a:ext cx="807500" cy="3156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2" name="Picture 4">
            <a:extLst>
              <a:ext uri="{FF2B5EF4-FFF2-40B4-BE49-F238E27FC236}">
                <a16:creationId xmlns:a16="http://schemas.microsoft.com/office/drawing/2014/main" id="{B6E77697-2208-D54A-B926-8D088691029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6613694" y="4320259"/>
            <a:ext cx="1371488" cy="9134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4" name="TextBox 53">
            <a:extLst>
              <a:ext uri="{FF2B5EF4-FFF2-40B4-BE49-F238E27FC236}">
                <a16:creationId xmlns:a16="http://schemas.microsoft.com/office/drawing/2014/main" id="{BB51D319-40CF-2C4B-9923-1E95DC2B7831}"/>
              </a:ext>
            </a:extLst>
          </p:cNvPr>
          <p:cNvSpPr txBox="1"/>
          <p:nvPr/>
        </p:nvSpPr>
        <p:spPr>
          <a:xfrm>
            <a:off x="455995" y="6287220"/>
            <a:ext cx="6713806" cy="2507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914225">
              <a:defRPr/>
            </a:pPr>
            <a:r>
              <a:rPr lang="en-US" sz="1029" i="1" dirty="0">
                <a:solidFill>
                  <a:schemeClr val="accent2"/>
                </a:solidFill>
                <a:latin typeface="Segoe UI"/>
                <a:cs typeface="Segoe UI Semilight" panose="020B0402040204020203" pitchFamily="34" charset="0"/>
              </a:rPr>
              <a:t>*These are in addition to the pre-requisites called out for server discovery</a:t>
            </a:r>
          </a:p>
        </p:txBody>
      </p:sp>
      <p:sp>
        <p:nvSpPr>
          <p:cNvPr id="2" name="bk object 17">
            <a:extLst>
              <a:ext uri="{FF2B5EF4-FFF2-40B4-BE49-F238E27FC236}">
                <a16:creationId xmlns:a16="http://schemas.microsoft.com/office/drawing/2014/main" id="{A0AB68AE-271F-40B0-A96E-067AACA15267}"/>
              </a:ext>
            </a:extLst>
          </p:cNvPr>
          <p:cNvSpPr/>
          <p:nvPr/>
        </p:nvSpPr>
        <p:spPr>
          <a:xfrm>
            <a:off x="0" y="6497955"/>
            <a:ext cx="12192000" cy="360045"/>
          </a:xfrm>
          <a:custGeom>
            <a:avLst/>
            <a:gdLst/>
            <a:ahLst/>
            <a:cxnLst/>
            <a:rect l="l" t="t" r="r" b="b"/>
            <a:pathLst>
              <a:path w="12434570" h="360045">
                <a:moveTo>
                  <a:pt x="0" y="359994"/>
                </a:moveTo>
                <a:lnTo>
                  <a:pt x="12434404" y="359994"/>
                </a:lnTo>
                <a:lnTo>
                  <a:pt x="12434404" y="0"/>
                </a:lnTo>
                <a:lnTo>
                  <a:pt x="0" y="0"/>
                </a:lnTo>
                <a:lnTo>
                  <a:pt x="0" y="359994"/>
                </a:lnTo>
                <a:close/>
              </a:path>
            </a:pathLst>
          </a:custGeom>
          <a:solidFill>
            <a:srgbClr val="007FBA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67504420-C0A2-48F4-A04E-2041F90F459B}"/>
              </a:ext>
            </a:extLst>
          </p:cNvPr>
          <p:cNvSpPr txBox="1"/>
          <p:nvPr/>
        </p:nvSpPr>
        <p:spPr>
          <a:xfrm>
            <a:off x="7278010" y="6591175"/>
            <a:ext cx="425867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100" b="0" i="0" kern="0" spc="-20" baseline="0" dirty="0">
                <a:solidFill>
                  <a:schemeClr val="bg1"/>
                </a:solidFill>
                <a:latin typeface="Segoe UI Semibold" charset="0"/>
              </a:rPr>
              <a:t>Microsoft Azure    </a:t>
            </a:r>
            <a:r>
              <a:rPr lang="en-US" sz="1100" b="0" i="0" kern="0" spc="-20" baseline="0" dirty="0">
                <a:solidFill>
                  <a:schemeClr val="bg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|  @</a:t>
            </a:r>
            <a:r>
              <a:rPr lang="en-US" sz="1100" b="0" i="0" kern="0" spc="-20" baseline="0" dirty="0" err="1">
                <a:solidFill>
                  <a:schemeClr val="bg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Techielass</a:t>
            </a:r>
            <a:endParaRPr lang="en-US" sz="1100" b="0" i="0" kern="0" spc="-20" baseline="0" dirty="0">
              <a:solidFill>
                <a:schemeClr val="bg1"/>
              </a:solidFill>
              <a:latin typeface="Segoe UI Semilight" panose="020B0402040204020203" pitchFamily="34" charset="0"/>
              <a:ea typeface="Segoe UI Semilight" charset="0"/>
              <a:cs typeface="Segoe UI Semilight" panose="020B04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7114042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Rectangle 38">
            <a:extLst>
              <a:ext uri="{FF2B5EF4-FFF2-40B4-BE49-F238E27FC236}">
                <a16:creationId xmlns:a16="http://schemas.microsoft.com/office/drawing/2014/main" id="{1AA77D91-89FA-4BBE-9914-51B92D2CA618}"/>
              </a:ext>
            </a:extLst>
          </p:cNvPr>
          <p:cNvSpPr/>
          <p:nvPr/>
        </p:nvSpPr>
        <p:spPr bwMode="auto">
          <a:xfrm>
            <a:off x="6324224" y="487"/>
            <a:ext cx="5867777" cy="6857027"/>
          </a:xfrm>
          <a:prstGeom prst="rect">
            <a:avLst/>
          </a:prstGeom>
          <a:solidFill>
            <a:srgbClr val="FFFFFF">
              <a:lumMod val="95000"/>
            </a:srgb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2353" ker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/>
              <a:ea typeface="Segoe UI" pitchFamily="34" charset="0"/>
              <a:cs typeface="Segoe UI" pitchFamily="34" charset="0"/>
            </a:endParaRP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431264D5-5BED-4428-AFE5-682B453B1775}"/>
              </a:ext>
            </a:extLst>
          </p:cNvPr>
          <p:cNvGrpSpPr/>
          <p:nvPr/>
        </p:nvGrpSpPr>
        <p:grpSpPr>
          <a:xfrm>
            <a:off x="2147332" y="1619706"/>
            <a:ext cx="2071100" cy="2069512"/>
            <a:chOff x="1622425" y="1333500"/>
            <a:chExt cx="2071688" cy="2070100"/>
          </a:xfrm>
          <a:effectLst>
            <a:outerShdw blurRad="381000" sx="81000" sy="81000" algn="ctr" rotWithShape="0">
              <a:prstClr val="black">
                <a:alpha val="16000"/>
              </a:prstClr>
            </a:outerShdw>
          </a:effectLst>
        </p:grpSpPr>
        <p:grpSp>
          <p:nvGrpSpPr>
            <p:cNvPr id="15" name="Group 14">
              <a:extLst>
                <a:ext uri="{FF2B5EF4-FFF2-40B4-BE49-F238E27FC236}">
                  <a16:creationId xmlns:a16="http://schemas.microsoft.com/office/drawing/2014/main" id="{0BF1F10B-6802-4187-AEBB-00BB0D2A2DA9}"/>
                </a:ext>
              </a:extLst>
            </p:cNvPr>
            <p:cNvGrpSpPr/>
            <p:nvPr/>
          </p:nvGrpSpPr>
          <p:grpSpPr>
            <a:xfrm>
              <a:off x="1622425" y="1333500"/>
              <a:ext cx="2071688" cy="2070100"/>
              <a:chOff x="1622425" y="1333500"/>
              <a:chExt cx="2071688" cy="2070100"/>
            </a:xfrm>
          </p:grpSpPr>
          <p:sp>
            <p:nvSpPr>
              <p:cNvPr id="17" name="AutoShape 6">
                <a:extLst>
                  <a:ext uri="{FF2B5EF4-FFF2-40B4-BE49-F238E27FC236}">
                    <a16:creationId xmlns:a16="http://schemas.microsoft.com/office/drawing/2014/main" id="{ED0AA760-CA8B-4741-B5BC-93C1A756DC09}"/>
                  </a:ext>
                </a:extLst>
              </p:cNvPr>
              <p:cNvSpPr>
                <a:spLocks noChangeAspect="1" noChangeArrowheads="1" noTextEdit="1"/>
              </p:cNvSpPr>
              <p:nvPr/>
            </p:nvSpPr>
            <p:spPr bwMode="auto">
              <a:xfrm>
                <a:off x="1622425" y="1333500"/>
                <a:ext cx="2068513" cy="207010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14" tIns="45706" rIns="91414" bIns="45706" numCol="1" anchor="t" anchorCtr="0" compatLnSpc="1">
                <a:prstTxWarp prst="textNoShape">
                  <a:avLst/>
                </a:prstTxWarp>
              </a:bodyPr>
              <a:lstStyle/>
              <a:p>
                <a:pPr defTabSz="914016">
                  <a:defRPr/>
                </a:pPr>
                <a:endParaRPr lang="en-US" sz="1765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18" name="Freeform 8">
                <a:extLst>
                  <a:ext uri="{FF2B5EF4-FFF2-40B4-BE49-F238E27FC236}">
                    <a16:creationId xmlns:a16="http://schemas.microsoft.com/office/drawing/2014/main" id="{261D00AC-DD83-4A37-B91F-0796ECA4A4F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87513" y="1528763"/>
                <a:ext cx="2006600" cy="1255713"/>
              </a:xfrm>
              <a:custGeom>
                <a:avLst/>
                <a:gdLst>
                  <a:gd name="T0" fmla="*/ 100 w 400"/>
                  <a:gd name="T1" fmla="*/ 50 h 250"/>
                  <a:gd name="T2" fmla="*/ 100 w 400"/>
                  <a:gd name="T3" fmla="*/ 50 h 250"/>
                  <a:gd name="T4" fmla="*/ 61 w 400"/>
                  <a:gd name="T5" fmla="*/ 58 h 250"/>
                  <a:gd name="T6" fmla="*/ 29 w 400"/>
                  <a:gd name="T7" fmla="*/ 79 h 250"/>
                  <a:gd name="T8" fmla="*/ 8 w 400"/>
                  <a:gd name="T9" fmla="*/ 111 h 250"/>
                  <a:gd name="T10" fmla="*/ 0 w 400"/>
                  <a:gd name="T11" fmla="*/ 150 h 250"/>
                  <a:gd name="T12" fmla="*/ 8 w 400"/>
                  <a:gd name="T13" fmla="*/ 189 h 250"/>
                  <a:gd name="T14" fmla="*/ 29 w 400"/>
                  <a:gd name="T15" fmla="*/ 221 h 250"/>
                  <a:gd name="T16" fmla="*/ 61 w 400"/>
                  <a:gd name="T17" fmla="*/ 242 h 250"/>
                  <a:gd name="T18" fmla="*/ 100 w 400"/>
                  <a:gd name="T19" fmla="*/ 250 h 250"/>
                  <a:gd name="T20" fmla="*/ 106 w 400"/>
                  <a:gd name="T21" fmla="*/ 250 h 250"/>
                  <a:gd name="T22" fmla="*/ 200 w 400"/>
                  <a:gd name="T23" fmla="*/ 156 h 250"/>
                  <a:gd name="T24" fmla="*/ 294 w 400"/>
                  <a:gd name="T25" fmla="*/ 250 h 250"/>
                  <a:gd name="T26" fmla="*/ 325 w 400"/>
                  <a:gd name="T27" fmla="*/ 250 h 250"/>
                  <a:gd name="T28" fmla="*/ 354 w 400"/>
                  <a:gd name="T29" fmla="*/ 244 h 250"/>
                  <a:gd name="T30" fmla="*/ 378 w 400"/>
                  <a:gd name="T31" fmla="*/ 228 h 250"/>
                  <a:gd name="T32" fmla="*/ 394 w 400"/>
                  <a:gd name="T33" fmla="*/ 204 h 250"/>
                  <a:gd name="T34" fmla="*/ 400 w 400"/>
                  <a:gd name="T35" fmla="*/ 175 h 250"/>
                  <a:gd name="T36" fmla="*/ 394 w 400"/>
                  <a:gd name="T37" fmla="*/ 146 h 250"/>
                  <a:gd name="T38" fmla="*/ 378 w 400"/>
                  <a:gd name="T39" fmla="*/ 122 h 250"/>
                  <a:gd name="T40" fmla="*/ 354 w 400"/>
                  <a:gd name="T41" fmla="*/ 106 h 250"/>
                  <a:gd name="T42" fmla="*/ 324 w 400"/>
                  <a:gd name="T43" fmla="*/ 100 h 250"/>
                  <a:gd name="T44" fmla="*/ 312 w 400"/>
                  <a:gd name="T45" fmla="*/ 60 h 250"/>
                  <a:gd name="T46" fmla="*/ 287 w 400"/>
                  <a:gd name="T47" fmla="*/ 29 h 250"/>
                  <a:gd name="T48" fmla="*/ 253 w 400"/>
                  <a:gd name="T49" fmla="*/ 8 h 250"/>
                  <a:gd name="T50" fmla="*/ 212 w 400"/>
                  <a:gd name="T51" fmla="*/ 0 h 250"/>
                  <a:gd name="T52" fmla="*/ 184 w 400"/>
                  <a:gd name="T53" fmla="*/ 4 h 250"/>
                  <a:gd name="T54" fmla="*/ 158 w 400"/>
                  <a:gd name="T55" fmla="*/ 14 h 250"/>
                  <a:gd name="T56" fmla="*/ 136 w 400"/>
                  <a:gd name="T57" fmla="*/ 30 h 250"/>
                  <a:gd name="T58" fmla="*/ 118 w 400"/>
                  <a:gd name="T59" fmla="*/ 52 h 250"/>
                  <a:gd name="T60" fmla="*/ 100 w 400"/>
                  <a:gd name="T61" fmla="*/ 50 h 2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400" h="250">
                    <a:moveTo>
                      <a:pt x="100" y="50"/>
                    </a:moveTo>
                    <a:lnTo>
                      <a:pt x="100" y="50"/>
                    </a:lnTo>
                    <a:cubicBezTo>
                      <a:pt x="86" y="50"/>
                      <a:pt x="73" y="53"/>
                      <a:pt x="61" y="58"/>
                    </a:cubicBezTo>
                    <a:cubicBezTo>
                      <a:pt x="49" y="63"/>
                      <a:pt x="38" y="70"/>
                      <a:pt x="29" y="79"/>
                    </a:cubicBezTo>
                    <a:cubicBezTo>
                      <a:pt x="20" y="88"/>
                      <a:pt x="13" y="99"/>
                      <a:pt x="8" y="111"/>
                    </a:cubicBezTo>
                    <a:cubicBezTo>
                      <a:pt x="2" y="123"/>
                      <a:pt x="0" y="136"/>
                      <a:pt x="0" y="150"/>
                    </a:cubicBezTo>
                    <a:cubicBezTo>
                      <a:pt x="0" y="164"/>
                      <a:pt x="2" y="177"/>
                      <a:pt x="8" y="189"/>
                    </a:cubicBezTo>
                    <a:cubicBezTo>
                      <a:pt x="13" y="201"/>
                      <a:pt x="20" y="212"/>
                      <a:pt x="29" y="221"/>
                    </a:cubicBezTo>
                    <a:cubicBezTo>
                      <a:pt x="38" y="230"/>
                      <a:pt x="49" y="237"/>
                      <a:pt x="61" y="242"/>
                    </a:cubicBezTo>
                    <a:cubicBezTo>
                      <a:pt x="73" y="247"/>
                      <a:pt x="86" y="250"/>
                      <a:pt x="100" y="250"/>
                    </a:cubicBezTo>
                    <a:lnTo>
                      <a:pt x="106" y="250"/>
                    </a:lnTo>
                    <a:lnTo>
                      <a:pt x="200" y="156"/>
                    </a:lnTo>
                    <a:lnTo>
                      <a:pt x="294" y="250"/>
                    </a:lnTo>
                    <a:lnTo>
                      <a:pt x="325" y="250"/>
                    </a:lnTo>
                    <a:cubicBezTo>
                      <a:pt x="335" y="250"/>
                      <a:pt x="345" y="248"/>
                      <a:pt x="354" y="244"/>
                    </a:cubicBezTo>
                    <a:cubicBezTo>
                      <a:pt x="363" y="240"/>
                      <a:pt x="371" y="235"/>
                      <a:pt x="378" y="228"/>
                    </a:cubicBezTo>
                    <a:cubicBezTo>
                      <a:pt x="385" y="221"/>
                      <a:pt x="390" y="213"/>
                      <a:pt x="394" y="204"/>
                    </a:cubicBezTo>
                    <a:cubicBezTo>
                      <a:pt x="398" y="195"/>
                      <a:pt x="400" y="185"/>
                      <a:pt x="400" y="175"/>
                    </a:cubicBezTo>
                    <a:cubicBezTo>
                      <a:pt x="400" y="164"/>
                      <a:pt x="398" y="155"/>
                      <a:pt x="394" y="146"/>
                    </a:cubicBezTo>
                    <a:cubicBezTo>
                      <a:pt x="390" y="136"/>
                      <a:pt x="384" y="129"/>
                      <a:pt x="378" y="122"/>
                    </a:cubicBezTo>
                    <a:cubicBezTo>
                      <a:pt x="371" y="115"/>
                      <a:pt x="363" y="110"/>
                      <a:pt x="354" y="106"/>
                    </a:cubicBezTo>
                    <a:cubicBezTo>
                      <a:pt x="344" y="102"/>
                      <a:pt x="335" y="100"/>
                      <a:pt x="324" y="100"/>
                    </a:cubicBezTo>
                    <a:cubicBezTo>
                      <a:pt x="322" y="86"/>
                      <a:pt x="318" y="73"/>
                      <a:pt x="312" y="60"/>
                    </a:cubicBezTo>
                    <a:cubicBezTo>
                      <a:pt x="305" y="48"/>
                      <a:pt x="297" y="38"/>
                      <a:pt x="287" y="29"/>
                    </a:cubicBezTo>
                    <a:cubicBezTo>
                      <a:pt x="277" y="20"/>
                      <a:pt x="266" y="13"/>
                      <a:pt x="253" y="8"/>
                    </a:cubicBezTo>
                    <a:cubicBezTo>
                      <a:pt x="240" y="3"/>
                      <a:pt x="227" y="0"/>
                      <a:pt x="212" y="0"/>
                    </a:cubicBezTo>
                    <a:cubicBezTo>
                      <a:pt x="203" y="0"/>
                      <a:pt x="193" y="1"/>
                      <a:pt x="184" y="4"/>
                    </a:cubicBezTo>
                    <a:cubicBezTo>
                      <a:pt x="175" y="6"/>
                      <a:pt x="166" y="9"/>
                      <a:pt x="158" y="14"/>
                    </a:cubicBezTo>
                    <a:cubicBezTo>
                      <a:pt x="150" y="18"/>
                      <a:pt x="143" y="24"/>
                      <a:pt x="136" y="30"/>
                    </a:cubicBezTo>
                    <a:cubicBezTo>
                      <a:pt x="129" y="36"/>
                      <a:pt x="123" y="44"/>
                      <a:pt x="118" y="52"/>
                    </a:cubicBezTo>
                    <a:cubicBezTo>
                      <a:pt x="112" y="51"/>
                      <a:pt x="106" y="50"/>
                      <a:pt x="100" y="50"/>
                    </a:cubicBezTo>
                    <a:close/>
                  </a:path>
                </a:pathLst>
              </a:custGeom>
              <a:solidFill>
                <a:srgbClr val="0078D4"/>
              </a:solidFill>
              <a:ln w="0">
                <a:solidFill>
                  <a:srgbClr val="0078D4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14" tIns="45706" rIns="91414" bIns="45706" numCol="1" anchor="t" anchorCtr="0" compatLnSpc="1">
                <a:prstTxWarp prst="textNoShape">
                  <a:avLst/>
                </a:prstTxWarp>
              </a:bodyPr>
              <a:lstStyle/>
              <a:p>
                <a:pPr defTabSz="914016">
                  <a:defRPr/>
                </a:pPr>
                <a:endParaRPr lang="en-US" sz="1765">
                  <a:solidFill>
                    <a:srgbClr val="1A1A1A"/>
                  </a:solidFill>
                  <a:latin typeface="Segoe UI"/>
                </a:endParaRPr>
              </a:p>
            </p:txBody>
          </p:sp>
        </p:grpSp>
        <p:sp>
          <p:nvSpPr>
            <p:cNvPr id="16" name="Freeform 9">
              <a:extLst>
                <a:ext uri="{FF2B5EF4-FFF2-40B4-BE49-F238E27FC236}">
                  <a16:creationId xmlns:a16="http://schemas.microsoft.com/office/drawing/2014/main" id="{3A78FC47-FC6B-4B65-98BA-2D0F9081F62E}"/>
                </a:ext>
              </a:extLst>
            </p:cNvPr>
            <p:cNvSpPr>
              <a:spLocks/>
            </p:cNvSpPr>
            <p:nvPr/>
          </p:nvSpPr>
          <p:spPr bwMode="auto">
            <a:xfrm>
              <a:off x="2374900" y="2533650"/>
              <a:ext cx="631825" cy="692150"/>
            </a:xfrm>
            <a:custGeom>
              <a:avLst/>
              <a:gdLst>
                <a:gd name="T0" fmla="*/ 76 w 126"/>
                <a:gd name="T1" fmla="*/ 138 h 138"/>
                <a:gd name="T2" fmla="*/ 76 w 126"/>
                <a:gd name="T3" fmla="*/ 138 h 138"/>
                <a:gd name="T4" fmla="*/ 76 w 126"/>
                <a:gd name="T5" fmla="*/ 51 h 138"/>
                <a:gd name="T6" fmla="*/ 107 w 126"/>
                <a:gd name="T7" fmla="*/ 81 h 138"/>
                <a:gd name="T8" fmla="*/ 126 w 126"/>
                <a:gd name="T9" fmla="*/ 62 h 138"/>
                <a:gd name="T10" fmla="*/ 63 w 126"/>
                <a:gd name="T11" fmla="*/ 0 h 138"/>
                <a:gd name="T12" fmla="*/ 0 w 126"/>
                <a:gd name="T13" fmla="*/ 62 h 138"/>
                <a:gd name="T14" fmla="*/ 19 w 126"/>
                <a:gd name="T15" fmla="*/ 81 h 138"/>
                <a:gd name="T16" fmla="*/ 49 w 126"/>
                <a:gd name="T17" fmla="*/ 51 h 138"/>
                <a:gd name="T18" fmla="*/ 49 w 126"/>
                <a:gd name="T19" fmla="*/ 138 h 138"/>
                <a:gd name="T20" fmla="*/ 76 w 126"/>
                <a:gd name="T21" fmla="*/ 138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26" h="138">
                  <a:moveTo>
                    <a:pt x="76" y="138"/>
                  </a:moveTo>
                  <a:lnTo>
                    <a:pt x="76" y="138"/>
                  </a:lnTo>
                  <a:lnTo>
                    <a:pt x="76" y="51"/>
                  </a:lnTo>
                  <a:lnTo>
                    <a:pt x="107" y="81"/>
                  </a:lnTo>
                  <a:lnTo>
                    <a:pt x="126" y="62"/>
                  </a:lnTo>
                  <a:lnTo>
                    <a:pt x="63" y="0"/>
                  </a:lnTo>
                  <a:lnTo>
                    <a:pt x="0" y="62"/>
                  </a:lnTo>
                  <a:lnTo>
                    <a:pt x="19" y="81"/>
                  </a:lnTo>
                  <a:lnTo>
                    <a:pt x="49" y="51"/>
                  </a:lnTo>
                  <a:lnTo>
                    <a:pt x="49" y="138"/>
                  </a:lnTo>
                  <a:lnTo>
                    <a:pt x="76" y="138"/>
                  </a:lnTo>
                  <a:close/>
                </a:path>
              </a:pathLst>
            </a:custGeom>
            <a:solidFill>
              <a:schemeClr val="tx1"/>
            </a:solidFill>
            <a:ln w="19050">
              <a:noFill/>
              <a:prstDash val="solid"/>
              <a:round/>
              <a:headEnd/>
              <a:tailEnd/>
            </a:ln>
          </p:spPr>
          <p:txBody>
            <a:bodyPr vert="horz" wrap="square" lIns="91414" tIns="45706" rIns="91414" bIns="45706" numCol="1" anchor="t" anchorCtr="0" compatLnSpc="1">
              <a:prstTxWarp prst="textNoShape">
                <a:avLst/>
              </a:prstTxWarp>
            </a:bodyPr>
            <a:lstStyle/>
            <a:p>
              <a:pPr defTabSz="914016">
                <a:defRPr/>
              </a:pPr>
              <a:endParaRPr lang="en-US" sz="1765">
                <a:solidFill>
                  <a:srgbClr val="1A1A1A"/>
                </a:solidFill>
                <a:latin typeface="Segoe UI"/>
              </a:endParaRPr>
            </a:p>
          </p:txBody>
        </p:sp>
      </p:grpSp>
      <p:grpSp>
        <p:nvGrpSpPr>
          <p:cNvPr id="19" name="Group 12">
            <a:extLst>
              <a:ext uri="{FF2B5EF4-FFF2-40B4-BE49-F238E27FC236}">
                <a16:creationId xmlns:a16="http://schemas.microsoft.com/office/drawing/2014/main" id="{DFDB7EE7-4FB7-4CCE-BC92-AE053B2E966B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2881461" y="3961312"/>
            <a:ext cx="647462" cy="644395"/>
            <a:chOff x="1297" y="2230"/>
            <a:chExt cx="633" cy="630"/>
          </a:xfrm>
        </p:grpSpPr>
        <p:sp>
          <p:nvSpPr>
            <p:cNvPr id="21" name="Freeform 13">
              <a:extLst>
                <a:ext uri="{FF2B5EF4-FFF2-40B4-BE49-F238E27FC236}">
                  <a16:creationId xmlns:a16="http://schemas.microsoft.com/office/drawing/2014/main" id="{5639C982-94A8-4AB8-AB22-31847A8EA8E1}"/>
                </a:ext>
              </a:extLst>
            </p:cNvPr>
            <p:cNvSpPr>
              <a:spLocks/>
            </p:cNvSpPr>
            <p:nvPr/>
          </p:nvSpPr>
          <p:spPr bwMode="auto">
            <a:xfrm>
              <a:off x="1297" y="2230"/>
              <a:ext cx="633" cy="474"/>
            </a:xfrm>
            <a:custGeom>
              <a:avLst/>
              <a:gdLst>
                <a:gd name="T0" fmla="*/ 416 w 426"/>
                <a:gd name="T1" fmla="*/ 8 h 319"/>
                <a:gd name="T2" fmla="*/ 416 w 426"/>
                <a:gd name="T3" fmla="*/ 8 h 319"/>
                <a:gd name="T4" fmla="*/ 406 w 426"/>
                <a:gd name="T5" fmla="*/ 2 h 319"/>
                <a:gd name="T6" fmla="*/ 393 w 426"/>
                <a:gd name="T7" fmla="*/ 0 h 319"/>
                <a:gd name="T8" fmla="*/ 33 w 426"/>
                <a:gd name="T9" fmla="*/ 0 h 319"/>
                <a:gd name="T10" fmla="*/ 20 w 426"/>
                <a:gd name="T11" fmla="*/ 2 h 319"/>
                <a:gd name="T12" fmla="*/ 9 w 426"/>
                <a:gd name="T13" fmla="*/ 8 h 319"/>
                <a:gd name="T14" fmla="*/ 2 w 426"/>
                <a:gd name="T15" fmla="*/ 19 h 319"/>
                <a:gd name="T16" fmla="*/ 0 w 426"/>
                <a:gd name="T17" fmla="*/ 32 h 319"/>
                <a:gd name="T18" fmla="*/ 0 w 426"/>
                <a:gd name="T19" fmla="*/ 285 h 319"/>
                <a:gd name="T20" fmla="*/ 2 w 426"/>
                <a:gd name="T21" fmla="*/ 298 h 319"/>
                <a:gd name="T22" fmla="*/ 9 w 426"/>
                <a:gd name="T23" fmla="*/ 309 h 319"/>
                <a:gd name="T24" fmla="*/ 20 w 426"/>
                <a:gd name="T25" fmla="*/ 316 h 319"/>
                <a:gd name="T26" fmla="*/ 33 w 426"/>
                <a:gd name="T27" fmla="*/ 319 h 319"/>
                <a:gd name="T28" fmla="*/ 193 w 426"/>
                <a:gd name="T29" fmla="*/ 319 h 319"/>
                <a:gd name="T30" fmla="*/ 196 w 426"/>
                <a:gd name="T31" fmla="*/ 317 h 319"/>
                <a:gd name="T32" fmla="*/ 180 w 426"/>
                <a:gd name="T33" fmla="*/ 307 h 319"/>
                <a:gd name="T34" fmla="*/ 186 w 426"/>
                <a:gd name="T35" fmla="*/ 292 h 319"/>
                <a:gd name="T36" fmla="*/ 33 w 426"/>
                <a:gd name="T37" fmla="*/ 292 h 319"/>
                <a:gd name="T38" fmla="*/ 28 w 426"/>
                <a:gd name="T39" fmla="*/ 290 h 319"/>
                <a:gd name="T40" fmla="*/ 26 w 426"/>
                <a:gd name="T41" fmla="*/ 285 h 319"/>
                <a:gd name="T42" fmla="*/ 26 w 426"/>
                <a:gd name="T43" fmla="*/ 32 h 319"/>
                <a:gd name="T44" fmla="*/ 28 w 426"/>
                <a:gd name="T45" fmla="*/ 27 h 319"/>
                <a:gd name="T46" fmla="*/ 33 w 426"/>
                <a:gd name="T47" fmla="*/ 25 h 319"/>
                <a:gd name="T48" fmla="*/ 393 w 426"/>
                <a:gd name="T49" fmla="*/ 25 h 319"/>
                <a:gd name="T50" fmla="*/ 398 w 426"/>
                <a:gd name="T51" fmla="*/ 27 h 319"/>
                <a:gd name="T52" fmla="*/ 399 w 426"/>
                <a:gd name="T53" fmla="*/ 32 h 319"/>
                <a:gd name="T54" fmla="*/ 399 w 426"/>
                <a:gd name="T55" fmla="*/ 206 h 319"/>
                <a:gd name="T56" fmla="*/ 411 w 426"/>
                <a:gd name="T57" fmla="*/ 211 h 319"/>
                <a:gd name="T58" fmla="*/ 407 w 426"/>
                <a:gd name="T59" fmla="*/ 230 h 319"/>
                <a:gd name="T60" fmla="*/ 425 w 426"/>
                <a:gd name="T61" fmla="*/ 225 h 319"/>
                <a:gd name="T62" fmla="*/ 426 w 426"/>
                <a:gd name="T63" fmla="*/ 227 h 319"/>
                <a:gd name="T64" fmla="*/ 426 w 426"/>
                <a:gd name="T65" fmla="*/ 32 h 319"/>
                <a:gd name="T66" fmla="*/ 424 w 426"/>
                <a:gd name="T67" fmla="*/ 19 h 319"/>
                <a:gd name="T68" fmla="*/ 416 w 426"/>
                <a:gd name="T69" fmla="*/ 8 h 3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26" h="319">
                  <a:moveTo>
                    <a:pt x="416" y="8"/>
                  </a:moveTo>
                  <a:lnTo>
                    <a:pt x="416" y="8"/>
                  </a:lnTo>
                  <a:cubicBezTo>
                    <a:pt x="413" y="5"/>
                    <a:pt x="410" y="3"/>
                    <a:pt x="406" y="2"/>
                  </a:cubicBezTo>
                  <a:cubicBezTo>
                    <a:pt x="402" y="0"/>
                    <a:pt x="397" y="0"/>
                    <a:pt x="393" y="0"/>
                  </a:cubicBezTo>
                  <a:lnTo>
                    <a:pt x="33" y="0"/>
                  </a:lnTo>
                  <a:cubicBezTo>
                    <a:pt x="28" y="0"/>
                    <a:pt x="24" y="0"/>
                    <a:pt x="20" y="2"/>
                  </a:cubicBezTo>
                  <a:cubicBezTo>
                    <a:pt x="16" y="3"/>
                    <a:pt x="12" y="5"/>
                    <a:pt x="9" y="8"/>
                  </a:cubicBezTo>
                  <a:cubicBezTo>
                    <a:pt x="6" y="11"/>
                    <a:pt x="4" y="15"/>
                    <a:pt x="2" y="19"/>
                  </a:cubicBezTo>
                  <a:cubicBezTo>
                    <a:pt x="0" y="23"/>
                    <a:pt x="0" y="27"/>
                    <a:pt x="0" y="32"/>
                  </a:cubicBezTo>
                  <a:lnTo>
                    <a:pt x="0" y="285"/>
                  </a:lnTo>
                  <a:cubicBezTo>
                    <a:pt x="0" y="290"/>
                    <a:pt x="0" y="294"/>
                    <a:pt x="2" y="298"/>
                  </a:cubicBezTo>
                  <a:cubicBezTo>
                    <a:pt x="4" y="302"/>
                    <a:pt x="6" y="306"/>
                    <a:pt x="9" y="309"/>
                  </a:cubicBezTo>
                  <a:cubicBezTo>
                    <a:pt x="12" y="312"/>
                    <a:pt x="16" y="314"/>
                    <a:pt x="20" y="316"/>
                  </a:cubicBezTo>
                  <a:cubicBezTo>
                    <a:pt x="24" y="318"/>
                    <a:pt x="28" y="319"/>
                    <a:pt x="33" y="319"/>
                  </a:cubicBezTo>
                  <a:lnTo>
                    <a:pt x="193" y="319"/>
                  </a:lnTo>
                  <a:lnTo>
                    <a:pt x="196" y="317"/>
                  </a:lnTo>
                  <a:lnTo>
                    <a:pt x="180" y="307"/>
                  </a:lnTo>
                  <a:lnTo>
                    <a:pt x="186" y="292"/>
                  </a:lnTo>
                  <a:lnTo>
                    <a:pt x="33" y="292"/>
                  </a:lnTo>
                  <a:cubicBezTo>
                    <a:pt x="31" y="292"/>
                    <a:pt x="29" y="291"/>
                    <a:pt x="28" y="290"/>
                  </a:cubicBezTo>
                  <a:cubicBezTo>
                    <a:pt x="27" y="289"/>
                    <a:pt x="26" y="287"/>
                    <a:pt x="26" y="285"/>
                  </a:cubicBezTo>
                  <a:lnTo>
                    <a:pt x="26" y="32"/>
                  </a:lnTo>
                  <a:cubicBezTo>
                    <a:pt x="26" y="30"/>
                    <a:pt x="27" y="28"/>
                    <a:pt x="28" y="27"/>
                  </a:cubicBezTo>
                  <a:cubicBezTo>
                    <a:pt x="29" y="26"/>
                    <a:pt x="31" y="25"/>
                    <a:pt x="33" y="25"/>
                  </a:cubicBezTo>
                  <a:lnTo>
                    <a:pt x="393" y="25"/>
                  </a:lnTo>
                  <a:cubicBezTo>
                    <a:pt x="395" y="25"/>
                    <a:pt x="396" y="26"/>
                    <a:pt x="398" y="27"/>
                  </a:cubicBezTo>
                  <a:cubicBezTo>
                    <a:pt x="399" y="28"/>
                    <a:pt x="399" y="30"/>
                    <a:pt x="399" y="32"/>
                  </a:cubicBezTo>
                  <a:lnTo>
                    <a:pt x="399" y="206"/>
                  </a:lnTo>
                  <a:lnTo>
                    <a:pt x="411" y="211"/>
                  </a:lnTo>
                  <a:lnTo>
                    <a:pt x="407" y="230"/>
                  </a:lnTo>
                  <a:lnTo>
                    <a:pt x="425" y="225"/>
                  </a:lnTo>
                  <a:lnTo>
                    <a:pt x="426" y="227"/>
                  </a:lnTo>
                  <a:lnTo>
                    <a:pt x="426" y="32"/>
                  </a:lnTo>
                  <a:cubicBezTo>
                    <a:pt x="426" y="27"/>
                    <a:pt x="425" y="23"/>
                    <a:pt x="424" y="19"/>
                  </a:cubicBezTo>
                  <a:cubicBezTo>
                    <a:pt x="422" y="15"/>
                    <a:pt x="419" y="11"/>
                    <a:pt x="416" y="8"/>
                  </a:cubicBezTo>
                  <a:close/>
                </a:path>
              </a:pathLst>
            </a:custGeom>
            <a:solidFill>
              <a:schemeClr val="tx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14" tIns="45706" rIns="91414" bIns="45706" numCol="1" anchor="t" anchorCtr="0" compatLnSpc="1">
              <a:prstTxWarp prst="textNoShape">
                <a:avLst/>
              </a:prstTxWarp>
            </a:bodyPr>
            <a:lstStyle/>
            <a:p>
              <a:pPr defTabSz="914016">
                <a:defRPr/>
              </a:pPr>
              <a:endParaRPr lang="en-US" sz="1765">
                <a:solidFill>
                  <a:srgbClr val="1A1A1A"/>
                </a:solidFill>
                <a:latin typeface="Segoe UI"/>
              </a:endParaRPr>
            </a:p>
          </p:txBody>
        </p:sp>
        <p:sp>
          <p:nvSpPr>
            <p:cNvPr id="22" name="Freeform 14">
              <a:extLst>
                <a:ext uri="{FF2B5EF4-FFF2-40B4-BE49-F238E27FC236}">
                  <a16:creationId xmlns:a16="http://schemas.microsoft.com/office/drawing/2014/main" id="{30E57CD9-5BC7-464F-B29E-10855B5560AA}"/>
                </a:ext>
              </a:extLst>
            </p:cNvPr>
            <p:cNvSpPr>
              <a:spLocks/>
            </p:cNvSpPr>
            <p:nvPr/>
          </p:nvSpPr>
          <p:spPr bwMode="auto">
            <a:xfrm>
              <a:off x="1533" y="2585"/>
              <a:ext cx="73" cy="38"/>
            </a:xfrm>
            <a:custGeom>
              <a:avLst/>
              <a:gdLst>
                <a:gd name="T0" fmla="*/ 0 w 49"/>
                <a:gd name="T1" fmla="*/ 0 h 26"/>
                <a:gd name="T2" fmla="*/ 0 w 49"/>
                <a:gd name="T3" fmla="*/ 0 h 26"/>
                <a:gd name="T4" fmla="*/ 0 w 49"/>
                <a:gd name="T5" fmla="*/ 26 h 26"/>
                <a:gd name="T6" fmla="*/ 27 w 49"/>
                <a:gd name="T7" fmla="*/ 26 h 26"/>
                <a:gd name="T8" fmla="*/ 38 w 49"/>
                <a:gd name="T9" fmla="*/ 26 h 26"/>
                <a:gd name="T10" fmla="*/ 49 w 49"/>
                <a:gd name="T11" fmla="*/ 0 h 26"/>
                <a:gd name="T12" fmla="*/ 27 w 49"/>
                <a:gd name="T13" fmla="*/ 0 h 26"/>
                <a:gd name="T14" fmla="*/ 0 w 49"/>
                <a:gd name="T15" fmla="*/ 0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9" h="26">
                  <a:moveTo>
                    <a:pt x="0" y="0"/>
                  </a:moveTo>
                  <a:lnTo>
                    <a:pt x="0" y="0"/>
                  </a:lnTo>
                  <a:lnTo>
                    <a:pt x="0" y="26"/>
                  </a:lnTo>
                  <a:lnTo>
                    <a:pt x="27" y="26"/>
                  </a:lnTo>
                  <a:lnTo>
                    <a:pt x="38" y="26"/>
                  </a:lnTo>
                  <a:lnTo>
                    <a:pt x="49" y="0"/>
                  </a:lnTo>
                  <a:lnTo>
                    <a:pt x="27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14" tIns="45706" rIns="91414" bIns="45706" numCol="1" anchor="t" anchorCtr="0" compatLnSpc="1">
              <a:prstTxWarp prst="textNoShape">
                <a:avLst/>
              </a:prstTxWarp>
            </a:bodyPr>
            <a:lstStyle/>
            <a:p>
              <a:pPr defTabSz="914016">
                <a:defRPr/>
              </a:pPr>
              <a:endParaRPr lang="en-US" sz="1765">
                <a:solidFill>
                  <a:srgbClr val="1A1A1A"/>
                </a:solidFill>
                <a:latin typeface="Segoe UI"/>
              </a:endParaRPr>
            </a:p>
          </p:txBody>
        </p:sp>
        <p:sp>
          <p:nvSpPr>
            <p:cNvPr id="23" name="Freeform 15">
              <a:extLst>
                <a:ext uri="{FF2B5EF4-FFF2-40B4-BE49-F238E27FC236}">
                  <a16:creationId xmlns:a16="http://schemas.microsoft.com/office/drawing/2014/main" id="{621A59A3-5D0F-4FA0-B01F-EF15D282FE84}"/>
                </a:ext>
              </a:extLst>
            </p:cNvPr>
            <p:cNvSpPr>
              <a:spLocks/>
            </p:cNvSpPr>
            <p:nvPr/>
          </p:nvSpPr>
          <p:spPr bwMode="auto">
            <a:xfrm>
              <a:off x="1927" y="2667"/>
              <a:ext cx="3" cy="6"/>
            </a:xfrm>
            <a:custGeom>
              <a:avLst/>
              <a:gdLst>
                <a:gd name="T0" fmla="*/ 2 w 2"/>
                <a:gd name="T1" fmla="*/ 3 h 4"/>
                <a:gd name="T2" fmla="*/ 2 w 2"/>
                <a:gd name="T3" fmla="*/ 3 h 4"/>
                <a:gd name="T4" fmla="*/ 1 w 2"/>
                <a:gd name="T5" fmla="*/ 0 h 4"/>
                <a:gd name="T6" fmla="*/ 0 w 2"/>
                <a:gd name="T7" fmla="*/ 4 h 4"/>
                <a:gd name="T8" fmla="*/ 2 w 2"/>
                <a:gd name="T9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" h="4">
                  <a:moveTo>
                    <a:pt x="2" y="3"/>
                  </a:moveTo>
                  <a:lnTo>
                    <a:pt x="2" y="3"/>
                  </a:lnTo>
                  <a:lnTo>
                    <a:pt x="1" y="0"/>
                  </a:lnTo>
                  <a:cubicBezTo>
                    <a:pt x="1" y="1"/>
                    <a:pt x="0" y="3"/>
                    <a:pt x="0" y="4"/>
                  </a:cubicBezTo>
                  <a:lnTo>
                    <a:pt x="2" y="3"/>
                  </a:lnTo>
                  <a:close/>
                </a:path>
              </a:pathLst>
            </a:custGeom>
            <a:solidFill>
              <a:srgbClr val="C1C1C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14" tIns="45706" rIns="91414" bIns="45706" numCol="1" anchor="t" anchorCtr="0" compatLnSpc="1">
              <a:prstTxWarp prst="textNoShape">
                <a:avLst/>
              </a:prstTxWarp>
            </a:bodyPr>
            <a:lstStyle/>
            <a:p>
              <a:pPr defTabSz="914016">
                <a:defRPr/>
              </a:pPr>
              <a:endParaRPr lang="en-US" sz="1765">
                <a:solidFill>
                  <a:srgbClr val="1A1A1A"/>
                </a:solidFill>
                <a:latin typeface="Segoe UI"/>
              </a:endParaRPr>
            </a:p>
          </p:txBody>
        </p:sp>
        <p:sp>
          <p:nvSpPr>
            <p:cNvPr id="24" name="Freeform 16">
              <a:extLst>
                <a:ext uri="{FF2B5EF4-FFF2-40B4-BE49-F238E27FC236}">
                  <a16:creationId xmlns:a16="http://schemas.microsoft.com/office/drawing/2014/main" id="{5E1756DF-95A7-462F-B897-F04ABB87BCD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14" y="2543"/>
              <a:ext cx="316" cy="317"/>
            </a:xfrm>
            <a:custGeom>
              <a:avLst/>
              <a:gdLst>
                <a:gd name="T0" fmla="*/ 146 w 213"/>
                <a:gd name="T1" fmla="*/ 108 h 213"/>
                <a:gd name="T2" fmla="*/ 134 w 213"/>
                <a:gd name="T3" fmla="*/ 134 h 213"/>
                <a:gd name="T4" fmla="*/ 106 w 213"/>
                <a:gd name="T5" fmla="*/ 146 h 213"/>
                <a:gd name="T6" fmla="*/ 79 w 213"/>
                <a:gd name="T7" fmla="*/ 134 h 213"/>
                <a:gd name="T8" fmla="*/ 67 w 213"/>
                <a:gd name="T9" fmla="*/ 108 h 213"/>
                <a:gd name="T10" fmla="*/ 70 w 213"/>
                <a:gd name="T11" fmla="*/ 91 h 213"/>
                <a:gd name="T12" fmla="*/ 79 w 213"/>
                <a:gd name="T13" fmla="*/ 78 h 213"/>
                <a:gd name="T14" fmla="*/ 106 w 213"/>
                <a:gd name="T15" fmla="*/ 67 h 213"/>
                <a:gd name="T16" fmla="*/ 134 w 213"/>
                <a:gd name="T17" fmla="*/ 78 h 213"/>
                <a:gd name="T18" fmla="*/ 143 w 213"/>
                <a:gd name="T19" fmla="*/ 91 h 213"/>
                <a:gd name="T20" fmla="*/ 146 w 213"/>
                <a:gd name="T21" fmla="*/ 108 h 213"/>
                <a:gd name="T22" fmla="*/ 212 w 213"/>
                <a:gd name="T23" fmla="*/ 83 h 213"/>
                <a:gd name="T24" fmla="*/ 187 w 213"/>
                <a:gd name="T25" fmla="*/ 48 h 213"/>
                <a:gd name="T26" fmla="*/ 160 w 213"/>
                <a:gd name="T27" fmla="*/ 47 h 213"/>
                <a:gd name="T28" fmla="*/ 127 w 213"/>
                <a:gd name="T29" fmla="*/ 0 h 213"/>
                <a:gd name="T30" fmla="*/ 108 w 213"/>
                <a:gd name="T31" fmla="*/ 27 h 213"/>
                <a:gd name="T32" fmla="*/ 105 w 213"/>
                <a:gd name="T33" fmla="*/ 27 h 213"/>
                <a:gd name="T34" fmla="*/ 86 w 213"/>
                <a:gd name="T35" fmla="*/ 0 h 213"/>
                <a:gd name="T36" fmla="*/ 48 w 213"/>
                <a:gd name="T37" fmla="*/ 28 h 213"/>
                <a:gd name="T38" fmla="*/ 48 w 213"/>
                <a:gd name="T39" fmla="*/ 53 h 213"/>
                <a:gd name="T40" fmla="*/ 16 w 213"/>
                <a:gd name="T41" fmla="*/ 45 h 213"/>
                <a:gd name="T42" fmla="*/ 2 w 213"/>
                <a:gd name="T43" fmla="*/ 81 h 213"/>
                <a:gd name="T44" fmla="*/ 27 w 213"/>
                <a:gd name="T45" fmla="*/ 102 h 213"/>
                <a:gd name="T46" fmla="*/ 27 w 213"/>
                <a:gd name="T47" fmla="*/ 106 h 213"/>
                <a:gd name="T48" fmla="*/ 27 w 213"/>
                <a:gd name="T49" fmla="*/ 108 h 213"/>
                <a:gd name="T50" fmla="*/ 0 w 213"/>
                <a:gd name="T51" fmla="*/ 127 h 213"/>
                <a:gd name="T52" fmla="*/ 48 w 213"/>
                <a:gd name="T53" fmla="*/ 160 h 213"/>
                <a:gd name="T54" fmla="*/ 46 w 213"/>
                <a:gd name="T55" fmla="*/ 196 h 213"/>
                <a:gd name="T56" fmla="*/ 103 w 213"/>
                <a:gd name="T57" fmla="*/ 186 h 213"/>
                <a:gd name="T58" fmla="*/ 106 w 213"/>
                <a:gd name="T59" fmla="*/ 186 h 213"/>
                <a:gd name="T60" fmla="*/ 110 w 213"/>
                <a:gd name="T61" fmla="*/ 186 h 213"/>
                <a:gd name="T62" fmla="*/ 167 w 213"/>
                <a:gd name="T63" fmla="*/ 196 h 213"/>
                <a:gd name="T64" fmla="*/ 165 w 213"/>
                <a:gd name="T65" fmla="*/ 160 h 213"/>
                <a:gd name="T66" fmla="*/ 213 w 213"/>
                <a:gd name="T67" fmla="*/ 127 h 213"/>
                <a:gd name="T68" fmla="*/ 186 w 213"/>
                <a:gd name="T69" fmla="*/ 108 h 213"/>
                <a:gd name="T70" fmla="*/ 186 w 213"/>
                <a:gd name="T71" fmla="*/ 106 h 213"/>
                <a:gd name="T72" fmla="*/ 186 w 213"/>
                <a:gd name="T73" fmla="*/ 102 h 213"/>
                <a:gd name="T74" fmla="*/ 212 w 213"/>
                <a:gd name="T75" fmla="*/ 83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213" h="213">
                  <a:moveTo>
                    <a:pt x="146" y="108"/>
                  </a:moveTo>
                  <a:lnTo>
                    <a:pt x="146" y="108"/>
                  </a:lnTo>
                  <a:cubicBezTo>
                    <a:pt x="146" y="112"/>
                    <a:pt x="145" y="117"/>
                    <a:pt x="143" y="122"/>
                  </a:cubicBezTo>
                  <a:cubicBezTo>
                    <a:pt x="141" y="126"/>
                    <a:pt x="138" y="130"/>
                    <a:pt x="134" y="134"/>
                  </a:cubicBezTo>
                  <a:cubicBezTo>
                    <a:pt x="131" y="138"/>
                    <a:pt x="127" y="140"/>
                    <a:pt x="122" y="142"/>
                  </a:cubicBezTo>
                  <a:cubicBezTo>
                    <a:pt x="117" y="145"/>
                    <a:pt x="112" y="146"/>
                    <a:pt x="106" y="146"/>
                  </a:cubicBezTo>
                  <a:cubicBezTo>
                    <a:pt x="101" y="146"/>
                    <a:pt x="96" y="145"/>
                    <a:pt x="91" y="142"/>
                  </a:cubicBezTo>
                  <a:cubicBezTo>
                    <a:pt x="86" y="140"/>
                    <a:pt x="82" y="138"/>
                    <a:pt x="79" y="134"/>
                  </a:cubicBezTo>
                  <a:cubicBezTo>
                    <a:pt x="75" y="130"/>
                    <a:pt x="72" y="126"/>
                    <a:pt x="70" y="122"/>
                  </a:cubicBezTo>
                  <a:cubicBezTo>
                    <a:pt x="68" y="117"/>
                    <a:pt x="67" y="112"/>
                    <a:pt x="67" y="108"/>
                  </a:cubicBezTo>
                  <a:cubicBezTo>
                    <a:pt x="67" y="107"/>
                    <a:pt x="67" y="107"/>
                    <a:pt x="67" y="106"/>
                  </a:cubicBezTo>
                  <a:cubicBezTo>
                    <a:pt x="67" y="101"/>
                    <a:pt x="68" y="96"/>
                    <a:pt x="70" y="91"/>
                  </a:cubicBezTo>
                  <a:cubicBezTo>
                    <a:pt x="72" y="87"/>
                    <a:pt x="74" y="84"/>
                    <a:pt x="76" y="81"/>
                  </a:cubicBezTo>
                  <a:cubicBezTo>
                    <a:pt x="77" y="80"/>
                    <a:pt x="78" y="79"/>
                    <a:pt x="79" y="78"/>
                  </a:cubicBezTo>
                  <a:cubicBezTo>
                    <a:pt x="82" y="75"/>
                    <a:pt x="86" y="72"/>
                    <a:pt x="91" y="70"/>
                  </a:cubicBezTo>
                  <a:cubicBezTo>
                    <a:pt x="96" y="68"/>
                    <a:pt x="101" y="67"/>
                    <a:pt x="106" y="67"/>
                  </a:cubicBezTo>
                  <a:cubicBezTo>
                    <a:pt x="112" y="67"/>
                    <a:pt x="117" y="68"/>
                    <a:pt x="122" y="70"/>
                  </a:cubicBezTo>
                  <a:cubicBezTo>
                    <a:pt x="127" y="72"/>
                    <a:pt x="131" y="75"/>
                    <a:pt x="134" y="78"/>
                  </a:cubicBezTo>
                  <a:cubicBezTo>
                    <a:pt x="135" y="79"/>
                    <a:pt x="136" y="80"/>
                    <a:pt x="136" y="81"/>
                  </a:cubicBezTo>
                  <a:cubicBezTo>
                    <a:pt x="139" y="84"/>
                    <a:pt x="141" y="87"/>
                    <a:pt x="143" y="91"/>
                  </a:cubicBezTo>
                  <a:cubicBezTo>
                    <a:pt x="145" y="96"/>
                    <a:pt x="146" y="101"/>
                    <a:pt x="146" y="106"/>
                  </a:cubicBezTo>
                  <a:cubicBezTo>
                    <a:pt x="146" y="107"/>
                    <a:pt x="146" y="107"/>
                    <a:pt x="146" y="108"/>
                  </a:cubicBezTo>
                  <a:close/>
                  <a:moveTo>
                    <a:pt x="212" y="83"/>
                  </a:moveTo>
                  <a:lnTo>
                    <a:pt x="212" y="83"/>
                  </a:lnTo>
                  <a:lnTo>
                    <a:pt x="196" y="45"/>
                  </a:lnTo>
                  <a:lnTo>
                    <a:pt x="187" y="48"/>
                  </a:lnTo>
                  <a:lnTo>
                    <a:pt x="165" y="53"/>
                  </a:lnTo>
                  <a:cubicBezTo>
                    <a:pt x="164" y="51"/>
                    <a:pt x="162" y="49"/>
                    <a:pt x="160" y="47"/>
                  </a:cubicBezTo>
                  <a:lnTo>
                    <a:pt x="167" y="16"/>
                  </a:lnTo>
                  <a:lnTo>
                    <a:pt x="127" y="0"/>
                  </a:lnTo>
                  <a:lnTo>
                    <a:pt x="110" y="27"/>
                  </a:lnTo>
                  <a:cubicBezTo>
                    <a:pt x="110" y="27"/>
                    <a:pt x="109" y="27"/>
                    <a:pt x="108" y="27"/>
                  </a:cubicBezTo>
                  <a:cubicBezTo>
                    <a:pt x="108" y="27"/>
                    <a:pt x="107" y="27"/>
                    <a:pt x="106" y="27"/>
                  </a:cubicBezTo>
                  <a:cubicBezTo>
                    <a:pt x="106" y="27"/>
                    <a:pt x="105" y="27"/>
                    <a:pt x="105" y="27"/>
                  </a:cubicBezTo>
                  <a:cubicBezTo>
                    <a:pt x="104" y="27"/>
                    <a:pt x="103" y="27"/>
                    <a:pt x="103" y="27"/>
                  </a:cubicBezTo>
                  <a:lnTo>
                    <a:pt x="86" y="0"/>
                  </a:lnTo>
                  <a:lnTo>
                    <a:pt x="46" y="16"/>
                  </a:lnTo>
                  <a:lnTo>
                    <a:pt x="48" y="28"/>
                  </a:lnTo>
                  <a:lnTo>
                    <a:pt x="53" y="47"/>
                  </a:lnTo>
                  <a:cubicBezTo>
                    <a:pt x="51" y="49"/>
                    <a:pt x="49" y="51"/>
                    <a:pt x="48" y="53"/>
                  </a:cubicBezTo>
                  <a:lnTo>
                    <a:pt x="27" y="48"/>
                  </a:lnTo>
                  <a:lnTo>
                    <a:pt x="16" y="45"/>
                  </a:lnTo>
                  <a:lnTo>
                    <a:pt x="13" y="54"/>
                  </a:lnTo>
                  <a:lnTo>
                    <a:pt x="2" y="81"/>
                  </a:lnTo>
                  <a:lnTo>
                    <a:pt x="0" y="86"/>
                  </a:lnTo>
                  <a:lnTo>
                    <a:pt x="27" y="102"/>
                  </a:lnTo>
                  <a:cubicBezTo>
                    <a:pt x="27" y="103"/>
                    <a:pt x="27" y="104"/>
                    <a:pt x="27" y="104"/>
                  </a:cubicBezTo>
                  <a:cubicBezTo>
                    <a:pt x="27" y="105"/>
                    <a:pt x="27" y="106"/>
                    <a:pt x="27" y="106"/>
                  </a:cubicBezTo>
                  <a:cubicBezTo>
                    <a:pt x="27" y="107"/>
                    <a:pt x="27" y="107"/>
                    <a:pt x="27" y="108"/>
                  </a:cubicBezTo>
                  <a:cubicBezTo>
                    <a:pt x="27" y="108"/>
                    <a:pt x="27" y="108"/>
                    <a:pt x="27" y="108"/>
                  </a:cubicBezTo>
                  <a:cubicBezTo>
                    <a:pt x="27" y="109"/>
                    <a:pt x="27" y="109"/>
                    <a:pt x="27" y="110"/>
                  </a:cubicBezTo>
                  <a:lnTo>
                    <a:pt x="0" y="127"/>
                  </a:lnTo>
                  <a:lnTo>
                    <a:pt x="16" y="167"/>
                  </a:lnTo>
                  <a:lnTo>
                    <a:pt x="48" y="160"/>
                  </a:lnTo>
                  <a:cubicBezTo>
                    <a:pt x="49" y="162"/>
                    <a:pt x="51" y="163"/>
                    <a:pt x="53" y="165"/>
                  </a:cubicBezTo>
                  <a:lnTo>
                    <a:pt x="46" y="196"/>
                  </a:lnTo>
                  <a:lnTo>
                    <a:pt x="86" y="213"/>
                  </a:lnTo>
                  <a:lnTo>
                    <a:pt x="103" y="186"/>
                  </a:lnTo>
                  <a:cubicBezTo>
                    <a:pt x="103" y="186"/>
                    <a:pt x="104" y="186"/>
                    <a:pt x="105" y="186"/>
                  </a:cubicBezTo>
                  <a:cubicBezTo>
                    <a:pt x="105" y="186"/>
                    <a:pt x="106" y="186"/>
                    <a:pt x="106" y="186"/>
                  </a:cubicBezTo>
                  <a:cubicBezTo>
                    <a:pt x="107" y="186"/>
                    <a:pt x="108" y="186"/>
                    <a:pt x="108" y="186"/>
                  </a:cubicBezTo>
                  <a:cubicBezTo>
                    <a:pt x="109" y="186"/>
                    <a:pt x="110" y="186"/>
                    <a:pt x="110" y="186"/>
                  </a:cubicBezTo>
                  <a:lnTo>
                    <a:pt x="127" y="213"/>
                  </a:lnTo>
                  <a:lnTo>
                    <a:pt x="167" y="196"/>
                  </a:lnTo>
                  <a:lnTo>
                    <a:pt x="160" y="165"/>
                  </a:lnTo>
                  <a:cubicBezTo>
                    <a:pt x="162" y="163"/>
                    <a:pt x="164" y="162"/>
                    <a:pt x="165" y="160"/>
                  </a:cubicBezTo>
                  <a:lnTo>
                    <a:pt x="196" y="167"/>
                  </a:lnTo>
                  <a:lnTo>
                    <a:pt x="213" y="127"/>
                  </a:lnTo>
                  <a:lnTo>
                    <a:pt x="186" y="110"/>
                  </a:lnTo>
                  <a:cubicBezTo>
                    <a:pt x="186" y="109"/>
                    <a:pt x="186" y="109"/>
                    <a:pt x="186" y="108"/>
                  </a:cubicBezTo>
                  <a:cubicBezTo>
                    <a:pt x="186" y="108"/>
                    <a:pt x="186" y="107"/>
                    <a:pt x="186" y="107"/>
                  </a:cubicBezTo>
                  <a:cubicBezTo>
                    <a:pt x="186" y="107"/>
                    <a:pt x="186" y="106"/>
                    <a:pt x="186" y="106"/>
                  </a:cubicBezTo>
                  <a:cubicBezTo>
                    <a:pt x="186" y="106"/>
                    <a:pt x="186" y="105"/>
                    <a:pt x="186" y="104"/>
                  </a:cubicBezTo>
                  <a:cubicBezTo>
                    <a:pt x="186" y="104"/>
                    <a:pt x="186" y="103"/>
                    <a:pt x="186" y="102"/>
                  </a:cubicBezTo>
                  <a:lnTo>
                    <a:pt x="211" y="87"/>
                  </a:lnTo>
                  <a:cubicBezTo>
                    <a:pt x="211" y="86"/>
                    <a:pt x="212" y="84"/>
                    <a:pt x="212" y="83"/>
                  </a:cubicBezTo>
                  <a:close/>
                </a:path>
              </a:pathLst>
            </a:custGeom>
            <a:solidFill>
              <a:schemeClr val="tx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14" tIns="45706" rIns="91414" bIns="45706" numCol="1" anchor="t" anchorCtr="0" compatLnSpc="1">
              <a:prstTxWarp prst="textNoShape">
                <a:avLst/>
              </a:prstTxWarp>
            </a:bodyPr>
            <a:lstStyle/>
            <a:p>
              <a:pPr defTabSz="914016">
                <a:defRPr/>
              </a:pPr>
              <a:endParaRPr lang="en-US" sz="1765">
                <a:solidFill>
                  <a:srgbClr val="1A1A1A"/>
                </a:solidFill>
                <a:latin typeface="Segoe UI"/>
              </a:endParaRPr>
            </a:p>
          </p:txBody>
        </p:sp>
        <p:sp>
          <p:nvSpPr>
            <p:cNvPr id="25" name="Freeform 17">
              <a:extLst>
                <a:ext uri="{FF2B5EF4-FFF2-40B4-BE49-F238E27FC236}">
                  <a16:creationId xmlns:a16="http://schemas.microsoft.com/office/drawing/2014/main" id="{EDB27DE5-9079-42B5-9A46-56DA2B837A40}"/>
                </a:ext>
              </a:extLst>
            </p:cNvPr>
            <p:cNvSpPr>
              <a:spLocks/>
            </p:cNvSpPr>
            <p:nvPr/>
          </p:nvSpPr>
          <p:spPr bwMode="auto">
            <a:xfrm>
              <a:off x="1753" y="2681"/>
              <a:ext cx="38" cy="39"/>
            </a:xfrm>
            <a:custGeom>
              <a:avLst/>
              <a:gdLst>
                <a:gd name="T0" fmla="*/ 21 w 25"/>
                <a:gd name="T1" fmla="*/ 4 h 26"/>
                <a:gd name="T2" fmla="*/ 21 w 25"/>
                <a:gd name="T3" fmla="*/ 4 h 26"/>
                <a:gd name="T4" fmla="*/ 17 w 25"/>
                <a:gd name="T5" fmla="*/ 1 h 26"/>
                <a:gd name="T6" fmla="*/ 12 w 25"/>
                <a:gd name="T7" fmla="*/ 0 h 26"/>
                <a:gd name="T8" fmla="*/ 8 w 25"/>
                <a:gd name="T9" fmla="*/ 1 h 26"/>
                <a:gd name="T10" fmla="*/ 3 w 25"/>
                <a:gd name="T11" fmla="*/ 4 h 26"/>
                <a:gd name="T12" fmla="*/ 1 w 25"/>
                <a:gd name="T13" fmla="*/ 8 h 26"/>
                <a:gd name="T14" fmla="*/ 0 w 25"/>
                <a:gd name="T15" fmla="*/ 13 h 26"/>
                <a:gd name="T16" fmla="*/ 0 w 25"/>
                <a:gd name="T17" fmla="*/ 15 h 26"/>
                <a:gd name="T18" fmla="*/ 1 w 25"/>
                <a:gd name="T19" fmla="*/ 18 h 26"/>
                <a:gd name="T20" fmla="*/ 3 w 25"/>
                <a:gd name="T21" fmla="*/ 22 h 26"/>
                <a:gd name="T22" fmla="*/ 8 w 25"/>
                <a:gd name="T23" fmla="*/ 25 h 26"/>
                <a:gd name="T24" fmla="*/ 12 w 25"/>
                <a:gd name="T25" fmla="*/ 26 h 26"/>
                <a:gd name="T26" fmla="*/ 17 w 25"/>
                <a:gd name="T27" fmla="*/ 25 h 26"/>
                <a:gd name="T28" fmla="*/ 21 w 25"/>
                <a:gd name="T29" fmla="*/ 22 h 26"/>
                <a:gd name="T30" fmla="*/ 24 w 25"/>
                <a:gd name="T31" fmla="*/ 18 h 26"/>
                <a:gd name="T32" fmla="*/ 25 w 25"/>
                <a:gd name="T33" fmla="*/ 15 h 26"/>
                <a:gd name="T34" fmla="*/ 25 w 25"/>
                <a:gd name="T35" fmla="*/ 13 h 26"/>
                <a:gd name="T36" fmla="*/ 24 w 25"/>
                <a:gd name="T37" fmla="*/ 8 h 26"/>
                <a:gd name="T38" fmla="*/ 21 w 25"/>
                <a:gd name="T39" fmla="*/ 4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25" h="26">
                  <a:moveTo>
                    <a:pt x="21" y="4"/>
                  </a:moveTo>
                  <a:lnTo>
                    <a:pt x="21" y="4"/>
                  </a:lnTo>
                  <a:cubicBezTo>
                    <a:pt x="20" y="3"/>
                    <a:pt x="19" y="2"/>
                    <a:pt x="17" y="1"/>
                  </a:cubicBezTo>
                  <a:cubicBezTo>
                    <a:pt x="16" y="1"/>
                    <a:pt x="14" y="0"/>
                    <a:pt x="12" y="0"/>
                  </a:cubicBezTo>
                  <a:cubicBezTo>
                    <a:pt x="11" y="0"/>
                    <a:pt x="9" y="1"/>
                    <a:pt x="8" y="1"/>
                  </a:cubicBezTo>
                  <a:cubicBezTo>
                    <a:pt x="6" y="2"/>
                    <a:pt x="5" y="3"/>
                    <a:pt x="3" y="4"/>
                  </a:cubicBezTo>
                  <a:cubicBezTo>
                    <a:pt x="2" y="5"/>
                    <a:pt x="1" y="7"/>
                    <a:pt x="1" y="8"/>
                  </a:cubicBezTo>
                  <a:cubicBezTo>
                    <a:pt x="0" y="10"/>
                    <a:pt x="0" y="11"/>
                    <a:pt x="0" y="13"/>
                  </a:cubicBezTo>
                  <a:cubicBezTo>
                    <a:pt x="0" y="14"/>
                    <a:pt x="0" y="14"/>
                    <a:pt x="0" y="15"/>
                  </a:cubicBezTo>
                  <a:cubicBezTo>
                    <a:pt x="0" y="16"/>
                    <a:pt x="0" y="17"/>
                    <a:pt x="1" y="18"/>
                  </a:cubicBezTo>
                  <a:cubicBezTo>
                    <a:pt x="1" y="20"/>
                    <a:pt x="2" y="21"/>
                    <a:pt x="3" y="22"/>
                  </a:cubicBezTo>
                  <a:cubicBezTo>
                    <a:pt x="5" y="23"/>
                    <a:pt x="6" y="24"/>
                    <a:pt x="8" y="25"/>
                  </a:cubicBezTo>
                  <a:cubicBezTo>
                    <a:pt x="9" y="26"/>
                    <a:pt x="11" y="26"/>
                    <a:pt x="12" y="26"/>
                  </a:cubicBezTo>
                  <a:cubicBezTo>
                    <a:pt x="14" y="26"/>
                    <a:pt x="16" y="26"/>
                    <a:pt x="17" y="25"/>
                  </a:cubicBezTo>
                  <a:cubicBezTo>
                    <a:pt x="19" y="24"/>
                    <a:pt x="20" y="23"/>
                    <a:pt x="21" y="22"/>
                  </a:cubicBezTo>
                  <a:cubicBezTo>
                    <a:pt x="23" y="21"/>
                    <a:pt x="24" y="20"/>
                    <a:pt x="24" y="18"/>
                  </a:cubicBezTo>
                  <a:cubicBezTo>
                    <a:pt x="25" y="17"/>
                    <a:pt x="25" y="16"/>
                    <a:pt x="25" y="15"/>
                  </a:cubicBezTo>
                  <a:cubicBezTo>
                    <a:pt x="25" y="14"/>
                    <a:pt x="25" y="14"/>
                    <a:pt x="25" y="13"/>
                  </a:cubicBezTo>
                  <a:cubicBezTo>
                    <a:pt x="25" y="11"/>
                    <a:pt x="25" y="10"/>
                    <a:pt x="24" y="8"/>
                  </a:cubicBezTo>
                  <a:cubicBezTo>
                    <a:pt x="24" y="7"/>
                    <a:pt x="23" y="5"/>
                    <a:pt x="21" y="4"/>
                  </a:cubicBezTo>
                  <a:close/>
                </a:path>
              </a:pathLst>
            </a:custGeom>
            <a:solidFill>
              <a:srgbClr val="0078D4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14" tIns="45706" rIns="91414" bIns="45706" numCol="1" anchor="t" anchorCtr="0" compatLnSpc="1">
              <a:prstTxWarp prst="textNoShape">
                <a:avLst/>
              </a:prstTxWarp>
            </a:bodyPr>
            <a:lstStyle/>
            <a:p>
              <a:pPr defTabSz="914016">
                <a:defRPr/>
              </a:pPr>
              <a:endParaRPr lang="en-US" sz="1765">
                <a:solidFill>
                  <a:srgbClr val="1A1A1A"/>
                </a:solidFill>
                <a:latin typeface="Segoe UI"/>
              </a:endParaRPr>
            </a:p>
          </p:txBody>
        </p:sp>
      </p:grpSp>
      <p:grpSp>
        <p:nvGrpSpPr>
          <p:cNvPr id="26" name="Group 25">
            <a:extLst>
              <a:ext uri="{FF2B5EF4-FFF2-40B4-BE49-F238E27FC236}">
                <a16:creationId xmlns:a16="http://schemas.microsoft.com/office/drawing/2014/main" id="{2EE889BD-F530-4881-8050-B1611A26055C}"/>
              </a:ext>
            </a:extLst>
          </p:cNvPr>
          <p:cNvGrpSpPr/>
          <p:nvPr/>
        </p:nvGrpSpPr>
        <p:grpSpPr>
          <a:xfrm>
            <a:off x="2511374" y="4734619"/>
            <a:ext cx="1322884" cy="578051"/>
            <a:chOff x="1671603" y="4900917"/>
            <a:chExt cx="1323259" cy="578215"/>
          </a:xfrm>
        </p:grpSpPr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4F509B40-7AC1-459F-8721-026834B9E3BE}"/>
                </a:ext>
              </a:extLst>
            </p:cNvPr>
            <p:cNvGrpSpPr/>
            <p:nvPr/>
          </p:nvGrpSpPr>
          <p:grpSpPr>
            <a:xfrm>
              <a:off x="1671603" y="4900917"/>
              <a:ext cx="627183" cy="578215"/>
              <a:chOff x="2501959" y="5037105"/>
              <a:chExt cx="627183" cy="578215"/>
            </a:xfrm>
          </p:grpSpPr>
          <p:sp>
            <p:nvSpPr>
              <p:cNvPr id="34" name="Freeform 5">
                <a:extLst>
                  <a:ext uri="{FF2B5EF4-FFF2-40B4-BE49-F238E27FC236}">
                    <a16:creationId xmlns:a16="http://schemas.microsoft.com/office/drawing/2014/main" id="{106C5096-2551-4FF8-B4B8-589FE87B17E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01959" y="5037105"/>
                <a:ext cx="627183" cy="578215"/>
              </a:xfrm>
              <a:custGeom>
                <a:avLst/>
                <a:gdLst>
                  <a:gd name="T0" fmla="*/ 0 w 426"/>
                  <a:gd name="T1" fmla="*/ 12 h 333"/>
                  <a:gd name="T2" fmla="*/ 0 w 426"/>
                  <a:gd name="T3" fmla="*/ 12 h 333"/>
                  <a:gd name="T4" fmla="*/ 0 w 426"/>
                  <a:gd name="T5" fmla="*/ 255 h 333"/>
                  <a:gd name="T6" fmla="*/ 12 w 426"/>
                  <a:gd name="T7" fmla="*/ 268 h 333"/>
                  <a:gd name="T8" fmla="*/ 195 w 426"/>
                  <a:gd name="T9" fmla="*/ 268 h 333"/>
                  <a:gd name="T10" fmla="*/ 195 w 426"/>
                  <a:gd name="T11" fmla="*/ 306 h 333"/>
                  <a:gd name="T12" fmla="*/ 130 w 426"/>
                  <a:gd name="T13" fmla="*/ 306 h 333"/>
                  <a:gd name="T14" fmla="*/ 130 w 426"/>
                  <a:gd name="T15" fmla="*/ 333 h 333"/>
                  <a:gd name="T16" fmla="*/ 293 w 426"/>
                  <a:gd name="T17" fmla="*/ 333 h 333"/>
                  <a:gd name="T18" fmla="*/ 293 w 426"/>
                  <a:gd name="T19" fmla="*/ 306 h 333"/>
                  <a:gd name="T20" fmla="*/ 228 w 426"/>
                  <a:gd name="T21" fmla="*/ 306 h 333"/>
                  <a:gd name="T22" fmla="*/ 228 w 426"/>
                  <a:gd name="T23" fmla="*/ 268 h 333"/>
                  <a:gd name="T24" fmla="*/ 413 w 426"/>
                  <a:gd name="T25" fmla="*/ 268 h 333"/>
                  <a:gd name="T26" fmla="*/ 426 w 426"/>
                  <a:gd name="T27" fmla="*/ 255 h 333"/>
                  <a:gd name="T28" fmla="*/ 426 w 426"/>
                  <a:gd name="T29" fmla="*/ 12 h 333"/>
                  <a:gd name="T30" fmla="*/ 413 w 426"/>
                  <a:gd name="T31" fmla="*/ 0 h 333"/>
                  <a:gd name="T32" fmla="*/ 12 w 426"/>
                  <a:gd name="T33" fmla="*/ 0 h 333"/>
                  <a:gd name="T34" fmla="*/ 0 w 426"/>
                  <a:gd name="T35" fmla="*/ 12 h 3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426" h="333">
                    <a:moveTo>
                      <a:pt x="0" y="12"/>
                    </a:moveTo>
                    <a:lnTo>
                      <a:pt x="0" y="12"/>
                    </a:lnTo>
                    <a:lnTo>
                      <a:pt x="0" y="255"/>
                    </a:lnTo>
                    <a:cubicBezTo>
                      <a:pt x="0" y="262"/>
                      <a:pt x="5" y="268"/>
                      <a:pt x="12" y="268"/>
                    </a:cubicBezTo>
                    <a:lnTo>
                      <a:pt x="195" y="268"/>
                    </a:lnTo>
                    <a:lnTo>
                      <a:pt x="195" y="306"/>
                    </a:lnTo>
                    <a:lnTo>
                      <a:pt x="130" y="306"/>
                    </a:lnTo>
                    <a:lnTo>
                      <a:pt x="130" y="333"/>
                    </a:lnTo>
                    <a:lnTo>
                      <a:pt x="293" y="333"/>
                    </a:lnTo>
                    <a:lnTo>
                      <a:pt x="293" y="306"/>
                    </a:lnTo>
                    <a:lnTo>
                      <a:pt x="228" y="306"/>
                    </a:lnTo>
                    <a:lnTo>
                      <a:pt x="228" y="268"/>
                    </a:lnTo>
                    <a:lnTo>
                      <a:pt x="413" y="268"/>
                    </a:lnTo>
                    <a:cubicBezTo>
                      <a:pt x="420" y="268"/>
                      <a:pt x="426" y="262"/>
                      <a:pt x="426" y="255"/>
                    </a:cubicBezTo>
                    <a:lnTo>
                      <a:pt x="426" y="12"/>
                    </a:lnTo>
                    <a:cubicBezTo>
                      <a:pt x="426" y="5"/>
                      <a:pt x="420" y="0"/>
                      <a:pt x="413" y="0"/>
                    </a:cubicBezTo>
                    <a:lnTo>
                      <a:pt x="12" y="0"/>
                    </a:lnTo>
                    <a:cubicBezTo>
                      <a:pt x="5" y="0"/>
                      <a:pt x="0" y="5"/>
                      <a:pt x="0" y="12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1905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14" tIns="45706" rIns="91414" bIns="45706" numCol="1" anchor="t" anchorCtr="0" compatLnSpc="1">
                <a:prstTxWarp prst="textNoShape">
                  <a:avLst/>
                </a:prstTxWarp>
              </a:bodyPr>
              <a:lstStyle/>
              <a:p>
                <a:pPr defTabSz="914016">
                  <a:defRPr/>
                </a:pPr>
                <a:endParaRPr lang="en-US" sz="1765">
                  <a:solidFill>
                    <a:srgbClr val="1A1A1A"/>
                  </a:solidFill>
                  <a:latin typeface="Segoe UI"/>
                </a:endParaRPr>
              </a:p>
            </p:txBody>
          </p:sp>
          <p:pic>
            <p:nvPicPr>
              <p:cNvPr id="35" name="Picture 34">
                <a:extLst>
                  <a:ext uri="{FF2B5EF4-FFF2-40B4-BE49-F238E27FC236}">
                    <a16:creationId xmlns:a16="http://schemas.microsoft.com/office/drawing/2014/main" id="{4C4B7162-7B50-4C28-8A1F-6412FC862E3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2667438" y="5132878"/>
                <a:ext cx="279838" cy="302928"/>
              </a:xfrm>
              <a:prstGeom prst="rect">
                <a:avLst/>
              </a:prstGeom>
            </p:spPr>
          </p:pic>
        </p:grpSp>
        <p:grpSp>
          <p:nvGrpSpPr>
            <p:cNvPr id="29" name="Group 28">
              <a:extLst>
                <a:ext uri="{FF2B5EF4-FFF2-40B4-BE49-F238E27FC236}">
                  <a16:creationId xmlns:a16="http://schemas.microsoft.com/office/drawing/2014/main" id="{65AB3586-9AE9-461F-8289-D8A2B226EC08}"/>
                </a:ext>
              </a:extLst>
            </p:cNvPr>
            <p:cNvGrpSpPr/>
            <p:nvPr/>
          </p:nvGrpSpPr>
          <p:grpSpPr>
            <a:xfrm>
              <a:off x="2367679" y="4900917"/>
              <a:ext cx="627183" cy="578215"/>
              <a:chOff x="2501959" y="5037105"/>
              <a:chExt cx="627183" cy="578215"/>
            </a:xfrm>
          </p:grpSpPr>
          <p:sp>
            <p:nvSpPr>
              <p:cNvPr id="30" name="Freeform 5">
                <a:extLst>
                  <a:ext uri="{FF2B5EF4-FFF2-40B4-BE49-F238E27FC236}">
                    <a16:creationId xmlns:a16="http://schemas.microsoft.com/office/drawing/2014/main" id="{0580E11C-FEE3-4436-B666-F05B6F08398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01959" y="5037105"/>
                <a:ext cx="627183" cy="578215"/>
              </a:xfrm>
              <a:custGeom>
                <a:avLst/>
                <a:gdLst>
                  <a:gd name="T0" fmla="*/ 0 w 426"/>
                  <a:gd name="T1" fmla="*/ 12 h 333"/>
                  <a:gd name="T2" fmla="*/ 0 w 426"/>
                  <a:gd name="T3" fmla="*/ 12 h 333"/>
                  <a:gd name="T4" fmla="*/ 0 w 426"/>
                  <a:gd name="T5" fmla="*/ 255 h 333"/>
                  <a:gd name="T6" fmla="*/ 12 w 426"/>
                  <a:gd name="T7" fmla="*/ 268 h 333"/>
                  <a:gd name="T8" fmla="*/ 195 w 426"/>
                  <a:gd name="T9" fmla="*/ 268 h 333"/>
                  <a:gd name="T10" fmla="*/ 195 w 426"/>
                  <a:gd name="T11" fmla="*/ 306 h 333"/>
                  <a:gd name="T12" fmla="*/ 130 w 426"/>
                  <a:gd name="T13" fmla="*/ 306 h 333"/>
                  <a:gd name="T14" fmla="*/ 130 w 426"/>
                  <a:gd name="T15" fmla="*/ 333 h 333"/>
                  <a:gd name="T16" fmla="*/ 293 w 426"/>
                  <a:gd name="T17" fmla="*/ 333 h 333"/>
                  <a:gd name="T18" fmla="*/ 293 w 426"/>
                  <a:gd name="T19" fmla="*/ 306 h 333"/>
                  <a:gd name="T20" fmla="*/ 228 w 426"/>
                  <a:gd name="T21" fmla="*/ 306 h 333"/>
                  <a:gd name="T22" fmla="*/ 228 w 426"/>
                  <a:gd name="T23" fmla="*/ 268 h 333"/>
                  <a:gd name="T24" fmla="*/ 413 w 426"/>
                  <a:gd name="T25" fmla="*/ 268 h 333"/>
                  <a:gd name="T26" fmla="*/ 426 w 426"/>
                  <a:gd name="T27" fmla="*/ 255 h 333"/>
                  <a:gd name="T28" fmla="*/ 426 w 426"/>
                  <a:gd name="T29" fmla="*/ 12 h 333"/>
                  <a:gd name="T30" fmla="*/ 413 w 426"/>
                  <a:gd name="T31" fmla="*/ 0 h 333"/>
                  <a:gd name="T32" fmla="*/ 12 w 426"/>
                  <a:gd name="T33" fmla="*/ 0 h 333"/>
                  <a:gd name="T34" fmla="*/ 0 w 426"/>
                  <a:gd name="T35" fmla="*/ 12 h 3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426" h="333">
                    <a:moveTo>
                      <a:pt x="0" y="12"/>
                    </a:moveTo>
                    <a:lnTo>
                      <a:pt x="0" y="12"/>
                    </a:lnTo>
                    <a:lnTo>
                      <a:pt x="0" y="255"/>
                    </a:lnTo>
                    <a:cubicBezTo>
                      <a:pt x="0" y="262"/>
                      <a:pt x="5" y="268"/>
                      <a:pt x="12" y="268"/>
                    </a:cubicBezTo>
                    <a:lnTo>
                      <a:pt x="195" y="268"/>
                    </a:lnTo>
                    <a:lnTo>
                      <a:pt x="195" y="306"/>
                    </a:lnTo>
                    <a:lnTo>
                      <a:pt x="130" y="306"/>
                    </a:lnTo>
                    <a:lnTo>
                      <a:pt x="130" y="333"/>
                    </a:lnTo>
                    <a:lnTo>
                      <a:pt x="293" y="333"/>
                    </a:lnTo>
                    <a:lnTo>
                      <a:pt x="293" y="306"/>
                    </a:lnTo>
                    <a:lnTo>
                      <a:pt x="228" y="306"/>
                    </a:lnTo>
                    <a:lnTo>
                      <a:pt x="228" y="268"/>
                    </a:lnTo>
                    <a:lnTo>
                      <a:pt x="413" y="268"/>
                    </a:lnTo>
                    <a:cubicBezTo>
                      <a:pt x="420" y="268"/>
                      <a:pt x="426" y="262"/>
                      <a:pt x="426" y="255"/>
                    </a:cubicBezTo>
                    <a:lnTo>
                      <a:pt x="426" y="12"/>
                    </a:lnTo>
                    <a:cubicBezTo>
                      <a:pt x="426" y="5"/>
                      <a:pt x="420" y="0"/>
                      <a:pt x="413" y="0"/>
                    </a:cubicBezTo>
                    <a:lnTo>
                      <a:pt x="12" y="0"/>
                    </a:lnTo>
                    <a:cubicBezTo>
                      <a:pt x="5" y="0"/>
                      <a:pt x="0" y="5"/>
                      <a:pt x="0" y="12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1905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14" tIns="45706" rIns="91414" bIns="45706" numCol="1" anchor="t" anchorCtr="0" compatLnSpc="1">
                <a:prstTxWarp prst="textNoShape">
                  <a:avLst/>
                </a:prstTxWarp>
              </a:bodyPr>
              <a:lstStyle/>
              <a:p>
                <a:pPr defTabSz="914016">
                  <a:defRPr/>
                </a:pPr>
                <a:endParaRPr lang="en-US" sz="1765">
                  <a:solidFill>
                    <a:srgbClr val="1A1A1A"/>
                  </a:solidFill>
                  <a:latin typeface="Segoe UI"/>
                </a:endParaRPr>
              </a:p>
            </p:txBody>
          </p:sp>
          <p:pic>
            <p:nvPicPr>
              <p:cNvPr id="31" name="Picture 30">
                <a:extLst>
                  <a:ext uri="{FF2B5EF4-FFF2-40B4-BE49-F238E27FC236}">
                    <a16:creationId xmlns:a16="http://schemas.microsoft.com/office/drawing/2014/main" id="{72A11EB0-80BF-46A5-8543-9D494ACF037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2681505" y="5132878"/>
                <a:ext cx="256062" cy="275758"/>
              </a:xfrm>
              <a:prstGeom prst="rect">
                <a:avLst/>
              </a:prstGeom>
            </p:spPr>
          </p:pic>
        </p:grpSp>
      </p:grpSp>
      <p:sp>
        <p:nvSpPr>
          <p:cNvPr id="51" name="Text Placeholder 4">
            <a:extLst>
              <a:ext uri="{FF2B5EF4-FFF2-40B4-BE49-F238E27FC236}">
                <a16:creationId xmlns:a16="http://schemas.microsoft.com/office/drawing/2014/main" id="{CA1426B1-F541-43D0-B30C-00CB61A270EE}"/>
              </a:ext>
            </a:extLst>
          </p:cNvPr>
          <p:cNvSpPr txBox="1">
            <a:spLocks/>
          </p:cNvSpPr>
          <p:nvPr/>
        </p:nvSpPr>
        <p:spPr>
          <a:xfrm>
            <a:off x="7035512" y="1126575"/>
            <a:ext cx="4309369" cy="5144564"/>
          </a:xfrm>
          <a:prstGeom prst="rect">
            <a:avLst/>
          </a:prstGeom>
        </p:spPr>
        <p:txBody>
          <a:bodyPr/>
          <a:lstStyle>
            <a:lvl1pPr marL="228600" marR="0" indent="-22860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28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defRPr>
            </a:lvl1pPr>
            <a:lvl2pPr marL="457200" marR="0" indent="-22860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20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657225" marR="0" indent="-20002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16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842963" marR="0" indent="-18097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14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1023938" marR="0" indent="-16827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14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914049" eaLnBrk="0" fontAlgn="base" hangingPunct="0">
              <a:spcBef>
                <a:spcPct val="0"/>
              </a:spcBef>
              <a:spcAft>
                <a:spcPct val="0"/>
              </a:spcAft>
              <a:buSzTx/>
              <a:buNone/>
            </a:pPr>
            <a:r>
              <a:rPr lang="en-US" altLang="en-US" sz="1961" dirty="0">
                <a:solidFill>
                  <a:schemeClr val="tx2"/>
                </a:solidFill>
                <a:latin typeface="Segoe UI"/>
              </a:rPr>
              <a:t>Deploy and configure </a:t>
            </a:r>
            <a:r>
              <a:rPr lang="en-US" altLang="en-US" sz="1961" dirty="0">
                <a:gradFill>
                  <a:gsLst>
                    <a:gs pos="2917">
                      <a:srgbClr val="1A1A1A"/>
                    </a:gs>
                    <a:gs pos="30000">
                      <a:srgbClr val="1A1A1A"/>
                    </a:gs>
                  </a:gsLst>
                  <a:lin ang="5400000" scaled="0"/>
                </a:gradFill>
                <a:latin typeface="Segoe UI"/>
              </a:rPr>
              <a:t>the Azure Migrate appliance in the source environment</a:t>
            </a:r>
          </a:p>
          <a:p>
            <a:pPr marL="448107" indent="-448107" defTabSz="896181" fontAlgn="base">
              <a:spcBef>
                <a:spcPct val="0"/>
              </a:spcBef>
              <a:spcAft>
                <a:spcPct val="0"/>
              </a:spcAft>
              <a:buSzTx/>
              <a:buFont typeface="+mj-lt"/>
              <a:buAutoNum type="arabicPeriod"/>
            </a:pPr>
            <a:endParaRPr lang="en-US" altLang="en-US" sz="1961" dirty="0">
              <a:gradFill>
                <a:gsLst>
                  <a:gs pos="2917">
                    <a:srgbClr val="1A1A1A"/>
                  </a:gs>
                  <a:gs pos="30000">
                    <a:srgbClr val="1A1A1A"/>
                  </a:gs>
                </a:gsLst>
                <a:lin ang="5400000" scaled="0"/>
              </a:gradFill>
              <a:latin typeface="Segoe UI"/>
            </a:endParaRPr>
          </a:p>
          <a:p>
            <a:pPr marL="0" indent="0" defTabSz="896181" fontAlgn="base">
              <a:spcBef>
                <a:spcPct val="0"/>
              </a:spcBef>
              <a:spcAft>
                <a:spcPct val="0"/>
              </a:spcAft>
              <a:buSzTx/>
              <a:buNone/>
            </a:pPr>
            <a:r>
              <a:rPr lang="en-US" altLang="en-US" sz="1961" dirty="0">
                <a:solidFill>
                  <a:schemeClr val="tx2"/>
                </a:solidFill>
                <a:latin typeface="Segoe UI"/>
              </a:rPr>
              <a:t>Appliance discovers servers and server configurations, and collects performance data (resource utilizations) </a:t>
            </a:r>
            <a:r>
              <a:rPr lang="en-US" altLang="en-US" sz="1961" dirty="0">
                <a:gradFill>
                  <a:gsLst>
                    <a:gs pos="2917">
                      <a:srgbClr val="1A1A1A"/>
                    </a:gs>
                    <a:gs pos="30000">
                      <a:srgbClr val="1A1A1A"/>
                    </a:gs>
                  </a:gsLst>
                  <a:lin ang="5400000" scaled="0"/>
                </a:gradFill>
                <a:latin typeface="Segoe UI"/>
              </a:rPr>
              <a:t>for Windows and Linux servers</a:t>
            </a:r>
          </a:p>
          <a:p>
            <a:pPr marL="448107" indent="-448107" defTabSz="896181" fontAlgn="base">
              <a:spcBef>
                <a:spcPct val="0"/>
              </a:spcBef>
              <a:spcAft>
                <a:spcPct val="0"/>
              </a:spcAft>
              <a:buSzTx/>
              <a:buFont typeface="+mj-lt"/>
              <a:buAutoNum type="arabicPeriod"/>
            </a:pPr>
            <a:endParaRPr lang="en-US" altLang="en-US" sz="1961" dirty="0">
              <a:gradFill>
                <a:gsLst>
                  <a:gs pos="2917">
                    <a:srgbClr val="1A1A1A"/>
                  </a:gs>
                  <a:gs pos="30000">
                    <a:srgbClr val="1A1A1A"/>
                  </a:gs>
                </a:gsLst>
                <a:lin ang="5400000" scaled="0"/>
              </a:gradFill>
              <a:latin typeface="Segoe UI"/>
            </a:endParaRPr>
          </a:p>
          <a:p>
            <a:pPr marL="0" indent="0" defTabSz="896181" fontAlgn="base">
              <a:spcBef>
                <a:spcPct val="0"/>
              </a:spcBef>
              <a:spcAft>
                <a:spcPct val="0"/>
              </a:spcAft>
              <a:buSzTx/>
              <a:buNone/>
            </a:pPr>
            <a:r>
              <a:rPr lang="en-US" altLang="en-US" sz="1961" dirty="0">
                <a:solidFill>
                  <a:schemeClr val="tx2"/>
                </a:solidFill>
                <a:latin typeface="Segoe UI"/>
              </a:rPr>
              <a:t>Enable dependency analysis </a:t>
            </a:r>
            <a:r>
              <a:rPr lang="en-US" altLang="en-US" sz="1961" dirty="0">
                <a:gradFill>
                  <a:gsLst>
                    <a:gs pos="2917">
                      <a:srgbClr val="1A1A1A"/>
                    </a:gs>
                    <a:gs pos="30000">
                      <a:srgbClr val="1A1A1A"/>
                    </a:gs>
                  </a:gsLst>
                  <a:lin ang="5400000" scaled="0"/>
                </a:gradFill>
                <a:latin typeface="Segoe UI"/>
              </a:rPr>
              <a:t>for each server on Azure Portal </a:t>
            </a:r>
          </a:p>
          <a:p>
            <a:pPr marL="448107" indent="-448107" defTabSz="896181" fontAlgn="base">
              <a:spcBef>
                <a:spcPct val="0"/>
              </a:spcBef>
              <a:spcAft>
                <a:spcPct val="0"/>
              </a:spcAft>
              <a:buSzTx/>
              <a:buFont typeface="+mj-lt"/>
              <a:buAutoNum type="arabicPeriod"/>
            </a:pPr>
            <a:endParaRPr lang="en-US" altLang="en-US" sz="1961" dirty="0">
              <a:solidFill>
                <a:schemeClr val="tx2"/>
              </a:solidFill>
              <a:latin typeface="Segoe UI"/>
            </a:endParaRPr>
          </a:p>
          <a:p>
            <a:pPr marL="0" indent="0" defTabSz="896181" fontAlgn="base">
              <a:spcBef>
                <a:spcPct val="0"/>
              </a:spcBef>
              <a:spcAft>
                <a:spcPct val="0"/>
              </a:spcAft>
              <a:buSzTx/>
              <a:buNone/>
            </a:pPr>
            <a:r>
              <a:rPr lang="en-US" altLang="en-US" sz="1961" dirty="0">
                <a:solidFill>
                  <a:schemeClr val="tx2"/>
                </a:solidFill>
                <a:latin typeface="Segoe UI"/>
              </a:rPr>
              <a:t>View </a:t>
            </a:r>
            <a:r>
              <a:rPr lang="en-US" altLang="en-US" sz="1961" dirty="0">
                <a:gradFill>
                  <a:gsLst>
                    <a:gs pos="2917">
                      <a:srgbClr val="1A1A1A"/>
                    </a:gs>
                    <a:gs pos="30000">
                      <a:srgbClr val="1A1A1A"/>
                    </a:gs>
                  </a:gsLst>
                  <a:lin ang="5400000" scaled="0"/>
                </a:gradFill>
                <a:latin typeface="Segoe UI"/>
              </a:rPr>
              <a:t>application inventory, roles on servers, and dependencies across servers</a:t>
            </a: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6E9B4347-37B4-42CB-9150-2F561058EBCA}"/>
              </a:ext>
            </a:extLst>
          </p:cNvPr>
          <p:cNvSpPr txBox="1">
            <a:spLocks/>
          </p:cNvSpPr>
          <p:nvPr/>
        </p:nvSpPr>
        <p:spPr>
          <a:xfrm>
            <a:off x="589825" y="3991102"/>
            <a:ext cx="11015394" cy="553841"/>
          </a:xfrm>
          <a:prstGeom prst="rect">
            <a:avLst/>
          </a:prstGeom>
        </p:spPr>
        <p:txBody>
          <a:bodyPr vert="horz" wrap="square" lIns="0" tIns="89630" rIns="143407" bIns="89630" rtlCol="0" anchor="t">
            <a:noAutofit/>
          </a:bodyPr>
          <a:lstStyle>
            <a:lvl1pPr algn="l" defTabSz="93256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800" b="0" kern="1200" cap="none" spc="-50" baseline="0" dirty="0" smtClean="0">
                <a:ln w="3175">
                  <a:noFill/>
                </a:ln>
                <a:solidFill>
                  <a:srgbClr val="000000"/>
                </a:soli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defTabSz="932384"/>
            <a:endParaRPr lang="en-US" sz="2745" i="1" dirty="0">
              <a:solidFill>
                <a:prstClr val="black"/>
              </a:solidFill>
              <a:latin typeface="Segoe UI"/>
            </a:endParaRPr>
          </a:p>
        </p:txBody>
      </p: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529EAAEE-CD07-41B7-A147-1BDB464F829E}"/>
              </a:ext>
            </a:extLst>
          </p:cNvPr>
          <p:cNvCxnSpPr>
            <a:cxnSpLocks/>
          </p:cNvCxnSpPr>
          <p:nvPr/>
        </p:nvCxnSpPr>
        <p:spPr>
          <a:xfrm>
            <a:off x="7035513" y="2282760"/>
            <a:ext cx="4592072" cy="0"/>
          </a:xfrm>
          <a:prstGeom prst="line">
            <a:avLst/>
          </a:prstGeom>
          <a:noFill/>
          <a:ln w="12700" cap="flat" cmpd="sng" algn="ctr">
            <a:solidFill>
              <a:schemeClr val="bg1">
                <a:lumMod val="75000"/>
              </a:schemeClr>
            </a:solidFill>
            <a:prstDash val="solid"/>
            <a:headEnd type="none"/>
            <a:tailEnd type="none"/>
          </a:ln>
          <a:effectLst/>
        </p:spPr>
      </p:cxnSp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id="{3EA52B32-733B-E643-A63C-3CABCBA364F2}"/>
              </a:ext>
            </a:extLst>
          </p:cNvPr>
          <p:cNvCxnSpPr>
            <a:cxnSpLocks/>
          </p:cNvCxnSpPr>
          <p:nvPr/>
        </p:nvCxnSpPr>
        <p:spPr>
          <a:xfrm>
            <a:off x="7035513" y="4028591"/>
            <a:ext cx="4592072" cy="0"/>
          </a:xfrm>
          <a:prstGeom prst="line">
            <a:avLst/>
          </a:prstGeom>
          <a:noFill/>
          <a:ln w="12700" cap="flat" cmpd="sng" algn="ctr">
            <a:solidFill>
              <a:schemeClr val="bg1">
                <a:lumMod val="75000"/>
              </a:schemeClr>
            </a:solidFill>
            <a:prstDash val="solid"/>
            <a:headEnd type="none"/>
            <a:tailEnd type="none"/>
          </a:ln>
          <a:effectLst/>
        </p:spPr>
      </p:cxn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4857CD28-3FF1-3D44-95AD-84CD1A8D5F87}"/>
              </a:ext>
            </a:extLst>
          </p:cNvPr>
          <p:cNvCxnSpPr>
            <a:cxnSpLocks/>
          </p:cNvCxnSpPr>
          <p:nvPr/>
        </p:nvCxnSpPr>
        <p:spPr>
          <a:xfrm>
            <a:off x="7035513" y="4913667"/>
            <a:ext cx="4592072" cy="0"/>
          </a:xfrm>
          <a:prstGeom prst="line">
            <a:avLst/>
          </a:prstGeom>
          <a:noFill/>
          <a:ln w="12700" cap="flat" cmpd="sng" algn="ctr">
            <a:solidFill>
              <a:schemeClr val="bg1">
                <a:lumMod val="75000"/>
              </a:schemeClr>
            </a:solidFill>
            <a:prstDash val="solid"/>
            <a:headEnd type="none"/>
            <a:tailEnd type="none"/>
          </a:ln>
          <a:effectLst/>
        </p:spPr>
      </p:cxnSp>
      <p:grpSp>
        <p:nvGrpSpPr>
          <p:cNvPr id="2" name="Graphic 37">
            <a:extLst>
              <a:ext uri="{FF2B5EF4-FFF2-40B4-BE49-F238E27FC236}">
                <a16:creationId xmlns:a16="http://schemas.microsoft.com/office/drawing/2014/main" id="{0F39F789-093E-9E46-8534-A5C4C8A1F698}"/>
              </a:ext>
            </a:extLst>
          </p:cNvPr>
          <p:cNvGrpSpPr/>
          <p:nvPr/>
        </p:nvGrpSpPr>
        <p:grpSpPr>
          <a:xfrm>
            <a:off x="3847800" y="2741113"/>
            <a:ext cx="922124" cy="846360"/>
            <a:chOff x="1726867" y="2839112"/>
            <a:chExt cx="940615" cy="863331"/>
          </a:xfrm>
        </p:grpSpPr>
        <p:sp>
          <p:nvSpPr>
            <p:cNvPr id="4" name="Freeform 3">
              <a:extLst>
                <a:ext uri="{FF2B5EF4-FFF2-40B4-BE49-F238E27FC236}">
                  <a16:creationId xmlns:a16="http://schemas.microsoft.com/office/drawing/2014/main" id="{F0BC73F8-FDFB-3345-8412-BCBEE0AA494D}"/>
                </a:ext>
              </a:extLst>
            </p:cNvPr>
            <p:cNvSpPr/>
            <p:nvPr/>
          </p:nvSpPr>
          <p:spPr>
            <a:xfrm>
              <a:off x="2093988" y="3233414"/>
              <a:ext cx="376866" cy="56417"/>
            </a:xfrm>
            <a:custGeom>
              <a:avLst/>
              <a:gdLst>
                <a:gd name="connsiteX0" fmla="*/ 376867 w 376866"/>
                <a:gd name="connsiteY0" fmla="*/ 0 h 56417"/>
                <a:gd name="connsiteX1" fmla="*/ 376867 w 376866"/>
                <a:gd name="connsiteY1" fmla="*/ 56418 h 56417"/>
                <a:gd name="connsiteX2" fmla="*/ 0 w 376866"/>
                <a:gd name="connsiteY2" fmla="*/ 56418 h 56417"/>
                <a:gd name="connsiteX3" fmla="*/ 0 w 376866"/>
                <a:gd name="connsiteY3" fmla="*/ 0 h 56417"/>
                <a:gd name="connsiteX4" fmla="*/ 376867 w 376866"/>
                <a:gd name="connsiteY4" fmla="*/ 0 h 564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76866" h="56417">
                  <a:moveTo>
                    <a:pt x="376867" y="0"/>
                  </a:moveTo>
                  <a:lnTo>
                    <a:pt x="376867" y="56418"/>
                  </a:lnTo>
                  <a:lnTo>
                    <a:pt x="0" y="56418"/>
                  </a:lnTo>
                  <a:lnTo>
                    <a:pt x="0" y="0"/>
                  </a:lnTo>
                  <a:lnTo>
                    <a:pt x="376867" y="0"/>
                  </a:lnTo>
                  <a:close/>
                </a:path>
              </a:pathLst>
            </a:custGeom>
            <a:solidFill>
              <a:srgbClr val="A0A1A2"/>
            </a:solidFill>
            <a:ln w="1866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6" name="Freeform 5">
              <a:extLst>
                <a:ext uri="{FF2B5EF4-FFF2-40B4-BE49-F238E27FC236}">
                  <a16:creationId xmlns:a16="http://schemas.microsoft.com/office/drawing/2014/main" id="{BEAE53AE-F7A3-CD47-A873-971D3D9DE492}"/>
                </a:ext>
              </a:extLst>
            </p:cNvPr>
            <p:cNvSpPr/>
            <p:nvPr/>
          </p:nvSpPr>
          <p:spPr>
            <a:xfrm>
              <a:off x="2066165" y="2950326"/>
              <a:ext cx="320448" cy="301599"/>
            </a:xfrm>
            <a:custGeom>
              <a:avLst/>
              <a:gdLst>
                <a:gd name="connsiteX0" fmla="*/ 282749 w 320448"/>
                <a:gd name="connsiteY0" fmla="*/ 0 h 301599"/>
                <a:gd name="connsiteX1" fmla="*/ 320449 w 320448"/>
                <a:gd name="connsiteY1" fmla="*/ 0 h 301599"/>
                <a:gd name="connsiteX2" fmla="*/ 320449 w 320448"/>
                <a:gd name="connsiteY2" fmla="*/ 37700 h 301599"/>
                <a:gd name="connsiteX3" fmla="*/ 37700 w 320448"/>
                <a:gd name="connsiteY3" fmla="*/ 301599 h 301599"/>
                <a:gd name="connsiteX4" fmla="*/ 0 w 320448"/>
                <a:gd name="connsiteY4" fmla="*/ 301599 h 301599"/>
                <a:gd name="connsiteX5" fmla="*/ 0 w 320448"/>
                <a:gd name="connsiteY5" fmla="*/ 263899 h 301599"/>
                <a:gd name="connsiteX6" fmla="*/ 282749 w 320448"/>
                <a:gd name="connsiteY6" fmla="*/ 0 h 3015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20448" h="301599">
                  <a:moveTo>
                    <a:pt x="282749" y="0"/>
                  </a:moveTo>
                  <a:lnTo>
                    <a:pt x="320449" y="0"/>
                  </a:lnTo>
                  <a:lnTo>
                    <a:pt x="320449" y="37700"/>
                  </a:lnTo>
                  <a:lnTo>
                    <a:pt x="37700" y="301599"/>
                  </a:lnTo>
                  <a:lnTo>
                    <a:pt x="0" y="301599"/>
                  </a:lnTo>
                  <a:lnTo>
                    <a:pt x="0" y="263899"/>
                  </a:lnTo>
                  <a:lnTo>
                    <a:pt x="282749" y="0"/>
                  </a:lnTo>
                  <a:close/>
                </a:path>
              </a:pathLst>
            </a:custGeom>
            <a:solidFill>
              <a:srgbClr val="A0A1A2"/>
            </a:solidFill>
            <a:ln w="1866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7" name="Freeform 6">
              <a:extLst>
                <a:ext uri="{FF2B5EF4-FFF2-40B4-BE49-F238E27FC236}">
                  <a16:creationId xmlns:a16="http://schemas.microsoft.com/office/drawing/2014/main" id="{D4AE967D-6C48-4944-937C-44498E0131C0}"/>
                </a:ext>
              </a:extLst>
            </p:cNvPr>
            <p:cNvSpPr/>
            <p:nvPr/>
          </p:nvSpPr>
          <p:spPr>
            <a:xfrm>
              <a:off x="2066165" y="3270775"/>
              <a:ext cx="320448" cy="320448"/>
            </a:xfrm>
            <a:custGeom>
              <a:avLst/>
              <a:gdLst>
                <a:gd name="connsiteX0" fmla="*/ 282749 w 320448"/>
                <a:gd name="connsiteY0" fmla="*/ 320449 h 320448"/>
                <a:gd name="connsiteX1" fmla="*/ 320449 w 320448"/>
                <a:gd name="connsiteY1" fmla="*/ 320449 h 320448"/>
                <a:gd name="connsiteX2" fmla="*/ 320449 w 320448"/>
                <a:gd name="connsiteY2" fmla="*/ 282749 h 320448"/>
                <a:gd name="connsiteX3" fmla="*/ 37700 w 320448"/>
                <a:gd name="connsiteY3" fmla="*/ 0 h 320448"/>
                <a:gd name="connsiteX4" fmla="*/ 0 w 320448"/>
                <a:gd name="connsiteY4" fmla="*/ 0 h 320448"/>
                <a:gd name="connsiteX5" fmla="*/ 0 w 320448"/>
                <a:gd name="connsiteY5" fmla="*/ 37700 h 320448"/>
                <a:gd name="connsiteX6" fmla="*/ 282749 w 320448"/>
                <a:gd name="connsiteY6" fmla="*/ 320449 h 3204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20448" h="320448">
                  <a:moveTo>
                    <a:pt x="282749" y="320449"/>
                  </a:moveTo>
                  <a:lnTo>
                    <a:pt x="320449" y="320449"/>
                  </a:lnTo>
                  <a:lnTo>
                    <a:pt x="320449" y="282749"/>
                  </a:lnTo>
                  <a:lnTo>
                    <a:pt x="37700" y="0"/>
                  </a:lnTo>
                  <a:lnTo>
                    <a:pt x="0" y="0"/>
                  </a:lnTo>
                  <a:lnTo>
                    <a:pt x="0" y="37700"/>
                  </a:lnTo>
                  <a:lnTo>
                    <a:pt x="282749" y="320449"/>
                  </a:lnTo>
                  <a:close/>
                </a:path>
              </a:pathLst>
            </a:custGeom>
            <a:solidFill>
              <a:srgbClr val="A0A1A2"/>
            </a:solidFill>
            <a:ln w="1866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8" name="Freeform 7">
              <a:extLst>
                <a:ext uri="{FF2B5EF4-FFF2-40B4-BE49-F238E27FC236}">
                  <a16:creationId xmlns:a16="http://schemas.microsoft.com/office/drawing/2014/main" id="{6EA17B13-2EC4-6C45-B968-AF26F6BAD1A2}"/>
                </a:ext>
              </a:extLst>
            </p:cNvPr>
            <p:cNvSpPr/>
            <p:nvPr/>
          </p:nvSpPr>
          <p:spPr>
            <a:xfrm>
              <a:off x="1726867" y="3082558"/>
              <a:ext cx="113099" cy="358148"/>
            </a:xfrm>
            <a:custGeom>
              <a:avLst/>
              <a:gdLst>
                <a:gd name="connsiteX0" fmla="*/ 36795 w 113099"/>
                <a:gd name="connsiteY0" fmla="*/ 0 h 358148"/>
                <a:gd name="connsiteX1" fmla="*/ 113100 w 113099"/>
                <a:gd name="connsiteY1" fmla="*/ 0 h 358148"/>
                <a:gd name="connsiteX2" fmla="*/ 113100 w 113099"/>
                <a:gd name="connsiteY2" fmla="*/ 358149 h 358148"/>
                <a:gd name="connsiteX3" fmla="*/ 38190 w 113099"/>
                <a:gd name="connsiteY3" fmla="*/ 358149 h 358148"/>
                <a:gd name="connsiteX4" fmla="*/ 0 w 113099"/>
                <a:gd name="connsiteY4" fmla="*/ 319959 h 358148"/>
                <a:gd name="connsiteX5" fmla="*/ 0 w 113099"/>
                <a:gd name="connsiteY5" fmla="*/ 36795 h 358148"/>
                <a:gd name="connsiteX6" fmla="*/ 36795 w 113099"/>
                <a:gd name="connsiteY6" fmla="*/ 0 h 3581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13099" h="358148">
                  <a:moveTo>
                    <a:pt x="36795" y="0"/>
                  </a:moveTo>
                  <a:lnTo>
                    <a:pt x="113100" y="0"/>
                  </a:lnTo>
                  <a:lnTo>
                    <a:pt x="113100" y="358149"/>
                  </a:lnTo>
                  <a:lnTo>
                    <a:pt x="38190" y="358149"/>
                  </a:lnTo>
                  <a:cubicBezTo>
                    <a:pt x="17097" y="358149"/>
                    <a:pt x="0" y="341052"/>
                    <a:pt x="0" y="319959"/>
                  </a:cubicBezTo>
                  <a:lnTo>
                    <a:pt x="0" y="36795"/>
                  </a:lnTo>
                  <a:cubicBezTo>
                    <a:pt x="0" y="16475"/>
                    <a:pt x="16475" y="0"/>
                    <a:pt x="36795" y="0"/>
                  </a:cubicBezTo>
                  <a:close/>
                </a:path>
              </a:pathLst>
            </a:custGeom>
            <a:solidFill>
              <a:srgbClr val="3999C6"/>
            </a:solidFill>
            <a:ln w="1866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9" name="Freeform 8">
              <a:extLst>
                <a:ext uri="{FF2B5EF4-FFF2-40B4-BE49-F238E27FC236}">
                  <a16:creationId xmlns:a16="http://schemas.microsoft.com/office/drawing/2014/main" id="{E2D90295-2588-5A4D-A208-1527A0D2D6FD}"/>
                </a:ext>
              </a:extLst>
            </p:cNvPr>
            <p:cNvSpPr/>
            <p:nvPr/>
          </p:nvSpPr>
          <p:spPr>
            <a:xfrm>
              <a:off x="1726867" y="3082558"/>
              <a:ext cx="113099" cy="358148"/>
            </a:xfrm>
            <a:custGeom>
              <a:avLst/>
              <a:gdLst>
                <a:gd name="connsiteX0" fmla="*/ 36795 w 113099"/>
                <a:gd name="connsiteY0" fmla="*/ 0 h 358148"/>
                <a:gd name="connsiteX1" fmla="*/ 113100 w 113099"/>
                <a:gd name="connsiteY1" fmla="*/ 0 h 358148"/>
                <a:gd name="connsiteX2" fmla="*/ 113100 w 113099"/>
                <a:gd name="connsiteY2" fmla="*/ 358149 h 358148"/>
                <a:gd name="connsiteX3" fmla="*/ 38190 w 113099"/>
                <a:gd name="connsiteY3" fmla="*/ 358149 h 358148"/>
                <a:gd name="connsiteX4" fmla="*/ 0 w 113099"/>
                <a:gd name="connsiteY4" fmla="*/ 319959 h 358148"/>
                <a:gd name="connsiteX5" fmla="*/ 0 w 113099"/>
                <a:gd name="connsiteY5" fmla="*/ 36795 h 358148"/>
                <a:gd name="connsiteX6" fmla="*/ 36795 w 113099"/>
                <a:gd name="connsiteY6" fmla="*/ 0 h 3581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13099" h="358148">
                  <a:moveTo>
                    <a:pt x="36795" y="0"/>
                  </a:moveTo>
                  <a:lnTo>
                    <a:pt x="113100" y="0"/>
                  </a:lnTo>
                  <a:lnTo>
                    <a:pt x="113100" y="358149"/>
                  </a:lnTo>
                  <a:lnTo>
                    <a:pt x="38190" y="358149"/>
                  </a:lnTo>
                  <a:cubicBezTo>
                    <a:pt x="17097" y="358149"/>
                    <a:pt x="0" y="341052"/>
                    <a:pt x="0" y="319959"/>
                  </a:cubicBezTo>
                  <a:lnTo>
                    <a:pt x="0" y="36795"/>
                  </a:lnTo>
                  <a:cubicBezTo>
                    <a:pt x="0" y="16475"/>
                    <a:pt x="16475" y="0"/>
                    <a:pt x="36795" y="0"/>
                  </a:cubicBezTo>
                  <a:close/>
                </a:path>
              </a:pathLst>
            </a:custGeom>
            <a:solidFill>
              <a:srgbClr val="A0A1A2"/>
            </a:solidFill>
            <a:ln w="1866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10" name="Freeform 9">
              <a:extLst>
                <a:ext uri="{FF2B5EF4-FFF2-40B4-BE49-F238E27FC236}">
                  <a16:creationId xmlns:a16="http://schemas.microsoft.com/office/drawing/2014/main" id="{F3DBC8D8-396A-3241-932E-1D20D9291135}"/>
                </a:ext>
              </a:extLst>
            </p:cNvPr>
            <p:cNvSpPr/>
            <p:nvPr/>
          </p:nvSpPr>
          <p:spPr>
            <a:xfrm>
              <a:off x="1858816" y="3026009"/>
              <a:ext cx="245049" cy="471248"/>
            </a:xfrm>
            <a:custGeom>
              <a:avLst/>
              <a:gdLst>
                <a:gd name="connsiteX0" fmla="*/ 0 w 245049"/>
                <a:gd name="connsiteY0" fmla="*/ 433549 h 471248"/>
                <a:gd name="connsiteX1" fmla="*/ 0 w 245049"/>
                <a:gd name="connsiteY1" fmla="*/ 37700 h 471248"/>
                <a:gd name="connsiteX2" fmla="*/ 37700 w 245049"/>
                <a:gd name="connsiteY2" fmla="*/ 0 h 471248"/>
                <a:gd name="connsiteX3" fmla="*/ 207349 w 245049"/>
                <a:gd name="connsiteY3" fmla="*/ 0 h 471248"/>
                <a:gd name="connsiteX4" fmla="*/ 245049 w 245049"/>
                <a:gd name="connsiteY4" fmla="*/ 37700 h 471248"/>
                <a:gd name="connsiteX5" fmla="*/ 245049 w 245049"/>
                <a:gd name="connsiteY5" fmla="*/ 433549 h 471248"/>
                <a:gd name="connsiteX6" fmla="*/ 207349 w 245049"/>
                <a:gd name="connsiteY6" fmla="*/ 471248 h 471248"/>
                <a:gd name="connsiteX7" fmla="*/ 37700 w 245049"/>
                <a:gd name="connsiteY7" fmla="*/ 471248 h 471248"/>
                <a:gd name="connsiteX8" fmla="*/ 0 w 245049"/>
                <a:gd name="connsiteY8" fmla="*/ 433549 h 4712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45049" h="471248">
                  <a:moveTo>
                    <a:pt x="0" y="433549"/>
                  </a:moveTo>
                  <a:lnTo>
                    <a:pt x="0" y="37700"/>
                  </a:lnTo>
                  <a:cubicBezTo>
                    <a:pt x="0" y="16871"/>
                    <a:pt x="16871" y="0"/>
                    <a:pt x="37700" y="0"/>
                  </a:cubicBezTo>
                  <a:lnTo>
                    <a:pt x="207349" y="0"/>
                  </a:lnTo>
                  <a:cubicBezTo>
                    <a:pt x="228179" y="0"/>
                    <a:pt x="245049" y="16871"/>
                    <a:pt x="245049" y="37700"/>
                  </a:cubicBezTo>
                  <a:lnTo>
                    <a:pt x="245049" y="433549"/>
                  </a:lnTo>
                  <a:cubicBezTo>
                    <a:pt x="245049" y="454378"/>
                    <a:pt x="228179" y="471248"/>
                    <a:pt x="207349" y="471248"/>
                  </a:cubicBezTo>
                  <a:lnTo>
                    <a:pt x="37700" y="471248"/>
                  </a:lnTo>
                  <a:cubicBezTo>
                    <a:pt x="16871" y="471248"/>
                    <a:pt x="0" y="454378"/>
                    <a:pt x="0" y="433549"/>
                  </a:cubicBezTo>
                  <a:close/>
                </a:path>
              </a:pathLst>
            </a:custGeom>
            <a:solidFill>
              <a:srgbClr val="7A7A7A"/>
            </a:solidFill>
            <a:ln w="1866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11" name="Freeform 10">
              <a:extLst>
                <a:ext uri="{FF2B5EF4-FFF2-40B4-BE49-F238E27FC236}">
                  <a16:creationId xmlns:a16="http://schemas.microsoft.com/office/drawing/2014/main" id="{07BADF69-78CA-3B40-A098-6F41454678E6}"/>
                </a:ext>
              </a:extLst>
            </p:cNvPr>
            <p:cNvSpPr/>
            <p:nvPr/>
          </p:nvSpPr>
          <p:spPr>
            <a:xfrm>
              <a:off x="1896516" y="3063426"/>
              <a:ext cx="160224" cy="320448"/>
            </a:xfrm>
            <a:custGeom>
              <a:avLst/>
              <a:gdLst>
                <a:gd name="connsiteX0" fmla="*/ 0 w 160224"/>
                <a:gd name="connsiteY0" fmla="*/ 320449 h 320448"/>
                <a:gd name="connsiteX1" fmla="*/ 0 w 160224"/>
                <a:gd name="connsiteY1" fmla="*/ 21074 h 320448"/>
                <a:gd name="connsiteX2" fmla="*/ 21093 w 160224"/>
                <a:gd name="connsiteY2" fmla="*/ 0 h 320448"/>
                <a:gd name="connsiteX3" fmla="*/ 160224 w 160224"/>
                <a:gd name="connsiteY3" fmla="*/ 0 h 320448"/>
                <a:gd name="connsiteX4" fmla="*/ 0 w 160224"/>
                <a:gd name="connsiteY4" fmla="*/ 320449 h 3204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0224" h="320448">
                  <a:moveTo>
                    <a:pt x="0" y="320449"/>
                  </a:moveTo>
                  <a:lnTo>
                    <a:pt x="0" y="21074"/>
                  </a:lnTo>
                  <a:cubicBezTo>
                    <a:pt x="0" y="9444"/>
                    <a:pt x="9444" y="0"/>
                    <a:pt x="21093" y="0"/>
                  </a:cubicBezTo>
                  <a:lnTo>
                    <a:pt x="160224" y="0"/>
                  </a:lnTo>
                  <a:lnTo>
                    <a:pt x="0" y="320449"/>
                  </a:lnTo>
                  <a:close/>
                </a:path>
              </a:pathLst>
            </a:custGeom>
            <a:solidFill>
              <a:srgbClr val="FFFFFF">
                <a:alpha val="15000"/>
              </a:srgbClr>
            </a:solidFill>
            <a:ln w="1866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12" name="Freeform 11">
              <a:extLst>
                <a:ext uri="{FF2B5EF4-FFF2-40B4-BE49-F238E27FC236}">
                  <a16:creationId xmlns:a16="http://schemas.microsoft.com/office/drawing/2014/main" id="{60E486E7-3FCE-084C-AA69-27EB69ECEBFE}"/>
                </a:ext>
              </a:extLst>
            </p:cNvPr>
            <p:cNvSpPr/>
            <p:nvPr/>
          </p:nvSpPr>
          <p:spPr>
            <a:xfrm>
              <a:off x="2256550" y="2839126"/>
              <a:ext cx="241283" cy="241269"/>
            </a:xfrm>
            <a:custGeom>
              <a:avLst/>
              <a:gdLst>
                <a:gd name="connsiteX0" fmla="*/ 35344 w 241283"/>
                <a:gd name="connsiteY0" fmla="*/ 35330 h 241269"/>
                <a:gd name="connsiteX1" fmla="*/ 205954 w 241283"/>
                <a:gd name="connsiteY1" fmla="*/ 35330 h 241269"/>
                <a:gd name="connsiteX2" fmla="*/ 205954 w 241283"/>
                <a:gd name="connsiteY2" fmla="*/ 205940 h 241269"/>
                <a:gd name="connsiteX3" fmla="*/ 35344 w 241283"/>
                <a:gd name="connsiteY3" fmla="*/ 205940 h 241269"/>
                <a:gd name="connsiteX4" fmla="*/ 35344 w 241283"/>
                <a:gd name="connsiteY4" fmla="*/ 35330 h 2412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1283" h="241269">
                  <a:moveTo>
                    <a:pt x="35344" y="35330"/>
                  </a:moveTo>
                  <a:cubicBezTo>
                    <a:pt x="82450" y="-11777"/>
                    <a:pt x="158848" y="-11777"/>
                    <a:pt x="205954" y="35330"/>
                  </a:cubicBezTo>
                  <a:cubicBezTo>
                    <a:pt x="253060" y="82436"/>
                    <a:pt x="253060" y="158834"/>
                    <a:pt x="205954" y="205940"/>
                  </a:cubicBezTo>
                  <a:cubicBezTo>
                    <a:pt x="158848" y="253046"/>
                    <a:pt x="82450" y="253046"/>
                    <a:pt x="35344" y="205940"/>
                  </a:cubicBezTo>
                  <a:cubicBezTo>
                    <a:pt x="-11781" y="158815"/>
                    <a:pt x="-11781" y="82436"/>
                    <a:pt x="35344" y="35330"/>
                  </a:cubicBezTo>
                  <a:close/>
                </a:path>
              </a:pathLst>
            </a:custGeom>
            <a:solidFill>
              <a:schemeClr val="accent5"/>
            </a:solidFill>
            <a:ln w="1866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13" name="Freeform 12">
              <a:extLst>
                <a:ext uri="{FF2B5EF4-FFF2-40B4-BE49-F238E27FC236}">
                  <a16:creationId xmlns:a16="http://schemas.microsoft.com/office/drawing/2014/main" id="{2E6BC147-291C-A942-A972-65E89F6CB403}"/>
                </a:ext>
              </a:extLst>
            </p:cNvPr>
            <p:cNvSpPr/>
            <p:nvPr/>
          </p:nvSpPr>
          <p:spPr>
            <a:xfrm>
              <a:off x="2256550" y="2839112"/>
              <a:ext cx="173739" cy="229007"/>
            </a:xfrm>
            <a:custGeom>
              <a:avLst/>
              <a:gdLst>
                <a:gd name="connsiteX0" fmla="*/ 12327 w 173739"/>
                <a:gd name="connsiteY0" fmla="*/ 67595 h 229007"/>
                <a:gd name="connsiteX1" fmla="*/ 173740 w 173739"/>
                <a:gd name="connsiteY1" fmla="*/ 12327 h 229007"/>
                <a:gd name="connsiteX2" fmla="*/ 67595 w 173739"/>
                <a:gd name="connsiteY2" fmla="*/ 229007 h 229007"/>
                <a:gd name="connsiteX3" fmla="*/ 12327 w 173739"/>
                <a:gd name="connsiteY3" fmla="*/ 67595 h 2290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3739" h="229007">
                  <a:moveTo>
                    <a:pt x="12327" y="67595"/>
                  </a:moveTo>
                  <a:cubicBezTo>
                    <a:pt x="41639" y="7766"/>
                    <a:pt x="113910" y="-16984"/>
                    <a:pt x="173740" y="12327"/>
                  </a:cubicBezTo>
                  <a:lnTo>
                    <a:pt x="67595" y="229007"/>
                  </a:lnTo>
                  <a:cubicBezTo>
                    <a:pt x="7766" y="199696"/>
                    <a:pt x="-16984" y="127425"/>
                    <a:pt x="12327" y="67595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 w="1866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D14FA3BD-90D9-734F-887F-977079BAC5A7}"/>
                </a:ext>
              </a:extLst>
            </p:cNvPr>
            <p:cNvSpPr/>
            <p:nvPr/>
          </p:nvSpPr>
          <p:spPr>
            <a:xfrm>
              <a:off x="2426199" y="3140725"/>
              <a:ext cx="241283" cy="241269"/>
            </a:xfrm>
            <a:custGeom>
              <a:avLst/>
              <a:gdLst>
                <a:gd name="connsiteX0" fmla="*/ 35344 w 241283"/>
                <a:gd name="connsiteY0" fmla="*/ 35330 h 241269"/>
                <a:gd name="connsiteX1" fmla="*/ 205954 w 241283"/>
                <a:gd name="connsiteY1" fmla="*/ 35330 h 241269"/>
                <a:gd name="connsiteX2" fmla="*/ 205954 w 241283"/>
                <a:gd name="connsiteY2" fmla="*/ 205940 h 241269"/>
                <a:gd name="connsiteX3" fmla="*/ 35344 w 241283"/>
                <a:gd name="connsiteY3" fmla="*/ 205940 h 241269"/>
                <a:gd name="connsiteX4" fmla="*/ 35344 w 241283"/>
                <a:gd name="connsiteY4" fmla="*/ 35330 h 2412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1283" h="241269">
                  <a:moveTo>
                    <a:pt x="35344" y="35330"/>
                  </a:moveTo>
                  <a:cubicBezTo>
                    <a:pt x="82450" y="-11777"/>
                    <a:pt x="158848" y="-11777"/>
                    <a:pt x="205954" y="35330"/>
                  </a:cubicBezTo>
                  <a:cubicBezTo>
                    <a:pt x="253061" y="82436"/>
                    <a:pt x="253061" y="158834"/>
                    <a:pt x="205954" y="205940"/>
                  </a:cubicBezTo>
                  <a:cubicBezTo>
                    <a:pt x="158848" y="253046"/>
                    <a:pt x="82450" y="253046"/>
                    <a:pt x="35344" y="205940"/>
                  </a:cubicBezTo>
                  <a:cubicBezTo>
                    <a:pt x="-11781" y="158815"/>
                    <a:pt x="-11781" y="82436"/>
                    <a:pt x="35344" y="35330"/>
                  </a:cubicBezTo>
                  <a:close/>
                </a:path>
              </a:pathLst>
            </a:custGeom>
            <a:solidFill>
              <a:schemeClr val="accent5"/>
            </a:solidFill>
            <a:ln w="1866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915C36B7-01AE-F64C-9889-EE11ACF7FF23}"/>
                </a:ext>
              </a:extLst>
            </p:cNvPr>
            <p:cNvSpPr/>
            <p:nvPr/>
          </p:nvSpPr>
          <p:spPr>
            <a:xfrm>
              <a:off x="2426200" y="3140711"/>
              <a:ext cx="173739" cy="229007"/>
            </a:xfrm>
            <a:custGeom>
              <a:avLst/>
              <a:gdLst>
                <a:gd name="connsiteX0" fmla="*/ 12327 w 173739"/>
                <a:gd name="connsiteY0" fmla="*/ 67595 h 229007"/>
                <a:gd name="connsiteX1" fmla="*/ 173739 w 173739"/>
                <a:gd name="connsiteY1" fmla="*/ 12327 h 229007"/>
                <a:gd name="connsiteX2" fmla="*/ 67595 w 173739"/>
                <a:gd name="connsiteY2" fmla="*/ 229008 h 229007"/>
                <a:gd name="connsiteX3" fmla="*/ 12327 w 173739"/>
                <a:gd name="connsiteY3" fmla="*/ 67595 h 2290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3739" h="229007">
                  <a:moveTo>
                    <a:pt x="12327" y="67595"/>
                  </a:moveTo>
                  <a:cubicBezTo>
                    <a:pt x="41639" y="7766"/>
                    <a:pt x="113910" y="-16984"/>
                    <a:pt x="173739" y="12327"/>
                  </a:cubicBezTo>
                  <a:lnTo>
                    <a:pt x="67595" y="229008"/>
                  </a:lnTo>
                  <a:cubicBezTo>
                    <a:pt x="7766" y="199696"/>
                    <a:pt x="-16984" y="127425"/>
                    <a:pt x="12327" y="67595"/>
                  </a:cubicBezTo>
                  <a:close/>
                </a:path>
              </a:pathLst>
            </a:custGeom>
            <a:solidFill>
              <a:srgbClr val="FFFFFF">
                <a:alpha val="20000"/>
              </a:srgbClr>
            </a:solidFill>
            <a:ln w="1866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43" name="Freeform 42">
              <a:extLst>
                <a:ext uri="{FF2B5EF4-FFF2-40B4-BE49-F238E27FC236}">
                  <a16:creationId xmlns:a16="http://schemas.microsoft.com/office/drawing/2014/main" id="{F41F0136-78CA-9046-ACB3-F27D09F6124E}"/>
                </a:ext>
              </a:extLst>
            </p:cNvPr>
            <p:cNvSpPr/>
            <p:nvPr/>
          </p:nvSpPr>
          <p:spPr>
            <a:xfrm>
              <a:off x="2256550" y="3461174"/>
              <a:ext cx="241283" cy="241269"/>
            </a:xfrm>
            <a:custGeom>
              <a:avLst/>
              <a:gdLst>
                <a:gd name="connsiteX0" fmla="*/ 35344 w 241283"/>
                <a:gd name="connsiteY0" fmla="*/ 35329 h 241269"/>
                <a:gd name="connsiteX1" fmla="*/ 205954 w 241283"/>
                <a:gd name="connsiteY1" fmla="*/ 35329 h 241269"/>
                <a:gd name="connsiteX2" fmla="*/ 205954 w 241283"/>
                <a:gd name="connsiteY2" fmla="*/ 205940 h 241269"/>
                <a:gd name="connsiteX3" fmla="*/ 35344 w 241283"/>
                <a:gd name="connsiteY3" fmla="*/ 205940 h 241269"/>
                <a:gd name="connsiteX4" fmla="*/ 35344 w 241283"/>
                <a:gd name="connsiteY4" fmla="*/ 35329 h 2412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1283" h="241269">
                  <a:moveTo>
                    <a:pt x="35344" y="35329"/>
                  </a:moveTo>
                  <a:cubicBezTo>
                    <a:pt x="82450" y="-11776"/>
                    <a:pt x="158848" y="-11776"/>
                    <a:pt x="205954" y="35329"/>
                  </a:cubicBezTo>
                  <a:cubicBezTo>
                    <a:pt x="253060" y="82435"/>
                    <a:pt x="253060" y="158834"/>
                    <a:pt x="205954" y="205940"/>
                  </a:cubicBezTo>
                  <a:cubicBezTo>
                    <a:pt x="158848" y="253046"/>
                    <a:pt x="82450" y="253046"/>
                    <a:pt x="35344" y="205940"/>
                  </a:cubicBezTo>
                  <a:cubicBezTo>
                    <a:pt x="-11781" y="158815"/>
                    <a:pt x="-11781" y="82435"/>
                    <a:pt x="35344" y="35329"/>
                  </a:cubicBezTo>
                  <a:close/>
                </a:path>
              </a:pathLst>
            </a:custGeom>
            <a:solidFill>
              <a:schemeClr val="accent5"/>
            </a:solidFill>
            <a:ln w="1866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44" name="Freeform 43">
              <a:extLst>
                <a:ext uri="{FF2B5EF4-FFF2-40B4-BE49-F238E27FC236}">
                  <a16:creationId xmlns:a16="http://schemas.microsoft.com/office/drawing/2014/main" id="{A167391F-FC34-704E-AE1D-6345210F99B0}"/>
                </a:ext>
              </a:extLst>
            </p:cNvPr>
            <p:cNvSpPr/>
            <p:nvPr/>
          </p:nvSpPr>
          <p:spPr>
            <a:xfrm>
              <a:off x="2256550" y="3461160"/>
              <a:ext cx="173739" cy="229007"/>
            </a:xfrm>
            <a:custGeom>
              <a:avLst/>
              <a:gdLst>
                <a:gd name="connsiteX0" fmla="*/ 12327 w 173739"/>
                <a:gd name="connsiteY0" fmla="*/ 67595 h 229007"/>
                <a:gd name="connsiteX1" fmla="*/ 173740 w 173739"/>
                <a:gd name="connsiteY1" fmla="*/ 12327 h 229007"/>
                <a:gd name="connsiteX2" fmla="*/ 67595 w 173739"/>
                <a:gd name="connsiteY2" fmla="*/ 229007 h 229007"/>
                <a:gd name="connsiteX3" fmla="*/ 12327 w 173739"/>
                <a:gd name="connsiteY3" fmla="*/ 67595 h 2290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3739" h="229007">
                  <a:moveTo>
                    <a:pt x="12327" y="67595"/>
                  </a:moveTo>
                  <a:cubicBezTo>
                    <a:pt x="41639" y="7766"/>
                    <a:pt x="113910" y="-16984"/>
                    <a:pt x="173740" y="12327"/>
                  </a:cubicBezTo>
                  <a:lnTo>
                    <a:pt x="67595" y="229007"/>
                  </a:lnTo>
                  <a:cubicBezTo>
                    <a:pt x="7766" y="199696"/>
                    <a:pt x="-16984" y="127425"/>
                    <a:pt x="12327" y="67595"/>
                  </a:cubicBezTo>
                  <a:close/>
                </a:path>
              </a:pathLst>
            </a:custGeom>
            <a:solidFill>
              <a:srgbClr val="FFFFFF">
                <a:alpha val="20000"/>
              </a:srgbClr>
            </a:solidFill>
            <a:ln w="1866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</p:grpSp>
      <p:grpSp>
        <p:nvGrpSpPr>
          <p:cNvPr id="46" name="Group 45">
            <a:extLst>
              <a:ext uri="{FF2B5EF4-FFF2-40B4-BE49-F238E27FC236}">
                <a16:creationId xmlns:a16="http://schemas.microsoft.com/office/drawing/2014/main" id="{4D0E76EE-DCB7-8540-BF4F-D1C1D7E7A9ED}"/>
              </a:ext>
            </a:extLst>
          </p:cNvPr>
          <p:cNvGrpSpPr/>
          <p:nvPr/>
        </p:nvGrpSpPr>
        <p:grpSpPr>
          <a:xfrm>
            <a:off x="1141254" y="2752437"/>
            <a:ext cx="1210731" cy="834814"/>
            <a:chOff x="788200" y="3909788"/>
            <a:chExt cx="1075411" cy="741509"/>
          </a:xfrm>
        </p:grpSpPr>
        <p:pic>
          <p:nvPicPr>
            <p:cNvPr id="57" name="Graphic 56">
              <a:extLst>
                <a:ext uri="{FF2B5EF4-FFF2-40B4-BE49-F238E27FC236}">
                  <a16:creationId xmlns:a16="http://schemas.microsoft.com/office/drawing/2014/main" id="{2B89FE4A-1F89-064F-BA31-0570B117B667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1122102" y="3909788"/>
              <a:ext cx="741509" cy="741509"/>
            </a:xfrm>
            <a:prstGeom prst="rect">
              <a:avLst/>
            </a:prstGeom>
          </p:spPr>
        </p:pic>
        <p:pic>
          <p:nvPicPr>
            <p:cNvPr id="42" name="Picture 8">
              <a:extLst>
                <a:ext uri="{FF2B5EF4-FFF2-40B4-BE49-F238E27FC236}">
                  <a16:creationId xmlns:a16="http://schemas.microsoft.com/office/drawing/2014/main" id="{0CB7C1F6-FD83-0A46-825B-68FB9B0D080B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rcRect/>
            <a:stretch/>
          </p:blipFill>
          <p:spPr bwMode="auto">
            <a:xfrm>
              <a:off x="788200" y="4164235"/>
              <a:ext cx="532872" cy="48374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58" name="Picture 4" descr="Image result for vmware icon transparent">
            <a:extLst>
              <a:ext uri="{FF2B5EF4-FFF2-40B4-BE49-F238E27FC236}">
                <a16:creationId xmlns:a16="http://schemas.microsoft.com/office/drawing/2014/main" id="{DC89C028-972E-A549-B6D3-46EB1813A8A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416144" y="5651107"/>
            <a:ext cx="1530301" cy="2494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1" name="Text Placeholder 40">
            <a:extLst>
              <a:ext uri="{FF2B5EF4-FFF2-40B4-BE49-F238E27FC236}">
                <a16:creationId xmlns:a16="http://schemas.microsoft.com/office/drawing/2014/main" id="{6E043EB1-2701-504E-906A-0185AE2E30D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5995" y="881209"/>
            <a:ext cx="11653518" cy="482763"/>
          </a:xfrm>
        </p:spPr>
        <p:txBody>
          <a:bodyPr/>
          <a:lstStyle/>
          <a:p>
            <a:r>
              <a:rPr lang="en-US" dirty="0"/>
              <a:t>Agentless for VMware VMs</a:t>
            </a:r>
          </a:p>
        </p:txBody>
      </p:sp>
      <p:sp>
        <p:nvSpPr>
          <p:cNvPr id="40" name="Title 39">
            <a:extLst>
              <a:ext uri="{FF2B5EF4-FFF2-40B4-BE49-F238E27FC236}">
                <a16:creationId xmlns:a16="http://schemas.microsoft.com/office/drawing/2014/main" id="{20D8C399-52EF-D94A-A762-11E374A64F1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5995" y="433143"/>
            <a:ext cx="11303917" cy="813704"/>
          </a:xfrm>
        </p:spPr>
        <p:txBody>
          <a:bodyPr/>
          <a:lstStyle/>
          <a:p>
            <a:r>
              <a:rPr lang="en-US" dirty="0"/>
              <a:t>Dependency analysis: Process</a:t>
            </a:r>
          </a:p>
        </p:txBody>
      </p:sp>
      <p:sp>
        <p:nvSpPr>
          <p:cNvPr id="5" name="bk object 17">
            <a:extLst>
              <a:ext uri="{FF2B5EF4-FFF2-40B4-BE49-F238E27FC236}">
                <a16:creationId xmlns:a16="http://schemas.microsoft.com/office/drawing/2014/main" id="{1FF3D793-8DA6-4173-AB77-28B55CC93BD4}"/>
              </a:ext>
            </a:extLst>
          </p:cNvPr>
          <p:cNvSpPr/>
          <p:nvPr/>
        </p:nvSpPr>
        <p:spPr>
          <a:xfrm>
            <a:off x="0" y="6497955"/>
            <a:ext cx="12192000" cy="360045"/>
          </a:xfrm>
          <a:custGeom>
            <a:avLst/>
            <a:gdLst/>
            <a:ahLst/>
            <a:cxnLst/>
            <a:rect l="l" t="t" r="r" b="b"/>
            <a:pathLst>
              <a:path w="12434570" h="360045">
                <a:moveTo>
                  <a:pt x="0" y="359994"/>
                </a:moveTo>
                <a:lnTo>
                  <a:pt x="12434404" y="359994"/>
                </a:lnTo>
                <a:lnTo>
                  <a:pt x="12434404" y="0"/>
                </a:lnTo>
                <a:lnTo>
                  <a:pt x="0" y="0"/>
                </a:lnTo>
                <a:lnTo>
                  <a:pt x="0" y="359994"/>
                </a:lnTo>
                <a:close/>
              </a:path>
            </a:pathLst>
          </a:custGeom>
          <a:solidFill>
            <a:srgbClr val="007FBA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93B8184C-3FCC-46E3-A1BD-C4C0FDB47D72}"/>
              </a:ext>
            </a:extLst>
          </p:cNvPr>
          <p:cNvSpPr txBox="1"/>
          <p:nvPr/>
        </p:nvSpPr>
        <p:spPr>
          <a:xfrm>
            <a:off x="7278010" y="6591175"/>
            <a:ext cx="425867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100" b="0" i="0" kern="0" spc="-20" baseline="0" dirty="0">
                <a:solidFill>
                  <a:schemeClr val="bg1"/>
                </a:solidFill>
                <a:latin typeface="Segoe UI Semibold" charset="0"/>
              </a:rPr>
              <a:t>Microsoft Azure    </a:t>
            </a:r>
            <a:r>
              <a:rPr lang="en-US" sz="1100" b="0" i="0" kern="0" spc="-20" baseline="0" dirty="0">
                <a:solidFill>
                  <a:schemeClr val="bg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|  @</a:t>
            </a:r>
            <a:r>
              <a:rPr lang="en-US" sz="1100" b="0" i="0" kern="0" spc="-20" baseline="0" dirty="0" err="1">
                <a:solidFill>
                  <a:schemeClr val="bg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Techielass</a:t>
            </a:r>
            <a:endParaRPr lang="en-US" sz="1100" b="0" i="0" kern="0" spc="-20" baseline="0" dirty="0">
              <a:solidFill>
                <a:schemeClr val="bg1"/>
              </a:solidFill>
              <a:latin typeface="Segoe UI Semilight" panose="020B0402040204020203" pitchFamily="34" charset="0"/>
              <a:ea typeface="Segoe UI Semilight" charset="0"/>
              <a:cs typeface="Segoe UI Semilight" panose="020B04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0159870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5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5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9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1" dur="500" fill="hold"/>
                                        <p:tgtEl>
                                          <p:spTgt spid="51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2" dur="500" fill="hold"/>
                                        <p:tgtEl>
                                          <p:spTgt spid="51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51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51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9" presetID="2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0" dur="500" tmFilter="0, 0; .2, .5; .8, .5; 1, 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31" dur="250" autoRev="1" fill="hold"/>
                                        <p:tgtEl>
                                          <p:spTgt spid="14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2" fill="hold">
                      <p:stCondLst>
                        <p:cond delay="indefinite"/>
                      </p:stCondLst>
                      <p:childTnLst>
                        <p:par>
                          <p:cTn id="33" fill="hold">
                            <p:stCondLst>
                              <p:cond delay="0"/>
                            </p:stCondLst>
                            <p:childTnLst>
                              <p:par>
                                <p:cTn id="34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6" dur="500" fill="hold"/>
                                        <p:tgtEl>
                                          <p:spTgt spid="51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7" dur="500" fill="hold"/>
                                        <p:tgtEl>
                                          <p:spTgt spid="51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8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0" dur="5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1" dur="5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2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4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5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Rectangle 38">
            <a:extLst>
              <a:ext uri="{FF2B5EF4-FFF2-40B4-BE49-F238E27FC236}">
                <a16:creationId xmlns:a16="http://schemas.microsoft.com/office/drawing/2014/main" id="{1AA77D91-89FA-4BBE-9914-51B92D2CA618}"/>
              </a:ext>
            </a:extLst>
          </p:cNvPr>
          <p:cNvSpPr/>
          <p:nvPr/>
        </p:nvSpPr>
        <p:spPr bwMode="auto">
          <a:xfrm>
            <a:off x="6324224" y="487"/>
            <a:ext cx="5867777" cy="6857027"/>
          </a:xfrm>
          <a:prstGeom prst="rect">
            <a:avLst/>
          </a:prstGeom>
          <a:solidFill>
            <a:srgbClr val="FFFFFF">
              <a:lumMod val="95000"/>
            </a:srgb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2353" ker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/>
              <a:ea typeface="Segoe UI" pitchFamily="34" charset="0"/>
              <a:cs typeface="Segoe UI" pitchFamily="34" charset="0"/>
            </a:endParaRP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431264D5-5BED-4428-AFE5-682B453B1775}"/>
              </a:ext>
            </a:extLst>
          </p:cNvPr>
          <p:cNvGrpSpPr/>
          <p:nvPr/>
        </p:nvGrpSpPr>
        <p:grpSpPr>
          <a:xfrm>
            <a:off x="2147332" y="1619706"/>
            <a:ext cx="2071100" cy="2069512"/>
            <a:chOff x="1622425" y="1333500"/>
            <a:chExt cx="2071688" cy="2070100"/>
          </a:xfrm>
          <a:effectLst>
            <a:outerShdw blurRad="381000" sx="81000" sy="81000" algn="ctr" rotWithShape="0">
              <a:prstClr val="black">
                <a:alpha val="16000"/>
              </a:prstClr>
            </a:outerShdw>
          </a:effectLst>
        </p:grpSpPr>
        <p:grpSp>
          <p:nvGrpSpPr>
            <p:cNvPr id="15" name="Group 14">
              <a:extLst>
                <a:ext uri="{FF2B5EF4-FFF2-40B4-BE49-F238E27FC236}">
                  <a16:creationId xmlns:a16="http://schemas.microsoft.com/office/drawing/2014/main" id="{0BF1F10B-6802-4187-AEBB-00BB0D2A2DA9}"/>
                </a:ext>
              </a:extLst>
            </p:cNvPr>
            <p:cNvGrpSpPr/>
            <p:nvPr/>
          </p:nvGrpSpPr>
          <p:grpSpPr>
            <a:xfrm>
              <a:off x="1622425" y="1333500"/>
              <a:ext cx="2071688" cy="2070100"/>
              <a:chOff x="1622425" y="1333500"/>
              <a:chExt cx="2071688" cy="2070100"/>
            </a:xfrm>
          </p:grpSpPr>
          <p:sp>
            <p:nvSpPr>
              <p:cNvPr id="17" name="AutoShape 6">
                <a:extLst>
                  <a:ext uri="{FF2B5EF4-FFF2-40B4-BE49-F238E27FC236}">
                    <a16:creationId xmlns:a16="http://schemas.microsoft.com/office/drawing/2014/main" id="{ED0AA760-CA8B-4741-B5BC-93C1A756DC09}"/>
                  </a:ext>
                </a:extLst>
              </p:cNvPr>
              <p:cNvSpPr>
                <a:spLocks noChangeAspect="1" noChangeArrowheads="1" noTextEdit="1"/>
              </p:cNvSpPr>
              <p:nvPr/>
            </p:nvSpPr>
            <p:spPr bwMode="auto">
              <a:xfrm>
                <a:off x="1622425" y="1333500"/>
                <a:ext cx="2068513" cy="207010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14" tIns="45706" rIns="91414" bIns="45706" numCol="1" anchor="t" anchorCtr="0" compatLnSpc="1">
                <a:prstTxWarp prst="textNoShape">
                  <a:avLst/>
                </a:prstTxWarp>
              </a:bodyPr>
              <a:lstStyle/>
              <a:p>
                <a:pPr defTabSz="914016">
                  <a:defRPr/>
                </a:pPr>
                <a:endParaRPr lang="en-US" sz="1765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18" name="Freeform 8">
                <a:extLst>
                  <a:ext uri="{FF2B5EF4-FFF2-40B4-BE49-F238E27FC236}">
                    <a16:creationId xmlns:a16="http://schemas.microsoft.com/office/drawing/2014/main" id="{261D00AC-DD83-4A37-B91F-0796ECA4A4F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87513" y="1528763"/>
                <a:ext cx="2006600" cy="1255713"/>
              </a:xfrm>
              <a:custGeom>
                <a:avLst/>
                <a:gdLst>
                  <a:gd name="T0" fmla="*/ 100 w 400"/>
                  <a:gd name="T1" fmla="*/ 50 h 250"/>
                  <a:gd name="T2" fmla="*/ 100 w 400"/>
                  <a:gd name="T3" fmla="*/ 50 h 250"/>
                  <a:gd name="T4" fmla="*/ 61 w 400"/>
                  <a:gd name="T5" fmla="*/ 58 h 250"/>
                  <a:gd name="T6" fmla="*/ 29 w 400"/>
                  <a:gd name="T7" fmla="*/ 79 h 250"/>
                  <a:gd name="T8" fmla="*/ 8 w 400"/>
                  <a:gd name="T9" fmla="*/ 111 h 250"/>
                  <a:gd name="T10" fmla="*/ 0 w 400"/>
                  <a:gd name="T11" fmla="*/ 150 h 250"/>
                  <a:gd name="T12" fmla="*/ 8 w 400"/>
                  <a:gd name="T13" fmla="*/ 189 h 250"/>
                  <a:gd name="T14" fmla="*/ 29 w 400"/>
                  <a:gd name="T15" fmla="*/ 221 h 250"/>
                  <a:gd name="T16" fmla="*/ 61 w 400"/>
                  <a:gd name="T17" fmla="*/ 242 h 250"/>
                  <a:gd name="T18" fmla="*/ 100 w 400"/>
                  <a:gd name="T19" fmla="*/ 250 h 250"/>
                  <a:gd name="T20" fmla="*/ 106 w 400"/>
                  <a:gd name="T21" fmla="*/ 250 h 250"/>
                  <a:gd name="T22" fmla="*/ 200 w 400"/>
                  <a:gd name="T23" fmla="*/ 156 h 250"/>
                  <a:gd name="T24" fmla="*/ 294 w 400"/>
                  <a:gd name="T25" fmla="*/ 250 h 250"/>
                  <a:gd name="T26" fmla="*/ 325 w 400"/>
                  <a:gd name="T27" fmla="*/ 250 h 250"/>
                  <a:gd name="T28" fmla="*/ 354 w 400"/>
                  <a:gd name="T29" fmla="*/ 244 h 250"/>
                  <a:gd name="T30" fmla="*/ 378 w 400"/>
                  <a:gd name="T31" fmla="*/ 228 h 250"/>
                  <a:gd name="T32" fmla="*/ 394 w 400"/>
                  <a:gd name="T33" fmla="*/ 204 h 250"/>
                  <a:gd name="T34" fmla="*/ 400 w 400"/>
                  <a:gd name="T35" fmla="*/ 175 h 250"/>
                  <a:gd name="T36" fmla="*/ 394 w 400"/>
                  <a:gd name="T37" fmla="*/ 146 h 250"/>
                  <a:gd name="T38" fmla="*/ 378 w 400"/>
                  <a:gd name="T39" fmla="*/ 122 h 250"/>
                  <a:gd name="T40" fmla="*/ 354 w 400"/>
                  <a:gd name="T41" fmla="*/ 106 h 250"/>
                  <a:gd name="T42" fmla="*/ 324 w 400"/>
                  <a:gd name="T43" fmla="*/ 100 h 250"/>
                  <a:gd name="T44" fmla="*/ 312 w 400"/>
                  <a:gd name="T45" fmla="*/ 60 h 250"/>
                  <a:gd name="T46" fmla="*/ 287 w 400"/>
                  <a:gd name="T47" fmla="*/ 29 h 250"/>
                  <a:gd name="T48" fmla="*/ 253 w 400"/>
                  <a:gd name="T49" fmla="*/ 8 h 250"/>
                  <a:gd name="T50" fmla="*/ 212 w 400"/>
                  <a:gd name="T51" fmla="*/ 0 h 250"/>
                  <a:gd name="T52" fmla="*/ 184 w 400"/>
                  <a:gd name="T53" fmla="*/ 4 h 250"/>
                  <a:gd name="T54" fmla="*/ 158 w 400"/>
                  <a:gd name="T55" fmla="*/ 14 h 250"/>
                  <a:gd name="T56" fmla="*/ 136 w 400"/>
                  <a:gd name="T57" fmla="*/ 30 h 250"/>
                  <a:gd name="T58" fmla="*/ 118 w 400"/>
                  <a:gd name="T59" fmla="*/ 52 h 250"/>
                  <a:gd name="T60" fmla="*/ 100 w 400"/>
                  <a:gd name="T61" fmla="*/ 50 h 2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400" h="250">
                    <a:moveTo>
                      <a:pt x="100" y="50"/>
                    </a:moveTo>
                    <a:lnTo>
                      <a:pt x="100" y="50"/>
                    </a:lnTo>
                    <a:cubicBezTo>
                      <a:pt x="86" y="50"/>
                      <a:pt x="73" y="53"/>
                      <a:pt x="61" y="58"/>
                    </a:cubicBezTo>
                    <a:cubicBezTo>
                      <a:pt x="49" y="63"/>
                      <a:pt x="38" y="70"/>
                      <a:pt x="29" y="79"/>
                    </a:cubicBezTo>
                    <a:cubicBezTo>
                      <a:pt x="20" y="88"/>
                      <a:pt x="13" y="99"/>
                      <a:pt x="8" y="111"/>
                    </a:cubicBezTo>
                    <a:cubicBezTo>
                      <a:pt x="2" y="123"/>
                      <a:pt x="0" y="136"/>
                      <a:pt x="0" y="150"/>
                    </a:cubicBezTo>
                    <a:cubicBezTo>
                      <a:pt x="0" y="164"/>
                      <a:pt x="2" y="177"/>
                      <a:pt x="8" y="189"/>
                    </a:cubicBezTo>
                    <a:cubicBezTo>
                      <a:pt x="13" y="201"/>
                      <a:pt x="20" y="212"/>
                      <a:pt x="29" y="221"/>
                    </a:cubicBezTo>
                    <a:cubicBezTo>
                      <a:pt x="38" y="230"/>
                      <a:pt x="49" y="237"/>
                      <a:pt x="61" y="242"/>
                    </a:cubicBezTo>
                    <a:cubicBezTo>
                      <a:pt x="73" y="247"/>
                      <a:pt x="86" y="250"/>
                      <a:pt x="100" y="250"/>
                    </a:cubicBezTo>
                    <a:lnTo>
                      <a:pt x="106" y="250"/>
                    </a:lnTo>
                    <a:lnTo>
                      <a:pt x="200" y="156"/>
                    </a:lnTo>
                    <a:lnTo>
                      <a:pt x="294" y="250"/>
                    </a:lnTo>
                    <a:lnTo>
                      <a:pt x="325" y="250"/>
                    </a:lnTo>
                    <a:cubicBezTo>
                      <a:pt x="335" y="250"/>
                      <a:pt x="345" y="248"/>
                      <a:pt x="354" y="244"/>
                    </a:cubicBezTo>
                    <a:cubicBezTo>
                      <a:pt x="363" y="240"/>
                      <a:pt x="371" y="235"/>
                      <a:pt x="378" y="228"/>
                    </a:cubicBezTo>
                    <a:cubicBezTo>
                      <a:pt x="385" y="221"/>
                      <a:pt x="390" y="213"/>
                      <a:pt x="394" y="204"/>
                    </a:cubicBezTo>
                    <a:cubicBezTo>
                      <a:pt x="398" y="195"/>
                      <a:pt x="400" y="185"/>
                      <a:pt x="400" y="175"/>
                    </a:cubicBezTo>
                    <a:cubicBezTo>
                      <a:pt x="400" y="164"/>
                      <a:pt x="398" y="155"/>
                      <a:pt x="394" y="146"/>
                    </a:cubicBezTo>
                    <a:cubicBezTo>
                      <a:pt x="390" y="136"/>
                      <a:pt x="384" y="129"/>
                      <a:pt x="378" y="122"/>
                    </a:cubicBezTo>
                    <a:cubicBezTo>
                      <a:pt x="371" y="115"/>
                      <a:pt x="363" y="110"/>
                      <a:pt x="354" y="106"/>
                    </a:cubicBezTo>
                    <a:cubicBezTo>
                      <a:pt x="344" y="102"/>
                      <a:pt x="335" y="100"/>
                      <a:pt x="324" y="100"/>
                    </a:cubicBezTo>
                    <a:cubicBezTo>
                      <a:pt x="322" y="86"/>
                      <a:pt x="318" y="73"/>
                      <a:pt x="312" y="60"/>
                    </a:cubicBezTo>
                    <a:cubicBezTo>
                      <a:pt x="305" y="48"/>
                      <a:pt x="297" y="38"/>
                      <a:pt x="287" y="29"/>
                    </a:cubicBezTo>
                    <a:cubicBezTo>
                      <a:pt x="277" y="20"/>
                      <a:pt x="266" y="13"/>
                      <a:pt x="253" y="8"/>
                    </a:cubicBezTo>
                    <a:cubicBezTo>
                      <a:pt x="240" y="3"/>
                      <a:pt x="227" y="0"/>
                      <a:pt x="212" y="0"/>
                    </a:cubicBezTo>
                    <a:cubicBezTo>
                      <a:pt x="203" y="0"/>
                      <a:pt x="193" y="1"/>
                      <a:pt x="184" y="4"/>
                    </a:cubicBezTo>
                    <a:cubicBezTo>
                      <a:pt x="175" y="6"/>
                      <a:pt x="166" y="9"/>
                      <a:pt x="158" y="14"/>
                    </a:cubicBezTo>
                    <a:cubicBezTo>
                      <a:pt x="150" y="18"/>
                      <a:pt x="143" y="24"/>
                      <a:pt x="136" y="30"/>
                    </a:cubicBezTo>
                    <a:cubicBezTo>
                      <a:pt x="129" y="36"/>
                      <a:pt x="123" y="44"/>
                      <a:pt x="118" y="52"/>
                    </a:cubicBezTo>
                    <a:cubicBezTo>
                      <a:pt x="112" y="51"/>
                      <a:pt x="106" y="50"/>
                      <a:pt x="100" y="50"/>
                    </a:cubicBezTo>
                    <a:close/>
                  </a:path>
                </a:pathLst>
              </a:custGeom>
              <a:solidFill>
                <a:srgbClr val="0078D4"/>
              </a:solidFill>
              <a:ln w="0">
                <a:solidFill>
                  <a:srgbClr val="0078D4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14" tIns="45706" rIns="91414" bIns="45706" numCol="1" anchor="t" anchorCtr="0" compatLnSpc="1">
                <a:prstTxWarp prst="textNoShape">
                  <a:avLst/>
                </a:prstTxWarp>
              </a:bodyPr>
              <a:lstStyle/>
              <a:p>
                <a:pPr defTabSz="914016">
                  <a:defRPr/>
                </a:pPr>
                <a:endParaRPr lang="en-US" sz="1765">
                  <a:solidFill>
                    <a:srgbClr val="1A1A1A"/>
                  </a:solidFill>
                  <a:latin typeface="Segoe UI"/>
                </a:endParaRPr>
              </a:p>
            </p:txBody>
          </p:sp>
        </p:grpSp>
        <p:sp>
          <p:nvSpPr>
            <p:cNvPr id="16" name="Freeform 9">
              <a:extLst>
                <a:ext uri="{FF2B5EF4-FFF2-40B4-BE49-F238E27FC236}">
                  <a16:creationId xmlns:a16="http://schemas.microsoft.com/office/drawing/2014/main" id="{3A78FC47-FC6B-4B65-98BA-2D0F9081F62E}"/>
                </a:ext>
              </a:extLst>
            </p:cNvPr>
            <p:cNvSpPr>
              <a:spLocks/>
            </p:cNvSpPr>
            <p:nvPr/>
          </p:nvSpPr>
          <p:spPr bwMode="auto">
            <a:xfrm>
              <a:off x="2374900" y="2533650"/>
              <a:ext cx="631825" cy="692150"/>
            </a:xfrm>
            <a:custGeom>
              <a:avLst/>
              <a:gdLst>
                <a:gd name="T0" fmla="*/ 76 w 126"/>
                <a:gd name="T1" fmla="*/ 138 h 138"/>
                <a:gd name="T2" fmla="*/ 76 w 126"/>
                <a:gd name="T3" fmla="*/ 138 h 138"/>
                <a:gd name="T4" fmla="*/ 76 w 126"/>
                <a:gd name="T5" fmla="*/ 51 h 138"/>
                <a:gd name="T6" fmla="*/ 107 w 126"/>
                <a:gd name="T7" fmla="*/ 81 h 138"/>
                <a:gd name="T8" fmla="*/ 126 w 126"/>
                <a:gd name="T9" fmla="*/ 62 h 138"/>
                <a:gd name="T10" fmla="*/ 63 w 126"/>
                <a:gd name="T11" fmla="*/ 0 h 138"/>
                <a:gd name="T12" fmla="*/ 0 w 126"/>
                <a:gd name="T13" fmla="*/ 62 h 138"/>
                <a:gd name="T14" fmla="*/ 19 w 126"/>
                <a:gd name="T15" fmla="*/ 81 h 138"/>
                <a:gd name="T16" fmla="*/ 49 w 126"/>
                <a:gd name="T17" fmla="*/ 51 h 138"/>
                <a:gd name="T18" fmla="*/ 49 w 126"/>
                <a:gd name="T19" fmla="*/ 138 h 138"/>
                <a:gd name="T20" fmla="*/ 76 w 126"/>
                <a:gd name="T21" fmla="*/ 138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26" h="138">
                  <a:moveTo>
                    <a:pt x="76" y="138"/>
                  </a:moveTo>
                  <a:lnTo>
                    <a:pt x="76" y="138"/>
                  </a:lnTo>
                  <a:lnTo>
                    <a:pt x="76" y="51"/>
                  </a:lnTo>
                  <a:lnTo>
                    <a:pt x="107" y="81"/>
                  </a:lnTo>
                  <a:lnTo>
                    <a:pt x="126" y="62"/>
                  </a:lnTo>
                  <a:lnTo>
                    <a:pt x="63" y="0"/>
                  </a:lnTo>
                  <a:lnTo>
                    <a:pt x="0" y="62"/>
                  </a:lnTo>
                  <a:lnTo>
                    <a:pt x="19" y="81"/>
                  </a:lnTo>
                  <a:lnTo>
                    <a:pt x="49" y="51"/>
                  </a:lnTo>
                  <a:lnTo>
                    <a:pt x="49" y="138"/>
                  </a:lnTo>
                  <a:lnTo>
                    <a:pt x="76" y="138"/>
                  </a:lnTo>
                  <a:close/>
                </a:path>
              </a:pathLst>
            </a:custGeom>
            <a:solidFill>
              <a:schemeClr val="tx1"/>
            </a:solidFill>
            <a:ln w="19050">
              <a:noFill/>
              <a:prstDash val="solid"/>
              <a:round/>
              <a:headEnd/>
              <a:tailEnd/>
            </a:ln>
          </p:spPr>
          <p:txBody>
            <a:bodyPr vert="horz" wrap="square" lIns="91414" tIns="45706" rIns="91414" bIns="45706" numCol="1" anchor="t" anchorCtr="0" compatLnSpc="1">
              <a:prstTxWarp prst="textNoShape">
                <a:avLst/>
              </a:prstTxWarp>
            </a:bodyPr>
            <a:lstStyle/>
            <a:p>
              <a:pPr defTabSz="914016">
                <a:defRPr/>
              </a:pPr>
              <a:endParaRPr lang="en-US" sz="1765">
                <a:solidFill>
                  <a:srgbClr val="1A1A1A"/>
                </a:solidFill>
                <a:latin typeface="Segoe UI"/>
              </a:endParaRPr>
            </a:p>
          </p:txBody>
        </p:sp>
      </p:grpSp>
      <p:grpSp>
        <p:nvGrpSpPr>
          <p:cNvPr id="19" name="Group 12">
            <a:extLst>
              <a:ext uri="{FF2B5EF4-FFF2-40B4-BE49-F238E27FC236}">
                <a16:creationId xmlns:a16="http://schemas.microsoft.com/office/drawing/2014/main" id="{DFDB7EE7-4FB7-4CCE-BC92-AE053B2E966B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2881461" y="3961312"/>
            <a:ext cx="647462" cy="644395"/>
            <a:chOff x="1297" y="2230"/>
            <a:chExt cx="633" cy="630"/>
          </a:xfrm>
        </p:grpSpPr>
        <p:sp>
          <p:nvSpPr>
            <p:cNvPr id="21" name="Freeform 13">
              <a:extLst>
                <a:ext uri="{FF2B5EF4-FFF2-40B4-BE49-F238E27FC236}">
                  <a16:creationId xmlns:a16="http://schemas.microsoft.com/office/drawing/2014/main" id="{5639C982-94A8-4AB8-AB22-31847A8EA8E1}"/>
                </a:ext>
              </a:extLst>
            </p:cNvPr>
            <p:cNvSpPr>
              <a:spLocks/>
            </p:cNvSpPr>
            <p:nvPr/>
          </p:nvSpPr>
          <p:spPr bwMode="auto">
            <a:xfrm>
              <a:off x="1297" y="2230"/>
              <a:ext cx="633" cy="474"/>
            </a:xfrm>
            <a:custGeom>
              <a:avLst/>
              <a:gdLst>
                <a:gd name="T0" fmla="*/ 416 w 426"/>
                <a:gd name="T1" fmla="*/ 8 h 319"/>
                <a:gd name="T2" fmla="*/ 416 w 426"/>
                <a:gd name="T3" fmla="*/ 8 h 319"/>
                <a:gd name="T4" fmla="*/ 406 w 426"/>
                <a:gd name="T5" fmla="*/ 2 h 319"/>
                <a:gd name="T6" fmla="*/ 393 w 426"/>
                <a:gd name="T7" fmla="*/ 0 h 319"/>
                <a:gd name="T8" fmla="*/ 33 w 426"/>
                <a:gd name="T9" fmla="*/ 0 h 319"/>
                <a:gd name="T10" fmla="*/ 20 w 426"/>
                <a:gd name="T11" fmla="*/ 2 h 319"/>
                <a:gd name="T12" fmla="*/ 9 w 426"/>
                <a:gd name="T13" fmla="*/ 8 h 319"/>
                <a:gd name="T14" fmla="*/ 2 w 426"/>
                <a:gd name="T15" fmla="*/ 19 h 319"/>
                <a:gd name="T16" fmla="*/ 0 w 426"/>
                <a:gd name="T17" fmla="*/ 32 h 319"/>
                <a:gd name="T18" fmla="*/ 0 w 426"/>
                <a:gd name="T19" fmla="*/ 285 h 319"/>
                <a:gd name="T20" fmla="*/ 2 w 426"/>
                <a:gd name="T21" fmla="*/ 298 h 319"/>
                <a:gd name="T22" fmla="*/ 9 w 426"/>
                <a:gd name="T23" fmla="*/ 309 h 319"/>
                <a:gd name="T24" fmla="*/ 20 w 426"/>
                <a:gd name="T25" fmla="*/ 316 h 319"/>
                <a:gd name="T26" fmla="*/ 33 w 426"/>
                <a:gd name="T27" fmla="*/ 319 h 319"/>
                <a:gd name="T28" fmla="*/ 193 w 426"/>
                <a:gd name="T29" fmla="*/ 319 h 319"/>
                <a:gd name="T30" fmla="*/ 196 w 426"/>
                <a:gd name="T31" fmla="*/ 317 h 319"/>
                <a:gd name="T32" fmla="*/ 180 w 426"/>
                <a:gd name="T33" fmla="*/ 307 h 319"/>
                <a:gd name="T34" fmla="*/ 186 w 426"/>
                <a:gd name="T35" fmla="*/ 292 h 319"/>
                <a:gd name="T36" fmla="*/ 33 w 426"/>
                <a:gd name="T37" fmla="*/ 292 h 319"/>
                <a:gd name="T38" fmla="*/ 28 w 426"/>
                <a:gd name="T39" fmla="*/ 290 h 319"/>
                <a:gd name="T40" fmla="*/ 26 w 426"/>
                <a:gd name="T41" fmla="*/ 285 h 319"/>
                <a:gd name="T42" fmla="*/ 26 w 426"/>
                <a:gd name="T43" fmla="*/ 32 h 319"/>
                <a:gd name="T44" fmla="*/ 28 w 426"/>
                <a:gd name="T45" fmla="*/ 27 h 319"/>
                <a:gd name="T46" fmla="*/ 33 w 426"/>
                <a:gd name="T47" fmla="*/ 25 h 319"/>
                <a:gd name="T48" fmla="*/ 393 w 426"/>
                <a:gd name="T49" fmla="*/ 25 h 319"/>
                <a:gd name="T50" fmla="*/ 398 w 426"/>
                <a:gd name="T51" fmla="*/ 27 h 319"/>
                <a:gd name="T52" fmla="*/ 399 w 426"/>
                <a:gd name="T53" fmla="*/ 32 h 319"/>
                <a:gd name="T54" fmla="*/ 399 w 426"/>
                <a:gd name="T55" fmla="*/ 206 h 319"/>
                <a:gd name="T56" fmla="*/ 411 w 426"/>
                <a:gd name="T57" fmla="*/ 211 h 319"/>
                <a:gd name="T58" fmla="*/ 407 w 426"/>
                <a:gd name="T59" fmla="*/ 230 h 319"/>
                <a:gd name="T60" fmla="*/ 425 w 426"/>
                <a:gd name="T61" fmla="*/ 225 h 319"/>
                <a:gd name="T62" fmla="*/ 426 w 426"/>
                <a:gd name="T63" fmla="*/ 227 h 319"/>
                <a:gd name="T64" fmla="*/ 426 w 426"/>
                <a:gd name="T65" fmla="*/ 32 h 319"/>
                <a:gd name="T66" fmla="*/ 424 w 426"/>
                <a:gd name="T67" fmla="*/ 19 h 319"/>
                <a:gd name="T68" fmla="*/ 416 w 426"/>
                <a:gd name="T69" fmla="*/ 8 h 3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26" h="319">
                  <a:moveTo>
                    <a:pt x="416" y="8"/>
                  </a:moveTo>
                  <a:lnTo>
                    <a:pt x="416" y="8"/>
                  </a:lnTo>
                  <a:cubicBezTo>
                    <a:pt x="413" y="5"/>
                    <a:pt x="410" y="3"/>
                    <a:pt x="406" y="2"/>
                  </a:cubicBezTo>
                  <a:cubicBezTo>
                    <a:pt x="402" y="0"/>
                    <a:pt x="397" y="0"/>
                    <a:pt x="393" y="0"/>
                  </a:cubicBezTo>
                  <a:lnTo>
                    <a:pt x="33" y="0"/>
                  </a:lnTo>
                  <a:cubicBezTo>
                    <a:pt x="28" y="0"/>
                    <a:pt x="24" y="0"/>
                    <a:pt x="20" y="2"/>
                  </a:cubicBezTo>
                  <a:cubicBezTo>
                    <a:pt x="16" y="3"/>
                    <a:pt x="12" y="5"/>
                    <a:pt x="9" y="8"/>
                  </a:cubicBezTo>
                  <a:cubicBezTo>
                    <a:pt x="6" y="11"/>
                    <a:pt x="4" y="15"/>
                    <a:pt x="2" y="19"/>
                  </a:cubicBezTo>
                  <a:cubicBezTo>
                    <a:pt x="0" y="23"/>
                    <a:pt x="0" y="27"/>
                    <a:pt x="0" y="32"/>
                  </a:cubicBezTo>
                  <a:lnTo>
                    <a:pt x="0" y="285"/>
                  </a:lnTo>
                  <a:cubicBezTo>
                    <a:pt x="0" y="290"/>
                    <a:pt x="0" y="294"/>
                    <a:pt x="2" y="298"/>
                  </a:cubicBezTo>
                  <a:cubicBezTo>
                    <a:pt x="4" y="302"/>
                    <a:pt x="6" y="306"/>
                    <a:pt x="9" y="309"/>
                  </a:cubicBezTo>
                  <a:cubicBezTo>
                    <a:pt x="12" y="312"/>
                    <a:pt x="16" y="314"/>
                    <a:pt x="20" y="316"/>
                  </a:cubicBezTo>
                  <a:cubicBezTo>
                    <a:pt x="24" y="318"/>
                    <a:pt x="28" y="319"/>
                    <a:pt x="33" y="319"/>
                  </a:cubicBezTo>
                  <a:lnTo>
                    <a:pt x="193" y="319"/>
                  </a:lnTo>
                  <a:lnTo>
                    <a:pt x="196" y="317"/>
                  </a:lnTo>
                  <a:lnTo>
                    <a:pt x="180" y="307"/>
                  </a:lnTo>
                  <a:lnTo>
                    <a:pt x="186" y="292"/>
                  </a:lnTo>
                  <a:lnTo>
                    <a:pt x="33" y="292"/>
                  </a:lnTo>
                  <a:cubicBezTo>
                    <a:pt x="31" y="292"/>
                    <a:pt x="29" y="291"/>
                    <a:pt x="28" y="290"/>
                  </a:cubicBezTo>
                  <a:cubicBezTo>
                    <a:pt x="27" y="289"/>
                    <a:pt x="26" y="287"/>
                    <a:pt x="26" y="285"/>
                  </a:cubicBezTo>
                  <a:lnTo>
                    <a:pt x="26" y="32"/>
                  </a:lnTo>
                  <a:cubicBezTo>
                    <a:pt x="26" y="30"/>
                    <a:pt x="27" y="28"/>
                    <a:pt x="28" y="27"/>
                  </a:cubicBezTo>
                  <a:cubicBezTo>
                    <a:pt x="29" y="26"/>
                    <a:pt x="31" y="25"/>
                    <a:pt x="33" y="25"/>
                  </a:cubicBezTo>
                  <a:lnTo>
                    <a:pt x="393" y="25"/>
                  </a:lnTo>
                  <a:cubicBezTo>
                    <a:pt x="395" y="25"/>
                    <a:pt x="396" y="26"/>
                    <a:pt x="398" y="27"/>
                  </a:cubicBezTo>
                  <a:cubicBezTo>
                    <a:pt x="399" y="28"/>
                    <a:pt x="399" y="30"/>
                    <a:pt x="399" y="32"/>
                  </a:cubicBezTo>
                  <a:lnTo>
                    <a:pt x="399" y="206"/>
                  </a:lnTo>
                  <a:lnTo>
                    <a:pt x="411" y="211"/>
                  </a:lnTo>
                  <a:lnTo>
                    <a:pt x="407" y="230"/>
                  </a:lnTo>
                  <a:lnTo>
                    <a:pt x="425" y="225"/>
                  </a:lnTo>
                  <a:lnTo>
                    <a:pt x="426" y="227"/>
                  </a:lnTo>
                  <a:lnTo>
                    <a:pt x="426" y="32"/>
                  </a:lnTo>
                  <a:cubicBezTo>
                    <a:pt x="426" y="27"/>
                    <a:pt x="425" y="23"/>
                    <a:pt x="424" y="19"/>
                  </a:cubicBezTo>
                  <a:cubicBezTo>
                    <a:pt x="422" y="15"/>
                    <a:pt x="419" y="11"/>
                    <a:pt x="416" y="8"/>
                  </a:cubicBezTo>
                  <a:close/>
                </a:path>
              </a:pathLst>
            </a:custGeom>
            <a:solidFill>
              <a:schemeClr val="tx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14" tIns="45706" rIns="91414" bIns="45706" numCol="1" anchor="t" anchorCtr="0" compatLnSpc="1">
              <a:prstTxWarp prst="textNoShape">
                <a:avLst/>
              </a:prstTxWarp>
            </a:bodyPr>
            <a:lstStyle/>
            <a:p>
              <a:pPr defTabSz="914016">
                <a:defRPr/>
              </a:pPr>
              <a:endParaRPr lang="en-US" sz="1765">
                <a:solidFill>
                  <a:srgbClr val="1A1A1A"/>
                </a:solidFill>
                <a:latin typeface="Segoe UI"/>
              </a:endParaRPr>
            </a:p>
          </p:txBody>
        </p:sp>
        <p:sp>
          <p:nvSpPr>
            <p:cNvPr id="22" name="Freeform 14">
              <a:extLst>
                <a:ext uri="{FF2B5EF4-FFF2-40B4-BE49-F238E27FC236}">
                  <a16:creationId xmlns:a16="http://schemas.microsoft.com/office/drawing/2014/main" id="{30E57CD9-5BC7-464F-B29E-10855B5560AA}"/>
                </a:ext>
              </a:extLst>
            </p:cNvPr>
            <p:cNvSpPr>
              <a:spLocks/>
            </p:cNvSpPr>
            <p:nvPr/>
          </p:nvSpPr>
          <p:spPr bwMode="auto">
            <a:xfrm>
              <a:off x="1533" y="2585"/>
              <a:ext cx="73" cy="38"/>
            </a:xfrm>
            <a:custGeom>
              <a:avLst/>
              <a:gdLst>
                <a:gd name="T0" fmla="*/ 0 w 49"/>
                <a:gd name="T1" fmla="*/ 0 h 26"/>
                <a:gd name="T2" fmla="*/ 0 w 49"/>
                <a:gd name="T3" fmla="*/ 0 h 26"/>
                <a:gd name="T4" fmla="*/ 0 w 49"/>
                <a:gd name="T5" fmla="*/ 26 h 26"/>
                <a:gd name="T6" fmla="*/ 27 w 49"/>
                <a:gd name="T7" fmla="*/ 26 h 26"/>
                <a:gd name="T8" fmla="*/ 38 w 49"/>
                <a:gd name="T9" fmla="*/ 26 h 26"/>
                <a:gd name="T10" fmla="*/ 49 w 49"/>
                <a:gd name="T11" fmla="*/ 0 h 26"/>
                <a:gd name="T12" fmla="*/ 27 w 49"/>
                <a:gd name="T13" fmla="*/ 0 h 26"/>
                <a:gd name="T14" fmla="*/ 0 w 49"/>
                <a:gd name="T15" fmla="*/ 0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9" h="26">
                  <a:moveTo>
                    <a:pt x="0" y="0"/>
                  </a:moveTo>
                  <a:lnTo>
                    <a:pt x="0" y="0"/>
                  </a:lnTo>
                  <a:lnTo>
                    <a:pt x="0" y="26"/>
                  </a:lnTo>
                  <a:lnTo>
                    <a:pt x="27" y="26"/>
                  </a:lnTo>
                  <a:lnTo>
                    <a:pt x="38" y="26"/>
                  </a:lnTo>
                  <a:lnTo>
                    <a:pt x="49" y="0"/>
                  </a:lnTo>
                  <a:lnTo>
                    <a:pt x="27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14" tIns="45706" rIns="91414" bIns="45706" numCol="1" anchor="t" anchorCtr="0" compatLnSpc="1">
              <a:prstTxWarp prst="textNoShape">
                <a:avLst/>
              </a:prstTxWarp>
            </a:bodyPr>
            <a:lstStyle/>
            <a:p>
              <a:pPr defTabSz="914016">
                <a:defRPr/>
              </a:pPr>
              <a:endParaRPr lang="en-US" sz="1765">
                <a:solidFill>
                  <a:srgbClr val="1A1A1A"/>
                </a:solidFill>
                <a:latin typeface="Segoe UI"/>
              </a:endParaRPr>
            </a:p>
          </p:txBody>
        </p:sp>
        <p:sp>
          <p:nvSpPr>
            <p:cNvPr id="23" name="Freeform 15">
              <a:extLst>
                <a:ext uri="{FF2B5EF4-FFF2-40B4-BE49-F238E27FC236}">
                  <a16:creationId xmlns:a16="http://schemas.microsoft.com/office/drawing/2014/main" id="{621A59A3-5D0F-4FA0-B01F-EF15D282FE84}"/>
                </a:ext>
              </a:extLst>
            </p:cNvPr>
            <p:cNvSpPr>
              <a:spLocks/>
            </p:cNvSpPr>
            <p:nvPr/>
          </p:nvSpPr>
          <p:spPr bwMode="auto">
            <a:xfrm>
              <a:off x="1927" y="2667"/>
              <a:ext cx="3" cy="6"/>
            </a:xfrm>
            <a:custGeom>
              <a:avLst/>
              <a:gdLst>
                <a:gd name="T0" fmla="*/ 2 w 2"/>
                <a:gd name="T1" fmla="*/ 3 h 4"/>
                <a:gd name="T2" fmla="*/ 2 w 2"/>
                <a:gd name="T3" fmla="*/ 3 h 4"/>
                <a:gd name="T4" fmla="*/ 1 w 2"/>
                <a:gd name="T5" fmla="*/ 0 h 4"/>
                <a:gd name="T6" fmla="*/ 0 w 2"/>
                <a:gd name="T7" fmla="*/ 4 h 4"/>
                <a:gd name="T8" fmla="*/ 2 w 2"/>
                <a:gd name="T9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" h="4">
                  <a:moveTo>
                    <a:pt x="2" y="3"/>
                  </a:moveTo>
                  <a:lnTo>
                    <a:pt x="2" y="3"/>
                  </a:lnTo>
                  <a:lnTo>
                    <a:pt x="1" y="0"/>
                  </a:lnTo>
                  <a:cubicBezTo>
                    <a:pt x="1" y="1"/>
                    <a:pt x="0" y="3"/>
                    <a:pt x="0" y="4"/>
                  </a:cubicBezTo>
                  <a:lnTo>
                    <a:pt x="2" y="3"/>
                  </a:lnTo>
                  <a:close/>
                </a:path>
              </a:pathLst>
            </a:custGeom>
            <a:solidFill>
              <a:srgbClr val="C1C1C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14" tIns="45706" rIns="91414" bIns="45706" numCol="1" anchor="t" anchorCtr="0" compatLnSpc="1">
              <a:prstTxWarp prst="textNoShape">
                <a:avLst/>
              </a:prstTxWarp>
            </a:bodyPr>
            <a:lstStyle/>
            <a:p>
              <a:pPr defTabSz="914016">
                <a:defRPr/>
              </a:pPr>
              <a:endParaRPr lang="en-US" sz="1765">
                <a:solidFill>
                  <a:srgbClr val="1A1A1A"/>
                </a:solidFill>
                <a:latin typeface="Segoe UI"/>
              </a:endParaRPr>
            </a:p>
          </p:txBody>
        </p:sp>
        <p:sp>
          <p:nvSpPr>
            <p:cNvPr id="24" name="Freeform 16">
              <a:extLst>
                <a:ext uri="{FF2B5EF4-FFF2-40B4-BE49-F238E27FC236}">
                  <a16:creationId xmlns:a16="http://schemas.microsoft.com/office/drawing/2014/main" id="{5E1756DF-95A7-462F-B897-F04ABB87BCD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14" y="2543"/>
              <a:ext cx="316" cy="317"/>
            </a:xfrm>
            <a:custGeom>
              <a:avLst/>
              <a:gdLst>
                <a:gd name="T0" fmla="*/ 146 w 213"/>
                <a:gd name="T1" fmla="*/ 108 h 213"/>
                <a:gd name="T2" fmla="*/ 134 w 213"/>
                <a:gd name="T3" fmla="*/ 134 h 213"/>
                <a:gd name="T4" fmla="*/ 106 w 213"/>
                <a:gd name="T5" fmla="*/ 146 h 213"/>
                <a:gd name="T6" fmla="*/ 79 w 213"/>
                <a:gd name="T7" fmla="*/ 134 h 213"/>
                <a:gd name="T8" fmla="*/ 67 w 213"/>
                <a:gd name="T9" fmla="*/ 108 h 213"/>
                <a:gd name="T10" fmla="*/ 70 w 213"/>
                <a:gd name="T11" fmla="*/ 91 h 213"/>
                <a:gd name="T12" fmla="*/ 79 w 213"/>
                <a:gd name="T13" fmla="*/ 78 h 213"/>
                <a:gd name="T14" fmla="*/ 106 w 213"/>
                <a:gd name="T15" fmla="*/ 67 h 213"/>
                <a:gd name="T16" fmla="*/ 134 w 213"/>
                <a:gd name="T17" fmla="*/ 78 h 213"/>
                <a:gd name="T18" fmla="*/ 143 w 213"/>
                <a:gd name="T19" fmla="*/ 91 h 213"/>
                <a:gd name="T20" fmla="*/ 146 w 213"/>
                <a:gd name="T21" fmla="*/ 108 h 213"/>
                <a:gd name="T22" fmla="*/ 212 w 213"/>
                <a:gd name="T23" fmla="*/ 83 h 213"/>
                <a:gd name="T24" fmla="*/ 187 w 213"/>
                <a:gd name="T25" fmla="*/ 48 h 213"/>
                <a:gd name="T26" fmla="*/ 160 w 213"/>
                <a:gd name="T27" fmla="*/ 47 h 213"/>
                <a:gd name="T28" fmla="*/ 127 w 213"/>
                <a:gd name="T29" fmla="*/ 0 h 213"/>
                <a:gd name="T30" fmla="*/ 108 w 213"/>
                <a:gd name="T31" fmla="*/ 27 h 213"/>
                <a:gd name="T32" fmla="*/ 105 w 213"/>
                <a:gd name="T33" fmla="*/ 27 h 213"/>
                <a:gd name="T34" fmla="*/ 86 w 213"/>
                <a:gd name="T35" fmla="*/ 0 h 213"/>
                <a:gd name="T36" fmla="*/ 48 w 213"/>
                <a:gd name="T37" fmla="*/ 28 h 213"/>
                <a:gd name="T38" fmla="*/ 48 w 213"/>
                <a:gd name="T39" fmla="*/ 53 h 213"/>
                <a:gd name="T40" fmla="*/ 16 w 213"/>
                <a:gd name="T41" fmla="*/ 45 h 213"/>
                <a:gd name="T42" fmla="*/ 2 w 213"/>
                <a:gd name="T43" fmla="*/ 81 h 213"/>
                <a:gd name="T44" fmla="*/ 27 w 213"/>
                <a:gd name="T45" fmla="*/ 102 h 213"/>
                <a:gd name="T46" fmla="*/ 27 w 213"/>
                <a:gd name="T47" fmla="*/ 106 h 213"/>
                <a:gd name="T48" fmla="*/ 27 w 213"/>
                <a:gd name="T49" fmla="*/ 108 h 213"/>
                <a:gd name="T50" fmla="*/ 0 w 213"/>
                <a:gd name="T51" fmla="*/ 127 h 213"/>
                <a:gd name="T52" fmla="*/ 48 w 213"/>
                <a:gd name="T53" fmla="*/ 160 h 213"/>
                <a:gd name="T54" fmla="*/ 46 w 213"/>
                <a:gd name="T55" fmla="*/ 196 h 213"/>
                <a:gd name="T56" fmla="*/ 103 w 213"/>
                <a:gd name="T57" fmla="*/ 186 h 213"/>
                <a:gd name="T58" fmla="*/ 106 w 213"/>
                <a:gd name="T59" fmla="*/ 186 h 213"/>
                <a:gd name="T60" fmla="*/ 110 w 213"/>
                <a:gd name="T61" fmla="*/ 186 h 213"/>
                <a:gd name="T62" fmla="*/ 167 w 213"/>
                <a:gd name="T63" fmla="*/ 196 h 213"/>
                <a:gd name="T64" fmla="*/ 165 w 213"/>
                <a:gd name="T65" fmla="*/ 160 h 213"/>
                <a:gd name="T66" fmla="*/ 213 w 213"/>
                <a:gd name="T67" fmla="*/ 127 h 213"/>
                <a:gd name="T68" fmla="*/ 186 w 213"/>
                <a:gd name="T69" fmla="*/ 108 h 213"/>
                <a:gd name="T70" fmla="*/ 186 w 213"/>
                <a:gd name="T71" fmla="*/ 106 h 213"/>
                <a:gd name="T72" fmla="*/ 186 w 213"/>
                <a:gd name="T73" fmla="*/ 102 h 213"/>
                <a:gd name="T74" fmla="*/ 212 w 213"/>
                <a:gd name="T75" fmla="*/ 83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213" h="213">
                  <a:moveTo>
                    <a:pt x="146" y="108"/>
                  </a:moveTo>
                  <a:lnTo>
                    <a:pt x="146" y="108"/>
                  </a:lnTo>
                  <a:cubicBezTo>
                    <a:pt x="146" y="112"/>
                    <a:pt x="145" y="117"/>
                    <a:pt x="143" y="122"/>
                  </a:cubicBezTo>
                  <a:cubicBezTo>
                    <a:pt x="141" y="126"/>
                    <a:pt x="138" y="130"/>
                    <a:pt x="134" y="134"/>
                  </a:cubicBezTo>
                  <a:cubicBezTo>
                    <a:pt x="131" y="138"/>
                    <a:pt x="127" y="140"/>
                    <a:pt x="122" y="142"/>
                  </a:cubicBezTo>
                  <a:cubicBezTo>
                    <a:pt x="117" y="145"/>
                    <a:pt x="112" y="146"/>
                    <a:pt x="106" y="146"/>
                  </a:cubicBezTo>
                  <a:cubicBezTo>
                    <a:pt x="101" y="146"/>
                    <a:pt x="96" y="145"/>
                    <a:pt x="91" y="142"/>
                  </a:cubicBezTo>
                  <a:cubicBezTo>
                    <a:pt x="86" y="140"/>
                    <a:pt x="82" y="138"/>
                    <a:pt x="79" y="134"/>
                  </a:cubicBezTo>
                  <a:cubicBezTo>
                    <a:pt x="75" y="130"/>
                    <a:pt x="72" y="126"/>
                    <a:pt x="70" y="122"/>
                  </a:cubicBezTo>
                  <a:cubicBezTo>
                    <a:pt x="68" y="117"/>
                    <a:pt x="67" y="112"/>
                    <a:pt x="67" y="108"/>
                  </a:cubicBezTo>
                  <a:cubicBezTo>
                    <a:pt x="67" y="107"/>
                    <a:pt x="67" y="107"/>
                    <a:pt x="67" y="106"/>
                  </a:cubicBezTo>
                  <a:cubicBezTo>
                    <a:pt x="67" y="101"/>
                    <a:pt x="68" y="96"/>
                    <a:pt x="70" y="91"/>
                  </a:cubicBezTo>
                  <a:cubicBezTo>
                    <a:pt x="72" y="87"/>
                    <a:pt x="74" y="84"/>
                    <a:pt x="76" y="81"/>
                  </a:cubicBezTo>
                  <a:cubicBezTo>
                    <a:pt x="77" y="80"/>
                    <a:pt x="78" y="79"/>
                    <a:pt x="79" y="78"/>
                  </a:cubicBezTo>
                  <a:cubicBezTo>
                    <a:pt x="82" y="75"/>
                    <a:pt x="86" y="72"/>
                    <a:pt x="91" y="70"/>
                  </a:cubicBezTo>
                  <a:cubicBezTo>
                    <a:pt x="96" y="68"/>
                    <a:pt x="101" y="67"/>
                    <a:pt x="106" y="67"/>
                  </a:cubicBezTo>
                  <a:cubicBezTo>
                    <a:pt x="112" y="67"/>
                    <a:pt x="117" y="68"/>
                    <a:pt x="122" y="70"/>
                  </a:cubicBezTo>
                  <a:cubicBezTo>
                    <a:pt x="127" y="72"/>
                    <a:pt x="131" y="75"/>
                    <a:pt x="134" y="78"/>
                  </a:cubicBezTo>
                  <a:cubicBezTo>
                    <a:pt x="135" y="79"/>
                    <a:pt x="136" y="80"/>
                    <a:pt x="136" y="81"/>
                  </a:cubicBezTo>
                  <a:cubicBezTo>
                    <a:pt x="139" y="84"/>
                    <a:pt x="141" y="87"/>
                    <a:pt x="143" y="91"/>
                  </a:cubicBezTo>
                  <a:cubicBezTo>
                    <a:pt x="145" y="96"/>
                    <a:pt x="146" y="101"/>
                    <a:pt x="146" y="106"/>
                  </a:cubicBezTo>
                  <a:cubicBezTo>
                    <a:pt x="146" y="107"/>
                    <a:pt x="146" y="107"/>
                    <a:pt x="146" y="108"/>
                  </a:cubicBezTo>
                  <a:close/>
                  <a:moveTo>
                    <a:pt x="212" y="83"/>
                  </a:moveTo>
                  <a:lnTo>
                    <a:pt x="212" y="83"/>
                  </a:lnTo>
                  <a:lnTo>
                    <a:pt x="196" y="45"/>
                  </a:lnTo>
                  <a:lnTo>
                    <a:pt x="187" y="48"/>
                  </a:lnTo>
                  <a:lnTo>
                    <a:pt x="165" y="53"/>
                  </a:lnTo>
                  <a:cubicBezTo>
                    <a:pt x="164" y="51"/>
                    <a:pt x="162" y="49"/>
                    <a:pt x="160" y="47"/>
                  </a:cubicBezTo>
                  <a:lnTo>
                    <a:pt x="167" y="16"/>
                  </a:lnTo>
                  <a:lnTo>
                    <a:pt x="127" y="0"/>
                  </a:lnTo>
                  <a:lnTo>
                    <a:pt x="110" y="27"/>
                  </a:lnTo>
                  <a:cubicBezTo>
                    <a:pt x="110" y="27"/>
                    <a:pt x="109" y="27"/>
                    <a:pt x="108" y="27"/>
                  </a:cubicBezTo>
                  <a:cubicBezTo>
                    <a:pt x="108" y="27"/>
                    <a:pt x="107" y="27"/>
                    <a:pt x="106" y="27"/>
                  </a:cubicBezTo>
                  <a:cubicBezTo>
                    <a:pt x="106" y="27"/>
                    <a:pt x="105" y="27"/>
                    <a:pt x="105" y="27"/>
                  </a:cubicBezTo>
                  <a:cubicBezTo>
                    <a:pt x="104" y="27"/>
                    <a:pt x="103" y="27"/>
                    <a:pt x="103" y="27"/>
                  </a:cubicBezTo>
                  <a:lnTo>
                    <a:pt x="86" y="0"/>
                  </a:lnTo>
                  <a:lnTo>
                    <a:pt x="46" y="16"/>
                  </a:lnTo>
                  <a:lnTo>
                    <a:pt x="48" y="28"/>
                  </a:lnTo>
                  <a:lnTo>
                    <a:pt x="53" y="47"/>
                  </a:lnTo>
                  <a:cubicBezTo>
                    <a:pt x="51" y="49"/>
                    <a:pt x="49" y="51"/>
                    <a:pt x="48" y="53"/>
                  </a:cubicBezTo>
                  <a:lnTo>
                    <a:pt x="27" y="48"/>
                  </a:lnTo>
                  <a:lnTo>
                    <a:pt x="16" y="45"/>
                  </a:lnTo>
                  <a:lnTo>
                    <a:pt x="13" y="54"/>
                  </a:lnTo>
                  <a:lnTo>
                    <a:pt x="2" y="81"/>
                  </a:lnTo>
                  <a:lnTo>
                    <a:pt x="0" y="86"/>
                  </a:lnTo>
                  <a:lnTo>
                    <a:pt x="27" y="102"/>
                  </a:lnTo>
                  <a:cubicBezTo>
                    <a:pt x="27" y="103"/>
                    <a:pt x="27" y="104"/>
                    <a:pt x="27" y="104"/>
                  </a:cubicBezTo>
                  <a:cubicBezTo>
                    <a:pt x="27" y="105"/>
                    <a:pt x="27" y="106"/>
                    <a:pt x="27" y="106"/>
                  </a:cubicBezTo>
                  <a:cubicBezTo>
                    <a:pt x="27" y="107"/>
                    <a:pt x="27" y="107"/>
                    <a:pt x="27" y="108"/>
                  </a:cubicBezTo>
                  <a:cubicBezTo>
                    <a:pt x="27" y="108"/>
                    <a:pt x="27" y="108"/>
                    <a:pt x="27" y="108"/>
                  </a:cubicBezTo>
                  <a:cubicBezTo>
                    <a:pt x="27" y="109"/>
                    <a:pt x="27" y="109"/>
                    <a:pt x="27" y="110"/>
                  </a:cubicBezTo>
                  <a:lnTo>
                    <a:pt x="0" y="127"/>
                  </a:lnTo>
                  <a:lnTo>
                    <a:pt x="16" y="167"/>
                  </a:lnTo>
                  <a:lnTo>
                    <a:pt x="48" y="160"/>
                  </a:lnTo>
                  <a:cubicBezTo>
                    <a:pt x="49" y="162"/>
                    <a:pt x="51" y="163"/>
                    <a:pt x="53" y="165"/>
                  </a:cubicBezTo>
                  <a:lnTo>
                    <a:pt x="46" y="196"/>
                  </a:lnTo>
                  <a:lnTo>
                    <a:pt x="86" y="213"/>
                  </a:lnTo>
                  <a:lnTo>
                    <a:pt x="103" y="186"/>
                  </a:lnTo>
                  <a:cubicBezTo>
                    <a:pt x="103" y="186"/>
                    <a:pt x="104" y="186"/>
                    <a:pt x="105" y="186"/>
                  </a:cubicBezTo>
                  <a:cubicBezTo>
                    <a:pt x="105" y="186"/>
                    <a:pt x="106" y="186"/>
                    <a:pt x="106" y="186"/>
                  </a:cubicBezTo>
                  <a:cubicBezTo>
                    <a:pt x="107" y="186"/>
                    <a:pt x="108" y="186"/>
                    <a:pt x="108" y="186"/>
                  </a:cubicBezTo>
                  <a:cubicBezTo>
                    <a:pt x="109" y="186"/>
                    <a:pt x="110" y="186"/>
                    <a:pt x="110" y="186"/>
                  </a:cubicBezTo>
                  <a:lnTo>
                    <a:pt x="127" y="213"/>
                  </a:lnTo>
                  <a:lnTo>
                    <a:pt x="167" y="196"/>
                  </a:lnTo>
                  <a:lnTo>
                    <a:pt x="160" y="165"/>
                  </a:lnTo>
                  <a:cubicBezTo>
                    <a:pt x="162" y="163"/>
                    <a:pt x="164" y="162"/>
                    <a:pt x="165" y="160"/>
                  </a:cubicBezTo>
                  <a:lnTo>
                    <a:pt x="196" y="167"/>
                  </a:lnTo>
                  <a:lnTo>
                    <a:pt x="213" y="127"/>
                  </a:lnTo>
                  <a:lnTo>
                    <a:pt x="186" y="110"/>
                  </a:lnTo>
                  <a:cubicBezTo>
                    <a:pt x="186" y="109"/>
                    <a:pt x="186" y="109"/>
                    <a:pt x="186" y="108"/>
                  </a:cubicBezTo>
                  <a:cubicBezTo>
                    <a:pt x="186" y="108"/>
                    <a:pt x="186" y="107"/>
                    <a:pt x="186" y="107"/>
                  </a:cubicBezTo>
                  <a:cubicBezTo>
                    <a:pt x="186" y="107"/>
                    <a:pt x="186" y="106"/>
                    <a:pt x="186" y="106"/>
                  </a:cubicBezTo>
                  <a:cubicBezTo>
                    <a:pt x="186" y="106"/>
                    <a:pt x="186" y="105"/>
                    <a:pt x="186" y="104"/>
                  </a:cubicBezTo>
                  <a:cubicBezTo>
                    <a:pt x="186" y="104"/>
                    <a:pt x="186" y="103"/>
                    <a:pt x="186" y="102"/>
                  </a:cubicBezTo>
                  <a:lnTo>
                    <a:pt x="211" y="87"/>
                  </a:lnTo>
                  <a:cubicBezTo>
                    <a:pt x="211" y="86"/>
                    <a:pt x="212" y="84"/>
                    <a:pt x="212" y="83"/>
                  </a:cubicBezTo>
                  <a:close/>
                </a:path>
              </a:pathLst>
            </a:custGeom>
            <a:solidFill>
              <a:schemeClr val="tx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14" tIns="45706" rIns="91414" bIns="45706" numCol="1" anchor="t" anchorCtr="0" compatLnSpc="1">
              <a:prstTxWarp prst="textNoShape">
                <a:avLst/>
              </a:prstTxWarp>
            </a:bodyPr>
            <a:lstStyle/>
            <a:p>
              <a:pPr defTabSz="914016">
                <a:defRPr/>
              </a:pPr>
              <a:endParaRPr lang="en-US" sz="1765">
                <a:solidFill>
                  <a:srgbClr val="1A1A1A"/>
                </a:solidFill>
                <a:latin typeface="Segoe UI"/>
              </a:endParaRPr>
            </a:p>
          </p:txBody>
        </p:sp>
        <p:sp>
          <p:nvSpPr>
            <p:cNvPr id="25" name="Freeform 17">
              <a:extLst>
                <a:ext uri="{FF2B5EF4-FFF2-40B4-BE49-F238E27FC236}">
                  <a16:creationId xmlns:a16="http://schemas.microsoft.com/office/drawing/2014/main" id="{EDB27DE5-9079-42B5-9A46-56DA2B837A40}"/>
                </a:ext>
              </a:extLst>
            </p:cNvPr>
            <p:cNvSpPr>
              <a:spLocks/>
            </p:cNvSpPr>
            <p:nvPr/>
          </p:nvSpPr>
          <p:spPr bwMode="auto">
            <a:xfrm>
              <a:off x="1753" y="2681"/>
              <a:ext cx="38" cy="39"/>
            </a:xfrm>
            <a:custGeom>
              <a:avLst/>
              <a:gdLst>
                <a:gd name="T0" fmla="*/ 21 w 25"/>
                <a:gd name="T1" fmla="*/ 4 h 26"/>
                <a:gd name="T2" fmla="*/ 21 w 25"/>
                <a:gd name="T3" fmla="*/ 4 h 26"/>
                <a:gd name="T4" fmla="*/ 17 w 25"/>
                <a:gd name="T5" fmla="*/ 1 h 26"/>
                <a:gd name="T6" fmla="*/ 12 w 25"/>
                <a:gd name="T7" fmla="*/ 0 h 26"/>
                <a:gd name="T8" fmla="*/ 8 w 25"/>
                <a:gd name="T9" fmla="*/ 1 h 26"/>
                <a:gd name="T10" fmla="*/ 3 w 25"/>
                <a:gd name="T11" fmla="*/ 4 h 26"/>
                <a:gd name="T12" fmla="*/ 1 w 25"/>
                <a:gd name="T13" fmla="*/ 8 h 26"/>
                <a:gd name="T14" fmla="*/ 0 w 25"/>
                <a:gd name="T15" fmla="*/ 13 h 26"/>
                <a:gd name="T16" fmla="*/ 0 w 25"/>
                <a:gd name="T17" fmla="*/ 15 h 26"/>
                <a:gd name="T18" fmla="*/ 1 w 25"/>
                <a:gd name="T19" fmla="*/ 18 h 26"/>
                <a:gd name="T20" fmla="*/ 3 w 25"/>
                <a:gd name="T21" fmla="*/ 22 h 26"/>
                <a:gd name="T22" fmla="*/ 8 w 25"/>
                <a:gd name="T23" fmla="*/ 25 h 26"/>
                <a:gd name="T24" fmla="*/ 12 w 25"/>
                <a:gd name="T25" fmla="*/ 26 h 26"/>
                <a:gd name="T26" fmla="*/ 17 w 25"/>
                <a:gd name="T27" fmla="*/ 25 h 26"/>
                <a:gd name="T28" fmla="*/ 21 w 25"/>
                <a:gd name="T29" fmla="*/ 22 h 26"/>
                <a:gd name="T30" fmla="*/ 24 w 25"/>
                <a:gd name="T31" fmla="*/ 18 h 26"/>
                <a:gd name="T32" fmla="*/ 25 w 25"/>
                <a:gd name="T33" fmla="*/ 15 h 26"/>
                <a:gd name="T34" fmla="*/ 25 w 25"/>
                <a:gd name="T35" fmla="*/ 13 h 26"/>
                <a:gd name="T36" fmla="*/ 24 w 25"/>
                <a:gd name="T37" fmla="*/ 8 h 26"/>
                <a:gd name="T38" fmla="*/ 21 w 25"/>
                <a:gd name="T39" fmla="*/ 4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25" h="26">
                  <a:moveTo>
                    <a:pt x="21" y="4"/>
                  </a:moveTo>
                  <a:lnTo>
                    <a:pt x="21" y="4"/>
                  </a:lnTo>
                  <a:cubicBezTo>
                    <a:pt x="20" y="3"/>
                    <a:pt x="19" y="2"/>
                    <a:pt x="17" y="1"/>
                  </a:cubicBezTo>
                  <a:cubicBezTo>
                    <a:pt x="16" y="1"/>
                    <a:pt x="14" y="0"/>
                    <a:pt x="12" y="0"/>
                  </a:cubicBezTo>
                  <a:cubicBezTo>
                    <a:pt x="11" y="0"/>
                    <a:pt x="9" y="1"/>
                    <a:pt x="8" y="1"/>
                  </a:cubicBezTo>
                  <a:cubicBezTo>
                    <a:pt x="6" y="2"/>
                    <a:pt x="5" y="3"/>
                    <a:pt x="3" y="4"/>
                  </a:cubicBezTo>
                  <a:cubicBezTo>
                    <a:pt x="2" y="5"/>
                    <a:pt x="1" y="7"/>
                    <a:pt x="1" y="8"/>
                  </a:cubicBezTo>
                  <a:cubicBezTo>
                    <a:pt x="0" y="10"/>
                    <a:pt x="0" y="11"/>
                    <a:pt x="0" y="13"/>
                  </a:cubicBezTo>
                  <a:cubicBezTo>
                    <a:pt x="0" y="14"/>
                    <a:pt x="0" y="14"/>
                    <a:pt x="0" y="15"/>
                  </a:cubicBezTo>
                  <a:cubicBezTo>
                    <a:pt x="0" y="16"/>
                    <a:pt x="0" y="17"/>
                    <a:pt x="1" y="18"/>
                  </a:cubicBezTo>
                  <a:cubicBezTo>
                    <a:pt x="1" y="20"/>
                    <a:pt x="2" y="21"/>
                    <a:pt x="3" y="22"/>
                  </a:cubicBezTo>
                  <a:cubicBezTo>
                    <a:pt x="5" y="23"/>
                    <a:pt x="6" y="24"/>
                    <a:pt x="8" y="25"/>
                  </a:cubicBezTo>
                  <a:cubicBezTo>
                    <a:pt x="9" y="26"/>
                    <a:pt x="11" y="26"/>
                    <a:pt x="12" y="26"/>
                  </a:cubicBezTo>
                  <a:cubicBezTo>
                    <a:pt x="14" y="26"/>
                    <a:pt x="16" y="26"/>
                    <a:pt x="17" y="25"/>
                  </a:cubicBezTo>
                  <a:cubicBezTo>
                    <a:pt x="19" y="24"/>
                    <a:pt x="20" y="23"/>
                    <a:pt x="21" y="22"/>
                  </a:cubicBezTo>
                  <a:cubicBezTo>
                    <a:pt x="23" y="21"/>
                    <a:pt x="24" y="20"/>
                    <a:pt x="24" y="18"/>
                  </a:cubicBezTo>
                  <a:cubicBezTo>
                    <a:pt x="25" y="17"/>
                    <a:pt x="25" y="16"/>
                    <a:pt x="25" y="15"/>
                  </a:cubicBezTo>
                  <a:cubicBezTo>
                    <a:pt x="25" y="14"/>
                    <a:pt x="25" y="14"/>
                    <a:pt x="25" y="13"/>
                  </a:cubicBezTo>
                  <a:cubicBezTo>
                    <a:pt x="25" y="11"/>
                    <a:pt x="25" y="10"/>
                    <a:pt x="24" y="8"/>
                  </a:cubicBezTo>
                  <a:cubicBezTo>
                    <a:pt x="24" y="7"/>
                    <a:pt x="23" y="5"/>
                    <a:pt x="21" y="4"/>
                  </a:cubicBezTo>
                  <a:close/>
                </a:path>
              </a:pathLst>
            </a:custGeom>
            <a:solidFill>
              <a:srgbClr val="0078D4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14" tIns="45706" rIns="91414" bIns="45706" numCol="1" anchor="t" anchorCtr="0" compatLnSpc="1">
              <a:prstTxWarp prst="textNoShape">
                <a:avLst/>
              </a:prstTxWarp>
            </a:bodyPr>
            <a:lstStyle/>
            <a:p>
              <a:pPr defTabSz="914016">
                <a:defRPr/>
              </a:pPr>
              <a:endParaRPr lang="en-US" sz="1765">
                <a:solidFill>
                  <a:srgbClr val="1A1A1A"/>
                </a:solidFill>
                <a:latin typeface="Segoe UI"/>
              </a:endParaRPr>
            </a:p>
          </p:txBody>
        </p:sp>
      </p:grpSp>
      <p:grpSp>
        <p:nvGrpSpPr>
          <p:cNvPr id="26" name="Group 25">
            <a:extLst>
              <a:ext uri="{FF2B5EF4-FFF2-40B4-BE49-F238E27FC236}">
                <a16:creationId xmlns:a16="http://schemas.microsoft.com/office/drawing/2014/main" id="{2EE889BD-F530-4881-8050-B1611A26055C}"/>
              </a:ext>
            </a:extLst>
          </p:cNvPr>
          <p:cNvGrpSpPr/>
          <p:nvPr/>
        </p:nvGrpSpPr>
        <p:grpSpPr>
          <a:xfrm>
            <a:off x="2511374" y="4734619"/>
            <a:ext cx="1322884" cy="578051"/>
            <a:chOff x="1671603" y="4900917"/>
            <a:chExt cx="1323259" cy="578215"/>
          </a:xfrm>
        </p:grpSpPr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4F509B40-7AC1-459F-8721-026834B9E3BE}"/>
                </a:ext>
              </a:extLst>
            </p:cNvPr>
            <p:cNvGrpSpPr/>
            <p:nvPr/>
          </p:nvGrpSpPr>
          <p:grpSpPr>
            <a:xfrm>
              <a:off x="1671603" y="4900917"/>
              <a:ext cx="627183" cy="578215"/>
              <a:chOff x="2501959" y="5037105"/>
              <a:chExt cx="627183" cy="578215"/>
            </a:xfrm>
          </p:grpSpPr>
          <p:sp>
            <p:nvSpPr>
              <p:cNvPr id="34" name="Freeform 5">
                <a:extLst>
                  <a:ext uri="{FF2B5EF4-FFF2-40B4-BE49-F238E27FC236}">
                    <a16:creationId xmlns:a16="http://schemas.microsoft.com/office/drawing/2014/main" id="{106C5096-2551-4FF8-B4B8-589FE87B17E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01959" y="5037105"/>
                <a:ext cx="627183" cy="578215"/>
              </a:xfrm>
              <a:custGeom>
                <a:avLst/>
                <a:gdLst>
                  <a:gd name="T0" fmla="*/ 0 w 426"/>
                  <a:gd name="T1" fmla="*/ 12 h 333"/>
                  <a:gd name="T2" fmla="*/ 0 w 426"/>
                  <a:gd name="T3" fmla="*/ 12 h 333"/>
                  <a:gd name="T4" fmla="*/ 0 w 426"/>
                  <a:gd name="T5" fmla="*/ 255 h 333"/>
                  <a:gd name="T6" fmla="*/ 12 w 426"/>
                  <a:gd name="T7" fmla="*/ 268 h 333"/>
                  <a:gd name="T8" fmla="*/ 195 w 426"/>
                  <a:gd name="T9" fmla="*/ 268 h 333"/>
                  <a:gd name="T10" fmla="*/ 195 w 426"/>
                  <a:gd name="T11" fmla="*/ 306 h 333"/>
                  <a:gd name="T12" fmla="*/ 130 w 426"/>
                  <a:gd name="T13" fmla="*/ 306 h 333"/>
                  <a:gd name="T14" fmla="*/ 130 w 426"/>
                  <a:gd name="T15" fmla="*/ 333 h 333"/>
                  <a:gd name="T16" fmla="*/ 293 w 426"/>
                  <a:gd name="T17" fmla="*/ 333 h 333"/>
                  <a:gd name="T18" fmla="*/ 293 w 426"/>
                  <a:gd name="T19" fmla="*/ 306 h 333"/>
                  <a:gd name="T20" fmla="*/ 228 w 426"/>
                  <a:gd name="T21" fmla="*/ 306 h 333"/>
                  <a:gd name="T22" fmla="*/ 228 w 426"/>
                  <a:gd name="T23" fmla="*/ 268 h 333"/>
                  <a:gd name="T24" fmla="*/ 413 w 426"/>
                  <a:gd name="T25" fmla="*/ 268 h 333"/>
                  <a:gd name="T26" fmla="*/ 426 w 426"/>
                  <a:gd name="T27" fmla="*/ 255 h 333"/>
                  <a:gd name="T28" fmla="*/ 426 w 426"/>
                  <a:gd name="T29" fmla="*/ 12 h 333"/>
                  <a:gd name="T30" fmla="*/ 413 w 426"/>
                  <a:gd name="T31" fmla="*/ 0 h 333"/>
                  <a:gd name="T32" fmla="*/ 12 w 426"/>
                  <a:gd name="T33" fmla="*/ 0 h 333"/>
                  <a:gd name="T34" fmla="*/ 0 w 426"/>
                  <a:gd name="T35" fmla="*/ 12 h 3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426" h="333">
                    <a:moveTo>
                      <a:pt x="0" y="12"/>
                    </a:moveTo>
                    <a:lnTo>
                      <a:pt x="0" y="12"/>
                    </a:lnTo>
                    <a:lnTo>
                      <a:pt x="0" y="255"/>
                    </a:lnTo>
                    <a:cubicBezTo>
                      <a:pt x="0" y="262"/>
                      <a:pt x="5" y="268"/>
                      <a:pt x="12" y="268"/>
                    </a:cubicBezTo>
                    <a:lnTo>
                      <a:pt x="195" y="268"/>
                    </a:lnTo>
                    <a:lnTo>
                      <a:pt x="195" y="306"/>
                    </a:lnTo>
                    <a:lnTo>
                      <a:pt x="130" y="306"/>
                    </a:lnTo>
                    <a:lnTo>
                      <a:pt x="130" y="333"/>
                    </a:lnTo>
                    <a:lnTo>
                      <a:pt x="293" y="333"/>
                    </a:lnTo>
                    <a:lnTo>
                      <a:pt x="293" y="306"/>
                    </a:lnTo>
                    <a:lnTo>
                      <a:pt x="228" y="306"/>
                    </a:lnTo>
                    <a:lnTo>
                      <a:pt x="228" y="268"/>
                    </a:lnTo>
                    <a:lnTo>
                      <a:pt x="413" y="268"/>
                    </a:lnTo>
                    <a:cubicBezTo>
                      <a:pt x="420" y="268"/>
                      <a:pt x="426" y="262"/>
                      <a:pt x="426" y="255"/>
                    </a:cubicBezTo>
                    <a:lnTo>
                      <a:pt x="426" y="12"/>
                    </a:lnTo>
                    <a:cubicBezTo>
                      <a:pt x="426" y="5"/>
                      <a:pt x="420" y="0"/>
                      <a:pt x="413" y="0"/>
                    </a:cubicBezTo>
                    <a:lnTo>
                      <a:pt x="12" y="0"/>
                    </a:lnTo>
                    <a:cubicBezTo>
                      <a:pt x="5" y="0"/>
                      <a:pt x="0" y="5"/>
                      <a:pt x="0" y="12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1905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14" tIns="45706" rIns="91414" bIns="45706" numCol="1" anchor="t" anchorCtr="0" compatLnSpc="1">
                <a:prstTxWarp prst="textNoShape">
                  <a:avLst/>
                </a:prstTxWarp>
              </a:bodyPr>
              <a:lstStyle/>
              <a:p>
                <a:pPr defTabSz="914016">
                  <a:defRPr/>
                </a:pPr>
                <a:endParaRPr lang="en-US" sz="1765">
                  <a:solidFill>
                    <a:srgbClr val="1A1A1A"/>
                  </a:solidFill>
                  <a:latin typeface="Segoe UI"/>
                </a:endParaRPr>
              </a:p>
            </p:txBody>
          </p:sp>
          <p:pic>
            <p:nvPicPr>
              <p:cNvPr id="35" name="Picture 34">
                <a:extLst>
                  <a:ext uri="{FF2B5EF4-FFF2-40B4-BE49-F238E27FC236}">
                    <a16:creationId xmlns:a16="http://schemas.microsoft.com/office/drawing/2014/main" id="{4C4B7162-7B50-4C28-8A1F-6412FC862E3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2667438" y="5132878"/>
                <a:ext cx="279838" cy="302928"/>
              </a:xfrm>
              <a:prstGeom prst="rect">
                <a:avLst/>
              </a:prstGeom>
            </p:spPr>
          </p:pic>
        </p:grpSp>
        <p:grpSp>
          <p:nvGrpSpPr>
            <p:cNvPr id="29" name="Group 28">
              <a:extLst>
                <a:ext uri="{FF2B5EF4-FFF2-40B4-BE49-F238E27FC236}">
                  <a16:creationId xmlns:a16="http://schemas.microsoft.com/office/drawing/2014/main" id="{65AB3586-9AE9-461F-8289-D8A2B226EC08}"/>
                </a:ext>
              </a:extLst>
            </p:cNvPr>
            <p:cNvGrpSpPr/>
            <p:nvPr/>
          </p:nvGrpSpPr>
          <p:grpSpPr>
            <a:xfrm>
              <a:off x="2367679" y="4900917"/>
              <a:ext cx="627183" cy="578215"/>
              <a:chOff x="2501959" y="5037105"/>
              <a:chExt cx="627183" cy="578215"/>
            </a:xfrm>
          </p:grpSpPr>
          <p:sp>
            <p:nvSpPr>
              <p:cNvPr id="30" name="Freeform 5">
                <a:extLst>
                  <a:ext uri="{FF2B5EF4-FFF2-40B4-BE49-F238E27FC236}">
                    <a16:creationId xmlns:a16="http://schemas.microsoft.com/office/drawing/2014/main" id="{0580E11C-FEE3-4436-B666-F05B6F08398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01959" y="5037105"/>
                <a:ext cx="627183" cy="578215"/>
              </a:xfrm>
              <a:custGeom>
                <a:avLst/>
                <a:gdLst>
                  <a:gd name="T0" fmla="*/ 0 w 426"/>
                  <a:gd name="T1" fmla="*/ 12 h 333"/>
                  <a:gd name="T2" fmla="*/ 0 w 426"/>
                  <a:gd name="T3" fmla="*/ 12 h 333"/>
                  <a:gd name="T4" fmla="*/ 0 w 426"/>
                  <a:gd name="T5" fmla="*/ 255 h 333"/>
                  <a:gd name="T6" fmla="*/ 12 w 426"/>
                  <a:gd name="T7" fmla="*/ 268 h 333"/>
                  <a:gd name="T8" fmla="*/ 195 w 426"/>
                  <a:gd name="T9" fmla="*/ 268 h 333"/>
                  <a:gd name="T10" fmla="*/ 195 w 426"/>
                  <a:gd name="T11" fmla="*/ 306 h 333"/>
                  <a:gd name="T12" fmla="*/ 130 w 426"/>
                  <a:gd name="T13" fmla="*/ 306 h 333"/>
                  <a:gd name="T14" fmla="*/ 130 w 426"/>
                  <a:gd name="T15" fmla="*/ 333 h 333"/>
                  <a:gd name="T16" fmla="*/ 293 w 426"/>
                  <a:gd name="T17" fmla="*/ 333 h 333"/>
                  <a:gd name="T18" fmla="*/ 293 w 426"/>
                  <a:gd name="T19" fmla="*/ 306 h 333"/>
                  <a:gd name="T20" fmla="*/ 228 w 426"/>
                  <a:gd name="T21" fmla="*/ 306 h 333"/>
                  <a:gd name="T22" fmla="*/ 228 w 426"/>
                  <a:gd name="T23" fmla="*/ 268 h 333"/>
                  <a:gd name="T24" fmla="*/ 413 w 426"/>
                  <a:gd name="T25" fmla="*/ 268 h 333"/>
                  <a:gd name="T26" fmla="*/ 426 w 426"/>
                  <a:gd name="T27" fmla="*/ 255 h 333"/>
                  <a:gd name="T28" fmla="*/ 426 w 426"/>
                  <a:gd name="T29" fmla="*/ 12 h 333"/>
                  <a:gd name="T30" fmla="*/ 413 w 426"/>
                  <a:gd name="T31" fmla="*/ 0 h 333"/>
                  <a:gd name="T32" fmla="*/ 12 w 426"/>
                  <a:gd name="T33" fmla="*/ 0 h 333"/>
                  <a:gd name="T34" fmla="*/ 0 w 426"/>
                  <a:gd name="T35" fmla="*/ 12 h 3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426" h="333">
                    <a:moveTo>
                      <a:pt x="0" y="12"/>
                    </a:moveTo>
                    <a:lnTo>
                      <a:pt x="0" y="12"/>
                    </a:lnTo>
                    <a:lnTo>
                      <a:pt x="0" y="255"/>
                    </a:lnTo>
                    <a:cubicBezTo>
                      <a:pt x="0" y="262"/>
                      <a:pt x="5" y="268"/>
                      <a:pt x="12" y="268"/>
                    </a:cubicBezTo>
                    <a:lnTo>
                      <a:pt x="195" y="268"/>
                    </a:lnTo>
                    <a:lnTo>
                      <a:pt x="195" y="306"/>
                    </a:lnTo>
                    <a:lnTo>
                      <a:pt x="130" y="306"/>
                    </a:lnTo>
                    <a:lnTo>
                      <a:pt x="130" y="333"/>
                    </a:lnTo>
                    <a:lnTo>
                      <a:pt x="293" y="333"/>
                    </a:lnTo>
                    <a:lnTo>
                      <a:pt x="293" y="306"/>
                    </a:lnTo>
                    <a:lnTo>
                      <a:pt x="228" y="306"/>
                    </a:lnTo>
                    <a:lnTo>
                      <a:pt x="228" y="268"/>
                    </a:lnTo>
                    <a:lnTo>
                      <a:pt x="413" y="268"/>
                    </a:lnTo>
                    <a:cubicBezTo>
                      <a:pt x="420" y="268"/>
                      <a:pt x="426" y="262"/>
                      <a:pt x="426" y="255"/>
                    </a:cubicBezTo>
                    <a:lnTo>
                      <a:pt x="426" y="12"/>
                    </a:lnTo>
                    <a:cubicBezTo>
                      <a:pt x="426" y="5"/>
                      <a:pt x="420" y="0"/>
                      <a:pt x="413" y="0"/>
                    </a:cubicBezTo>
                    <a:lnTo>
                      <a:pt x="12" y="0"/>
                    </a:lnTo>
                    <a:cubicBezTo>
                      <a:pt x="5" y="0"/>
                      <a:pt x="0" y="5"/>
                      <a:pt x="0" y="12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1905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14" tIns="45706" rIns="91414" bIns="45706" numCol="1" anchor="t" anchorCtr="0" compatLnSpc="1">
                <a:prstTxWarp prst="textNoShape">
                  <a:avLst/>
                </a:prstTxWarp>
              </a:bodyPr>
              <a:lstStyle/>
              <a:p>
                <a:pPr defTabSz="914016">
                  <a:defRPr/>
                </a:pPr>
                <a:endParaRPr lang="en-US" sz="1765">
                  <a:solidFill>
                    <a:srgbClr val="1A1A1A"/>
                  </a:solidFill>
                  <a:latin typeface="Segoe UI"/>
                </a:endParaRPr>
              </a:p>
            </p:txBody>
          </p:sp>
          <p:pic>
            <p:nvPicPr>
              <p:cNvPr id="31" name="Picture 30">
                <a:extLst>
                  <a:ext uri="{FF2B5EF4-FFF2-40B4-BE49-F238E27FC236}">
                    <a16:creationId xmlns:a16="http://schemas.microsoft.com/office/drawing/2014/main" id="{72A11EB0-80BF-46A5-8543-9D494ACF037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2681505" y="5132878"/>
                <a:ext cx="256062" cy="275758"/>
              </a:xfrm>
              <a:prstGeom prst="rect">
                <a:avLst/>
              </a:prstGeom>
            </p:spPr>
          </p:pic>
        </p:grpSp>
      </p:grpSp>
      <p:sp>
        <p:nvSpPr>
          <p:cNvPr id="51" name="Text Placeholder 4">
            <a:extLst>
              <a:ext uri="{FF2B5EF4-FFF2-40B4-BE49-F238E27FC236}">
                <a16:creationId xmlns:a16="http://schemas.microsoft.com/office/drawing/2014/main" id="{CA1426B1-F541-43D0-B30C-00CB61A270EE}"/>
              </a:ext>
            </a:extLst>
          </p:cNvPr>
          <p:cNvSpPr txBox="1">
            <a:spLocks/>
          </p:cNvSpPr>
          <p:nvPr/>
        </p:nvSpPr>
        <p:spPr>
          <a:xfrm>
            <a:off x="7035512" y="1126575"/>
            <a:ext cx="4309369" cy="5144564"/>
          </a:xfrm>
          <a:prstGeom prst="rect">
            <a:avLst/>
          </a:prstGeom>
        </p:spPr>
        <p:txBody>
          <a:bodyPr/>
          <a:lstStyle>
            <a:lvl1pPr marL="228600" marR="0" indent="-22860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28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defRPr>
            </a:lvl1pPr>
            <a:lvl2pPr marL="457200" marR="0" indent="-22860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20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657225" marR="0" indent="-20002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16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842963" marR="0" indent="-18097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14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1023938" marR="0" indent="-16827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14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896181" fontAlgn="base">
              <a:spcBef>
                <a:spcPct val="0"/>
              </a:spcBef>
              <a:spcAft>
                <a:spcPct val="0"/>
              </a:spcAft>
              <a:buSzTx/>
              <a:buNone/>
            </a:pPr>
            <a:r>
              <a:rPr lang="en-US" altLang="en-US" sz="1961" dirty="0">
                <a:solidFill>
                  <a:schemeClr val="tx2"/>
                </a:solidFill>
                <a:latin typeface="Segoe UI"/>
              </a:rPr>
              <a:t>Configure</a:t>
            </a:r>
            <a:r>
              <a:rPr lang="en-US" altLang="en-US" sz="1961" dirty="0">
                <a:gradFill>
                  <a:gsLst>
                    <a:gs pos="2917">
                      <a:srgbClr val="1A1A1A"/>
                    </a:gs>
                    <a:gs pos="30000">
                      <a:srgbClr val="1A1A1A"/>
                    </a:gs>
                  </a:gsLst>
                  <a:lin ang="5400000" scaled="0"/>
                </a:gradFill>
                <a:latin typeface="Segoe UI"/>
              </a:rPr>
              <a:t> Azure Log Analytics and Service Map with Azure Migrate project</a:t>
            </a:r>
          </a:p>
          <a:p>
            <a:pPr marL="0" indent="0" defTabSz="896181" fontAlgn="base">
              <a:spcBef>
                <a:spcPct val="0"/>
              </a:spcBef>
              <a:spcAft>
                <a:spcPct val="0"/>
              </a:spcAft>
              <a:buSzTx/>
              <a:buNone/>
            </a:pPr>
            <a:endParaRPr lang="en-US" altLang="en-US" sz="1961" dirty="0">
              <a:gradFill>
                <a:gsLst>
                  <a:gs pos="2917">
                    <a:srgbClr val="1A1A1A"/>
                  </a:gs>
                  <a:gs pos="30000">
                    <a:srgbClr val="1A1A1A"/>
                  </a:gs>
                </a:gsLst>
                <a:lin ang="5400000" scaled="0"/>
              </a:gradFill>
              <a:latin typeface="Segoe UI"/>
            </a:endParaRPr>
          </a:p>
          <a:p>
            <a:pPr marL="0" indent="0" defTabSz="896181" fontAlgn="base">
              <a:spcBef>
                <a:spcPct val="0"/>
              </a:spcBef>
              <a:spcAft>
                <a:spcPct val="0"/>
              </a:spcAft>
              <a:buSzTx/>
              <a:buNone/>
            </a:pPr>
            <a:r>
              <a:rPr lang="en-US" altLang="en-US" sz="1961" dirty="0">
                <a:solidFill>
                  <a:schemeClr val="tx2"/>
                </a:solidFill>
                <a:latin typeface="Segoe UI"/>
              </a:rPr>
              <a:t>Deploy</a:t>
            </a:r>
            <a:r>
              <a:rPr lang="en-US" altLang="en-US" sz="1961" dirty="0">
                <a:gradFill>
                  <a:gsLst>
                    <a:gs pos="2917">
                      <a:srgbClr val="1A1A1A"/>
                    </a:gs>
                    <a:gs pos="30000">
                      <a:srgbClr val="1A1A1A"/>
                    </a:gs>
                  </a:gsLst>
                  <a:lin ang="5400000" scaled="0"/>
                </a:gradFill>
                <a:latin typeface="Segoe UI"/>
              </a:rPr>
              <a:t> Microsoft Monitoring Agent (MMA) and dependency agent on source servers</a:t>
            </a:r>
          </a:p>
          <a:p>
            <a:pPr marL="448107" indent="-448107" defTabSz="896181" fontAlgn="base">
              <a:spcBef>
                <a:spcPct val="0"/>
              </a:spcBef>
              <a:spcAft>
                <a:spcPct val="0"/>
              </a:spcAft>
              <a:buSzTx/>
              <a:buFont typeface="+mj-lt"/>
              <a:buAutoNum type="arabicPeriod"/>
            </a:pPr>
            <a:endParaRPr lang="en-US" altLang="en-US" sz="1961" dirty="0">
              <a:gradFill>
                <a:gsLst>
                  <a:gs pos="2917">
                    <a:srgbClr val="1A1A1A"/>
                  </a:gs>
                  <a:gs pos="30000">
                    <a:srgbClr val="1A1A1A"/>
                  </a:gs>
                </a:gsLst>
                <a:lin ang="5400000" scaled="0"/>
              </a:gradFill>
              <a:latin typeface="Segoe UI"/>
            </a:endParaRPr>
          </a:p>
          <a:p>
            <a:pPr marL="0" indent="0" defTabSz="896181" fontAlgn="base">
              <a:spcBef>
                <a:spcPct val="0"/>
              </a:spcBef>
              <a:spcAft>
                <a:spcPct val="0"/>
              </a:spcAft>
              <a:buSzTx/>
              <a:buNone/>
            </a:pPr>
            <a:r>
              <a:rPr lang="en-US" altLang="en-US" sz="1961" dirty="0">
                <a:solidFill>
                  <a:schemeClr val="tx2"/>
                </a:solidFill>
                <a:latin typeface="Segoe UI"/>
              </a:rPr>
              <a:t>Agents send dependency information </a:t>
            </a:r>
            <a:r>
              <a:rPr lang="en-US" altLang="en-US" sz="1961" dirty="0">
                <a:gradFill>
                  <a:gsLst>
                    <a:gs pos="2917">
                      <a:srgbClr val="1A1A1A"/>
                    </a:gs>
                    <a:gs pos="30000">
                      <a:srgbClr val="1A1A1A"/>
                    </a:gs>
                  </a:gsLst>
                  <a:lin ang="5400000" scaled="0"/>
                </a:gradFill>
                <a:latin typeface="Segoe UI"/>
              </a:rPr>
              <a:t>from Windows and Linux servers to Log Analytics workspace linked to Azure Migrate Project</a:t>
            </a:r>
          </a:p>
          <a:p>
            <a:pPr marL="448107" indent="-448107" defTabSz="896181" fontAlgn="base">
              <a:spcBef>
                <a:spcPct val="0"/>
              </a:spcBef>
              <a:spcAft>
                <a:spcPct val="0"/>
              </a:spcAft>
              <a:buSzTx/>
              <a:buFont typeface="+mj-lt"/>
              <a:buAutoNum type="arabicPeriod"/>
            </a:pPr>
            <a:endParaRPr lang="en-US" altLang="en-US" sz="1961" dirty="0">
              <a:gradFill>
                <a:gsLst>
                  <a:gs pos="2917">
                    <a:srgbClr val="1A1A1A"/>
                  </a:gs>
                  <a:gs pos="30000">
                    <a:srgbClr val="1A1A1A"/>
                  </a:gs>
                </a:gsLst>
                <a:lin ang="5400000" scaled="0"/>
              </a:gradFill>
              <a:latin typeface="Segoe UI"/>
            </a:endParaRPr>
          </a:p>
          <a:p>
            <a:pPr marL="0" indent="0" defTabSz="896181" fontAlgn="base">
              <a:spcBef>
                <a:spcPct val="0"/>
              </a:spcBef>
              <a:spcAft>
                <a:spcPct val="0"/>
              </a:spcAft>
              <a:buSzTx/>
              <a:buNone/>
            </a:pPr>
            <a:r>
              <a:rPr lang="en-US" altLang="en-US" sz="1961" dirty="0">
                <a:solidFill>
                  <a:schemeClr val="tx2"/>
                </a:solidFill>
                <a:latin typeface="Segoe UI"/>
              </a:rPr>
              <a:t>View</a:t>
            </a:r>
            <a:r>
              <a:rPr lang="en-US" altLang="en-US" sz="1961" dirty="0">
                <a:gradFill>
                  <a:gsLst>
                    <a:gs pos="2917">
                      <a:srgbClr val="1A1A1A"/>
                    </a:gs>
                    <a:gs pos="30000">
                      <a:srgbClr val="1A1A1A"/>
                    </a:gs>
                  </a:gsLst>
                  <a:lin ang="5400000" scaled="0"/>
                </a:gradFill>
                <a:latin typeface="Segoe UI"/>
              </a:rPr>
              <a:t> dependencies across servers</a:t>
            </a:r>
          </a:p>
          <a:p>
            <a:pPr marL="228556" indent="-228556" defTabSz="932563"/>
            <a:endParaRPr lang="en-US" sz="3529" dirty="0">
              <a:gradFill>
                <a:gsLst>
                  <a:gs pos="125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</a:endParaRP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6E9B4347-37B4-42CB-9150-2F561058EBCA}"/>
              </a:ext>
            </a:extLst>
          </p:cNvPr>
          <p:cNvSpPr txBox="1">
            <a:spLocks/>
          </p:cNvSpPr>
          <p:nvPr/>
        </p:nvSpPr>
        <p:spPr>
          <a:xfrm>
            <a:off x="589928" y="1661780"/>
            <a:ext cx="11015394" cy="553841"/>
          </a:xfrm>
          <a:prstGeom prst="rect">
            <a:avLst/>
          </a:prstGeom>
        </p:spPr>
        <p:txBody>
          <a:bodyPr vert="horz" wrap="square" lIns="0" tIns="89630" rIns="143407" bIns="89630" rtlCol="0" anchor="t">
            <a:noAutofit/>
          </a:bodyPr>
          <a:lstStyle>
            <a:lvl1pPr algn="l" defTabSz="93256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800" b="0" kern="1200" cap="none" spc="-50" baseline="0" dirty="0" smtClean="0">
                <a:ln w="3175">
                  <a:noFill/>
                </a:ln>
                <a:solidFill>
                  <a:srgbClr val="000000"/>
                </a:soli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defTabSz="932384"/>
            <a:endParaRPr lang="en-US" sz="2745" dirty="0">
              <a:latin typeface="Segoe UI"/>
            </a:endParaRPr>
          </a:p>
        </p:txBody>
      </p: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529EAAEE-CD07-41B7-A147-1BDB464F829E}"/>
              </a:ext>
            </a:extLst>
          </p:cNvPr>
          <p:cNvCxnSpPr>
            <a:cxnSpLocks/>
          </p:cNvCxnSpPr>
          <p:nvPr/>
        </p:nvCxnSpPr>
        <p:spPr>
          <a:xfrm>
            <a:off x="7035513" y="2251489"/>
            <a:ext cx="4592072" cy="0"/>
          </a:xfrm>
          <a:prstGeom prst="line">
            <a:avLst/>
          </a:prstGeom>
          <a:noFill/>
          <a:ln w="12700" cap="flat" cmpd="sng" algn="ctr">
            <a:solidFill>
              <a:schemeClr val="bg1">
                <a:lumMod val="75000"/>
              </a:schemeClr>
            </a:solidFill>
            <a:prstDash val="solid"/>
            <a:headEnd type="none"/>
            <a:tailEnd type="none"/>
          </a:ln>
          <a:effectLst/>
        </p:spPr>
      </p:cxnSp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id="{3EA52B32-733B-E643-A63C-3CABCBA364F2}"/>
              </a:ext>
            </a:extLst>
          </p:cNvPr>
          <p:cNvCxnSpPr>
            <a:cxnSpLocks/>
          </p:cNvCxnSpPr>
          <p:nvPr/>
        </p:nvCxnSpPr>
        <p:spPr>
          <a:xfrm>
            <a:off x="7035513" y="3429000"/>
            <a:ext cx="4592072" cy="0"/>
          </a:xfrm>
          <a:prstGeom prst="line">
            <a:avLst/>
          </a:prstGeom>
          <a:noFill/>
          <a:ln w="12700" cap="flat" cmpd="sng" algn="ctr">
            <a:solidFill>
              <a:schemeClr val="bg1">
                <a:lumMod val="75000"/>
              </a:schemeClr>
            </a:solidFill>
            <a:prstDash val="solid"/>
            <a:headEnd type="none"/>
            <a:tailEnd type="none"/>
          </a:ln>
          <a:effectLst/>
        </p:spPr>
      </p:cxn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4857CD28-3FF1-3D44-95AD-84CD1A8D5F87}"/>
              </a:ext>
            </a:extLst>
          </p:cNvPr>
          <p:cNvCxnSpPr>
            <a:cxnSpLocks/>
          </p:cNvCxnSpPr>
          <p:nvPr/>
        </p:nvCxnSpPr>
        <p:spPr>
          <a:xfrm>
            <a:off x="7035513" y="4913667"/>
            <a:ext cx="4592072" cy="0"/>
          </a:xfrm>
          <a:prstGeom prst="line">
            <a:avLst/>
          </a:prstGeom>
          <a:noFill/>
          <a:ln w="12700" cap="flat" cmpd="sng" algn="ctr">
            <a:solidFill>
              <a:schemeClr val="bg1">
                <a:lumMod val="75000"/>
              </a:schemeClr>
            </a:solidFill>
            <a:prstDash val="solid"/>
            <a:headEnd type="none"/>
            <a:tailEnd type="none"/>
          </a:ln>
          <a:effectLst/>
        </p:spPr>
      </p:cxnSp>
      <p:grpSp>
        <p:nvGrpSpPr>
          <p:cNvPr id="2" name="Graphic 37">
            <a:extLst>
              <a:ext uri="{FF2B5EF4-FFF2-40B4-BE49-F238E27FC236}">
                <a16:creationId xmlns:a16="http://schemas.microsoft.com/office/drawing/2014/main" id="{0F39F789-093E-9E46-8534-A5C4C8A1F698}"/>
              </a:ext>
            </a:extLst>
          </p:cNvPr>
          <p:cNvGrpSpPr/>
          <p:nvPr/>
        </p:nvGrpSpPr>
        <p:grpSpPr>
          <a:xfrm>
            <a:off x="3847800" y="2741113"/>
            <a:ext cx="922124" cy="846360"/>
            <a:chOff x="1726867" y="2839112"/>
            <a:chExt cx="940615" cy="863331"/>
          </a:xfrm>
        </p:grpSpPr>
        <p:sp>
          <p:nvSpPr>
            <p:cNvPr id="4" name="Freeform 3">
              <a:extLst>
                <a:ext uri="{FF2B5EF4-FFF2-40B4-BE49-F238E27FC236}">
                  <a16:creationId xmlns:a16="http://schemas.microsoft.com/office/drawing/2014/main" id="{F0BC73F8-FDFB-3345-8412-BCBEE0AA494D}"/>
                </a:ext>
              </a:extLst>
            </p:cNvPr>
            <p:cNvSpPr/>
            <p:nvPr/>
          </p:nvSpPr>
          <p:spPr>
            <a:xfrm>
              <a:off x="2093988" y="3233414"/>
              <a:ext cx="376866" cy="56417"/>
            </a:xfrm>
            <a:custGeom>
              <a:avLst/>
              <a:gdLst>
                <a:gd name="connsiteX0" fmla="*/ 376867 w 376866"/>
                <a:gd name="connsiteY0" fmla="*/ 0 h 56417"/>
                <a:gd name="connsiteX1" fmla="*/ 376867 w 376866"/>
                <a:gd name="connsiteY1" fmla="*/ 56418 h 56417"/>
                <a:gd name="connsiteX2" fmla="*/ 0 w 376866"/>
                <a:gd name="connsiteY2" fmla="*/ 56418 h 56417"/>
                <a:gd name="connsiteX3" fmla="*/ 0 w 376866"/>
                <a:gd name="connsiteY3" fmla="*/ 0 h 56417"/>
                <a:gd name="connsiteX4" fmla="*/ 376867 w 376866"/>
                <a:gd name="connsiteY4" fmla="*/ 0 h 564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76866" h="56417">
                  <a:moveTo>
                    <a:pt x="376867" y="0"/>
                  </a:moveTo>
                  <a:lnTo>
                    <a:pt x="376867" y="56418"/>
                  </a:lnTo>
                  <a:lnTo>
                    <a:pt x="0" y="56418"/>
                  </a:lnTo>
                  <a:lnTo>
                    <a:pt x="0" y="0"/>
                  </a:lnTo>
                  <a:lnTo>
                    <a:pt x="376867" y="0"/>
                  </a:lnTo>
                  <a:close/>
                </a:path>
              </a:pathLst>
            </a:custGeom>
            <a:solidFill>
              <a:srgbClr val="A0A1A2"/>
            </a:solidFill>
            <a:ln w="1866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6" name="Freeform 5">
              <a:extLst>
                <a:ext uri="{FF2B5EF4-FFF2-40B4-BE49-F238E27FC236}">
                  <a16:creationId xmlns:a16="http://schemas.microsoft.com/office/drawing/2014/main" id="{BEAE53AE-F7A3-CD47-A873-971D3D9DE492}"/>
                </a:ext>
              </a:extLst>
            </p:cNvPr>
            <p:cNvSpPr/>
            <p:nvPr/>
          </p:nvSpPr>
          <p:spPr>
            <a:xfrm>
              <a:off x="2066165" y="2950326"/>
              <a:ext cx="320448" cy="301599"/>
            </a:xfrm>
            <a:custGeom>
              <a:avLst/>
              <a:gdLst>
                <a:gd name="connsiteX0" fmla="*/ 282749 w 320448"/>
                <a:gd name="connsiteY0" fmla="*/ 0 h 301599"/>
                <a:gd name="connsiteX1" fmla="*/ 320449 w 320448"/>
                <a:gd name="connsiteY1" fmla="*/ 0 h 301599"/>
                <a:gd name="connsiteX2" fmla="*/ 320449 w 320448"/>
                <a:gd name="connsiteY2" fmla="*/ 37700 h 301599"/>
                <a:gd name="connsiteX3" fmla="*/ 37700 w 320448"/>
                <a:gd name="connsiteY3" fmla="*/ 301599 h 301599"/>
                <a:gd name="connsiteX4" fmla="*/ 0 w 320448"/>
                <a:gd name="connsiteY4" fmla="*/ 301599 h 301599"/>
                <a:gd name="connsiteX5" fmla="*/ 0 w 320448"/>
                <a:gd name="connsiteY5" fmla="*/ 263899 h 301599"/>
                <a:gd name="connsiteX6" fmla="*/ 282749 w 320448"/>
                <a:gd name="connsiteY6" fmla="*/ 0 h 3015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20448" h="301599">
                  <a:moveTo>
                    <a:pt x="282749" y="0"/>
                  </a:moveTo>
                  <a:lnTo>
                    <a:pt x="320449" y="0"/>
                  </a:lnTo>
                  <a:lnTo>
                    <a:pt x="320449" y="37700"/>
                  </a:lnTo>
                  <a:lnTo>
                    <a:pt x="37700" y="301599"/>
                  </a:lnTo>
                  <a:lnTo>
                    <a:pt x="0" y="301599"/>
                  </a:lnTo>
                  <a:lnTo>
                    <a:pt x="0" y="263899"/>
                  </a:lnTo>
                  <a:lnTo>
                    <a:pt x="282749" y="0"/>
                  </a:lnTo>
                  <a:close/>
                </a:path>
              </a:pathLst>
            </a:custGeom>
            <a:solidFill>
              <a:srgbClr val="A0A1A2"/>
            </a:solidFill>
            <a:ln w="1866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7" name="Freeform 6">
              <a:extLst>
                <a:ext uri="{FF2B5EF4-FFF2-40B4-BE49-F238E27FC236}">
                  <a16:creationId xmlns:a16="http://schemas.microsoft.com/office/drawing/2014/main" id="{D4AE967D-6C48-4944-937C-44498E0131C0}"/>
                </a:ext>
              </a:extLst>
            </p:cNvPr>
            <p:cNvSpPr/>
            <p:nvPr/>
          </p:nvSpPr>
          <p:spPr>
            <a:xfrm>
              <a:off x="2066165" y="3270775"/>
              <a:ext cx="320448" cy="320448"/>
            </a:xfrm>
            <a:custGeom>
              <a:avLst/>
              <a:gdLst>
                <a:gd name="connsiteX0" fmla="*/ 282749 w 320448"/>
                <a:gd name="connsiteY0" fmla="*/ 320449 h 320448"/>
                <a:gd name="connsiteX1" fmla="*/ 320449 w 320448"/>
                <a:gd name="connsiteY1" fmla="*/ 320449 h 320448"/>
                <a:gd name="connsiteX2" fmla="*/ 320449 w 320448"/>
                <a:gd name="connsiteY2" fmla="*/ 282749 h 320448"/>
                <a:gd name="connsiteX3" fmla="*/ 37700 w 320448"/>
                <a:gd name="connsiteY3" fmla="*/ 0 h 320448"/>
                <a:gd name="connsiteX4" fmla="*/ 0 w 320448"/>
                <a:gd name="connsiteY4" fmla="*/ 0 h 320448"/>
                <a:gd name="connsiteX5" fmla="*/ 0 w 320448"/>
                <a:gd name="connsiteY5" fmla="*/ 37700 h 320448"/>
                <a:gd name="connsiteX6" fmla="*/ 282749 w 320448"/>
                <a:gd name="connsiteY6" fmla="*/ 320449 h 3204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20448" h="320448">
                  <a:moveTo>
                    <a:pt x="282749" y="320449"/>
                  </a:moveTo>
                  <a:lnTo>
                    <a:pt x="320449" y="320449"/>
                  </a:lnTo>
                  <a:lnTo>
                    <a:pt x="320449" y="282749"/>
                  </a:lnTo>
                  <a:lnTo>
                    <a:pt x="37700" y="0"/>
                  </a:lnTo>
                  <a:lnTo>
                    <a:pt x="0" y="0"/>
                  </a:lnTo>
                  <a:lnTo>
                    <a:pt x="0" y="37700"/>
                  </a:lnTo>
                  <a:lnTo>
                    <a:pt x="282749" y="320449"/>
                  </a:lnTo>
                  <a:close/>
                </a:path>
              </a:pathLst>
            </a:custGeom>
            <a:solidFill>
              <a:srgbClr val="A0A1A2"/>
            </a:solidFill>
            <a:ln w="1866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8" name="Freeform 7">
              <a:extLst>
                <a:ext uri="{FF2B5EF4-FFF2-40B4-BE49-F238E27FC236}">
                  <a16:creationId xmlns:a16="http://schemas.microsoft.com/office/drawing/2014/main" id="{6EA17B13-2EC4-6C45-B968-AF26F6BAD1A2}"/>
                </a:ext>
              </a:extLst>
            </p:cNvPr>
            <p:cNvSpPr/>
            <p:nvPr/>
          </p:nvSpPr>
          <p:spPr>
            <a:xfrm>
              <a:off x="1726867" y="3082558"/>
              <a:ext cx="113099" cy="358148"/>
            </a:xfrm>
            <a:custGeom>
              <a:avLst/>
              <a:gdLst>
                <a:gd name="connsiteX0" fmla="*/ 36795 w 113099"/>
                <a:gd name="connsiteY0" fmla="*/ 0 h 358148"/>
                <a:gd name="connsiteX1" fmla="*/ 113100 w 113099"/>
                <a:gd name="connsiteY1" fmla="*/ 0 h 358148"/>
                <a:gd name="connsiteX2" fmla="*/ 113100 w 113099"/>
                <a:gd name="connsiteY2" fmla="*/ 358149 h 358148"/>
                <a:gd name="connsiteX3" fmla="*/ 38190 w 113099"/>
                <a:gd name="connsiteY3" fmla="*/ 358149 h 358148"/>
                <a:gd name="connsiteX4" fmla="*/ 0 w 113099"/>
                <a:gd name="connsiteY4" fmla="*/ 319959 h 358148"/>
                <a:gd name="connsiteX5" fmla="*/ 0 w 113099"/>
                <a:gd name="connsiteY5" fmla="*/ 36795 h 358148"/>
                <a:gd name="connsiteX6" fmla="*/ 36795 w 113099"/>
                <a:gd name="connsiteY6" fmla="*/ 0 h 3581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13099" h="358148">
                  <a:moveTo>
                    <a:pt x="36795" y="0"/>
                  </a:moveTo>
                  <a:lnTo>
                    <a:pt x="113100" y="0"/>
                  </a:lnTo>
                  <a:lnTo>
                    <a:pt x="113100" y="358149"/>
                  </a:lnTo>
                  <a:lnTo>
                    <a:pt x="38190" y="358149"/>
                  </a:lnTo>
                  <a:cubicBezTo>
                    <a:pt x="17097" y="358149"/>
                    <a:pt x="0" y="341052"/>
                    <a:pt x="0" y="319959"/>
                  </a:cubicBezTo>
                  <a:lnTo>
                    <a:pt x="0" y="36795"/>
                  </a:lnTo>
                  <a:cubicBezTo>
                    <a:pt x="0" y="16475"/>
                    <a:pt x="16475" y="0"/>
                    <a:pt x="36795" y="0"/>
                  </a:cubicBezTo>
                  <a:close/>
                </a:path>
              </a:pathLst>
            </a:custGeom>
            <a:solidFill>
              <a:srgbClr val="3999C6"/>
            </a:solidFill>
            <a:ln w="1866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9" name="Freeform 8">
              <a:extLst>
                <a:ext uri="{FF2B5EF4-FFF2-40B4-BE49-F238E27FC236}">
                  <a16:creationId xmlns:a16="http://schemas.microsoft.com/office/drawing/2014/main" id="{E2D90295-2588-5A4D-A208-1527A0D2D6FD}"/>
                </a:ext>
              </a:extLst>
            </p:cNvPr>
            <p:cNvSpPr/>
            <p:nvPr/>
          </p:nvSpPr>
          <p:spPr>
            <a:xfrm>
              <a:off x="1726867" y="3082558"/>
              <a:ext cx="113099" cy="358148"/>
            </a:xfrm>
            <a:custGeom>
              <a:avLst/>
              <a:gdLst>
                <a:gd name="connsiteX0" fmla="*/ 36795 w 113099"/>
                <a:gd name="connsiteY0" fmla="*/ 0 h 358148"/>
                <a:gd name="connsiteX1" fmla="*/ 113100 w 113099"/>
                <a:gd name="connsiteY1" fmla="*/ 0 h 358148"/>
                <a:gd name="connsiteX2" fmla="*/ 113100 w 113099"/>
                <a:gd name="connsiteY2" fmla="*/ 358149 h 358148"/>
                <a:gd name="connsiteX3" fmla="*/ 38190 w 113099"/>
                <a:gd name="connsiteY3" fmla="*/ 358149 h 358148"/>
                <a:gd name="connsiteX4" fmla="*/ 0 w 113099"/>
                <a:gd name="connsiteY4" fmla="*/ 319959 h 358148"/>
                <a:gd name="connsiteX5" fmla="*/ 0 w 113099"/>
                <a:gd name="connsiteY5" fmla="*/ 36795 h 358148"/>
                <a:gd name="connsiteX6" fmla="*/ 36795 w 113099"/>
                <a:gd name="connsiteY6" fmla="*/ 0 h 3581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13099" h="358148">
                  <a:moveTo>
                    <a:pt x="36795" y="0"/>
                  </a:moveTo>
                  <a:lnTo>
                    <a:pt x="113100" y="0"/>
                  </a:lnTo>
                  <a:lnTo>
                    <a:pt x="113100" y="358149"/>
                  </a:lnTo>
                  <a:lnTo>
                    <a:pt x="38190" y="358149"/>
                  </a:lnTo>
                  <a:cubicBezTo>
                    <a:pt x="17097" y="358149"/>
                    <a:pt x="0" y="341052"/>
                    <a:pt x="0" y="319959"/>
                  </a:cubicBezTo>
                  <a:lnTo>
                    <a:pt x="0" y="36795"/>
                  </a:lnTo>
                  <a:cubicBezTo>
                    <a:pt x="0" y="16475"/>
                    <a:pt x="16475" y="0"/>
                    <a:pt x="36795" y="0"/>
                  </a:cubicBezTo>
                  <a:close/>
                </a:path>
              </a:pathLst>
            </a:custGeom>
            <a:solidFill>
              <a:srgbClr val="A0A1A2"/>
            </a:solidFill>
            <a:ln w="1866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10" name="Freeform 9">
              <a:extLst>
                <a:ext uri="{FF2B5EF4-FFF2-40B4-BE49-F238E27FC236}">
                  <a16:creationId xmlns:a16="http://schemas.microsoft.com/office/drawing/2014/main" id="{F3DBC8D8-396A-3241-932E-1D20D9291135}"/>
                </a:ext>
              </a:extLst>
            </p:cNvPr>
            <p:cNvSpPr/>
            <p:nvPr/>
          </p:nvSpPr>
          <p:spPr>
            <a:xfrm>
              <a:off x="1858816" y="3026009"/>
              <a:ext cx="245049" cy="471248"/>
            </a:xfrm>
            <a:custGeom>
              <a:avLst/>
              <a:gdLst>
                <a:gd name="connsiteX0" fmla="*/ 0 w 245049"/>
                <a:gd name="connsiteY0" fmla="*/ 433549 h 471248"/>
                <a:gd name="connsiteX1" fmla="*/ 0 w 245049"/>
                <a:gd name="connsiteY1" fmla="*/ 37700 h 471248"/>
                <a:gd name="connsiteX2" fmla="*/ 37700 w 245049"/>
                <a:gd name="connsiteY2" fmla="*/ 0 h 471248"/>
                <a:gd name="connsiteX3" fmla="*/ 207349 w 245049"/>
                <a:gd name="connsiteY3" fmla="*/ 0 h 471248"/>
                <a:gd name="connsiteX4" fmla="*/ 245049 w 245049"/>
                <a:gd name="connsiteY4" fmla="*/ 37700 h 471248"/>
                <a:gd name="connsiteX5" fmla="*/ 245049 w 245049"/>
                <a:gd name="connsiteY5" fmla="*/ 433549 h 471248"/>
                <a:gd name="connsiteX6" fmla="*/ 207349 w 245049"/>
                <a:gd name="connsiteY6" fmla="*/ 471248 h 471248"/>
                <a:gd name="connsiteX7" fmla="*/ 37700 w 245049"/>
                <a:gd name="connsiteY7" fmla="*/ 471248 h 471248"/>
                <a:gd name="connsiteX8" fmla="*/ 0 w 245049"/>
                <a:gd name="connsiteY8" fmla="*/ 433549 h 4712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45049" h="471248">
                  <a:moveTo>
                    <a:pt x="0" y="433549"/>
                  </a:moveTo>
                  <a:lnTo>
                    <a:pt x="0" y="37700"/>
                  </a:lnTo>
                  <a:cubicBezTo>
                    <a:pt x="0" y="16871"/>
                    <a:pt x="16871" y="0"/>
                    <a:pt x="37700" y="0"/>
                  </a:cubicBezTo>
                  <a:lnTo>
                    <a:pt x="207349" y="0"/>
                  </a:lnTo>
                  <a:cubicBezTo>
                    <a:pt x="228179" y="0"/>
                    <a:pt x="245049" y="16871"/>
                    <a:pt x="245049" y="37700"/>
                  </a:cubicBezTo>
                  <a:lnTo>
                    <a:pt x="245049" y="433549"/>
                  </a:lnTo>
                  <a:cubicBezTo>
                    <a:pt x="245049" y="454378"/>
                    <a:pt x="228179" y="471248"/>
                    <a:pt x="207349" y="471248"/>
                  </a:cubicBezTo>
                  <a:lnTo>
                    <a:pt x="37700" y="471248"/>
                  </a:lnTo>
                  <a:cubicBezTo>
                    <a:pt x="16871" y="471248"/>
                    <a:pt x="0" y="454378"/>
                    <a:pt x="0" y="433549"/>
                  </a:cubicBezTo>
                  <a:close/>
                </a:path>
              </a:pathLst>
            </a:custGeom>
            <a:solidFill>
              <a:srgbClr val="7A7A7A"/>
            </a:solidFill>
            <a:ln w="1866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11" name="Freeform 10">
              <a:extLst>
                <a:ext uri="{FF2B5EF4-FFF2-40B4-BE49-F238E27FC236}">
                  <a16:creationId xmlns:a16="http://schemas.microsoft.com/office/drawing/2014/main" id="{07BADF69-78CA-3B40-A098-6F41454678E6}"/>
                </a:ext>
              </a:extLst>
            </p:cNvPr>
            <p:cNvSpPr/>
            <p:nvPr/>
          </p:nvSpPr>
          <p:spPr>
            <a:xfrm>
              <a:off x="1896516" y="3063426"/>
              <a:ext cx="160224" cy="320448"/>
            </a:xfrm>
            <a:custGeom>
              <a:avLst/>
              <a:gdLst>
                <a:gd name="connsiteX0" fmla="*/ 0 w 160224"/>
                <a:gd name="connsiteY0" fmla="*/ 320449 h 320448"/>
                <a:gd name="connsiteX1" fmla="*/ 0 w 160224"/>
                <a:gd name="connsiteY1" fmla="*/ 21074 h 320448"/>
                <a:gd name="connsiteX2" fmla="*/ 21093 w 160224"/>
                <a:gd name="connsiteY2" fmla="*/ 0 h 320448"/>
                <a:gd name="connsiteX3" fmla="*/ 160224 w 160224"/>
                <a:gd name="connsiteY3" fmla="*/ 0 h 320448"/>
                <a:gd name="connsiteX4" fmla="*/ 0 w 160224"/>
                <a:gd name="connsiteY4" fmla="*/ 320449 h 3204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0224" h="320448">
                  <a:moveTo>
                    <a:pt x="0" y="320449"/>
                  </a:moveTo>
                  <a:lnTo>
                    <a:pt x="0" y="21074"/>
                  </a:lnTo>
                  <a:cubicBezTo>
                    <a:pt x="0" y="9444"/>
                    <a:pt x="9444" y="0"/>
                    <a:pt x="21093" y="0"/>
                  </a:cubicBezTo>
                  <a:lnTo>
                    <a:pt x="160224" y="0"/>
                  </a:lnTo>
                  <a:lnTo>
                    <a:pt x="0" y="320449"/>
                  </a:lnTo>
                  <a:close/>
                </a:path>
              </a:pathLst>
            </a:custGeom>
            <a:solidFill>
              <a:srgbClr val="FFFFFF">
                <a:alpha val="15000"/>
              </a:srgbClr>
            </a:solidFill>
            <a:ln w="1866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12" name="Freeform 11">
              <a:extLst>
                <a:ext uri="{FF2B5EF4-FFF2-40B4-BE49-F238E27FC236}">
                  <a16:creationId xmlns:a16="http://schemas.microsoft.com/office/drawing/2014/main" id="{60E486E7-3FCE-084C-AA69-27EB69ECEBFE}"/>
                </a:ext>
              </a:extLst>
            </p:cNvPr>
            <p:cNvSpPr/>
            <p:nvPr/>
          </p:nvSpPr>
          <p:spPr>
            <a:xfrm>
              <a:off x="2256550" y="2839126"/>
              <a:ext cx="241283" cy="241269"/>
            </a:xfrm>
            <a:custGeom>
              <a:avLst/>
              <a:gdLst>
                <a:gd name="connsiteX0" fmla="*/ 35344 w 241283"/>
                <a:gd name="connsiteY0" fmla="*/ 35330 h 241269"/>
                <a:gd name="connsiteX1" fmla="*/ 205954 w 241283"/>
                <a:gd name="connsiteY1" fmla="*/ 35330 h 241269"/>
                <a:gd name="connsiteX2" fmla="*/ 205954 w 241283"/>
                <a:gd name="connsiteY2" fmla="*/ 205940 h 241269"/>
                <a:gd name="connsiteX3" fmla="*/ 35344 w 241283"/>
                <a:gd name="connsiteY3" fmla="*/ 205940 h 241269"/>
                <a:gd name="connsiteX4" fmla="*/ 35344 w 241283"/>
                <a:gd name="connsiteY4" fmla="*/ 35330 h 2412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1283" h="241269">
                  <a:moveTo>
                    <a:pt x="35344" y="35330"/>
                  </a:moveTo>
                  <a:cubicBezTo>
                    <a:pt x="82450" y="-11777"/>
                    <a:pt x="158848" y="-11777"/>
                    <a:pt x="205954" y="35330"/>
                  </a:cubicBezTo>
                  <a:cubicBezTo>
                    <a:pt x="253060" y="82436"/>
                    <a:pt x="253060" y="158834"/>
                    <a:pt x="205954" y="205940"/>
                  </a:cubicBezTo>
                  <a:cubicBezTo>
                    <a:pt x="158848" y="253046"/>
                    <a:pt x="82450" y="253046"/>
                    <a:pt x="35344" y="205940"/>
                  </a:cubicBezTo>
                  <a:cubicBezTo>
                    <a:pt x="-11781" y="158815"/>
                    <a:pt x="-11781" y="82436"/>
                    <a:pt x="35344" y="35330"/>
                  </a:cubicBezTo>
                  <a:close/>
                </a:path>
              </a:pathLst>
            </a:custGeom>
            <a:solidFill>
              <a:schemeClr val="accent5"/>
            </a:solidFill>
            <a:ln w="1866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13" name="Freeform 12">
              <a:extLst>
                <a:ext uri="{FF2B5EF4-FFF2-40B4-BE49-F238E27FC236}">
                  <a16:creationId xmlns:a16="http://schemas.microsoft.com/office/drawing/2014/main" id="{2E6BC147-291C-A942-A972-65E89F6CB403}"/>
                </a:ext>
              </a:extLst>
            </p:cNvPr>
            <p:cNvSpPr/>
            <p:nvPr/>
          </p:nvSpPr>
          <p:spPr>
            <a:xfrm>
              <a:off x="2256550" y="2839112"/>
              <a:ext cx="173739" cy="229007"/>
            </a:xfrm>
            <a:custGeom>
              <a:avLst/>
              <a:gdLst>
                <a:gd name="connsiteX0" fmla="*/ 12327 w 173739"/>
                <a:gd name="connsiteY0" fmla="*/ 67595 h 229007"/>
                <a:gd name="connsiteX1" fmla="*/ 173740 w 173739"/>
                <a:gd name="connsiteY1" fmla="*/ 12327 h 229007"/>
                <a:gd name="connsiteX2" fmla="*/ 67595 w 173739"/>
                <a:gd name="connsiteY2" fmla="*/ 229007 h 229007"/>
                <a:gd name="connsiteX3" fmla="*/ 12327 w 173739"/>
                <a:gd name="connsiteY3" fmla="*/ 67595 h 2290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3739" h="229007">
                  <a:moveTo>
                    <a:pt x="12327" y="67595"/>
                  </a:moveTo>
                  <a:cubicBezTo>
                    <a:pt x="41639" y="7766"/>
                    <a:pt x="113910" y="-16984"/>
                    <a:pt x="173740" y="12327"/>
                  </a:cubicBezTo>
                  <a:lnTo>
                    <a:pt x="67595" y="229007"/>
                  </a:lnTo>
                  <a:cubicBezTo>
                    <a:pt x="7766" y="199696"/>
                    <a:pt x="-16984" y="127425"/>
                    <a:pt x="12327" y="67595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 w="1866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D14FA3BD-90D9-734F-887F-977079BAC5A7}"/>
                </a:ext>
              </a:extLst>
            </p:cNvPr>
            <p:cNvSpPr/>
            <p:nvPr/>
          </p:nvSpPr>
          <p:spPr>
            <a:xfrm>
              <a:off x="2426199" y="3140725"/>
              <a:ext cx="241283" cy="241269"/>
            </a:xfrm>
            <a:custGeom>
              <a:avLst/>
              <a:gdLst>
                <a:gd name="connsiteX0" fmla="*/ 35344 w 241283"/>
                <a:gd name="connsiteY0" fmla="*/ 35330 h 241269"/>
                <a:gd name="connsiteX1" fmla="*/ 205954 w 241283"/>
                <a:gd name="connsiteY1" fmla="*/ 35330 h 241269"/>
                <a:gd name="connsiteX2" fmla="*/ 205954 w 241283"/>
                <a:gd name="connsiteY2" fmla="*/ 205940 h 241269"/>
                <a:gd name="connsiteX3" fmla="*/ 35344 w 241283"/>
                <a:gd name="connsiteY3" fmla="*/ 205940 h 241269"/>
                <a:gd name="connsiteX4" fmla="*/ 35344 w 241283"/>
                <a:gd name="connsiteY4" fmla="*/ 35330 h 2412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1283" h="241269">
                  <a:moveTo>
                    <a:pt x="35344" y="35330"/>
                  </a:moveTo>
                  <a:cubicBezTo>
                    <a:pt x="82450" y="-11777"/>
                    <a:pt x="158848" y="-11777"/>
                    <a:pt x="205954" y="35330"/>
                  </a:cubicBezTo>
                  <a:cubicBezTo>
                    <a:pt x="253061" y="82436"/>
                    <a:pt x="253061" y="158834"/>
                    <a:pt x="205954" y="205940"/>
                  </a:cubicBezTo>
                  <a:cubicBezTo>
                    <a:pt x="158848" y="253046"/>
                    <a:pt x="82450" y="253046"/>
                    <a:pt x="35344" y="205940"/>
                  </a:cubicBezTo>
                  <a:cubicBezTo>
                    <a:pt x="-11781" y="158815"/>
                    <a:pt x="-11781" y="82436"/>
                    <a:pt x="35344" y="35330"/>
                  </a:cubicBezTo>
                  <a:close/>
                </a:path>
              </a:pathLst>
            </a:custGeom>
            <a:solidFill>
              <a:schemeClr val="accent5"/>
            </a:solidFill>
            <a:ln w="1866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915C36B7-01AE-F64C-9889-EE11ACF7FF23}"/>
                </a:ext>
              </a:extLst>
            </p:cNvPr>
            <p:cNvSpPr/>
            <p:nvPr/>
          </p:nvSpPr>
          <p:spPr>
            <a:xfrm>
              <a:off x="2426200" y="3140711"/>
              <a:ext cx="173739" cy="229007"/>
            </a:xfrm>
            <a:custGeom>
              <a:avLst/>
              <a:gdLst>
                <a:gd name="connsiteX0" fmla="*/ 12327 w 173739"/>
                <a:gd name="connsiteY0" fmla="*/ 67595 h 229007"/>
                <a:gd name="connsiteX1" fmla="*/ 173739 w 173739"/>
                <a:gd name="connsiteY1" fmla="*/ 12327 h 229007"/>
                <a:gd name="connsiteX2" fmla="*/ 67595 w 173739"/>
                <a:gd name="connsiteY2" fmla="*/ 229008 h 229007"/>
                <a:gd name="connsiteX3" fmla="*/ 12327 w 173739"/>
                <a:gd name="connsiteY3" fmla="*/ 67595 h 2290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3739" h="229007">
                  <a:moveTo>
                    <a:pt x="12327" y="67595"/>
                  </a:moveTo>
                  <a:cubicBezTo>
                    <a:pt x="41639" y="7766"/>
                    <a:pt x="113910" y="-16984"/>
                    <a:pt x="173739" y="12327"/>
                  </a:cubicBezTo>
                  <a:lnTo>
                    <a:pt x="67595" y="229008"/>
                  </a:lnTo>
                  <a:cubicBezTo>
                    <a:pt x="7766" y="199696"/>
                    <a:pt x="-16984" y="127425"/>
                    <a:pt x="12327" y="67595"/>
                  </a:cubicBezTo>
                  <a:close/>
                </a:path>
              </a:pathLst>
            </a:custGeom>
            <a:solidFill>
              <a:srgbClr val="FFFFFF">
                <a:alpha val="20000"/>
              </a:srgbClr>
            </a:solidFill>
            <a:ln w="1866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43" name="Freeform 42">
              <a:extLst>
                <a:ext uri="{FF2B5EF4-FFF2-40B4-BE49-F238E27FC236}">
                  <a16:creationId xmlns:a16="http://schemas.microsoft.com/office/drawing/2014/main" id="{F41F0136-78CA-9046-ACB3-F27D09F6124E}"/>
                </a:ext>
              </a:extLst>
            </p:cNvPr>
            <p:cNvSpPr/>
            <p:nvPr/>
          </p:nvSpPr>
          <p:spPr>
            <a:xfrm>
              <a:off x="2256550" y="3461174"/>
              <a:ext cx="241283" cy="241269"/>
            </a:xfrm>
            <a:custGeom>
              <a:avLst/>
              <a:gdLst>
                <a:gd name="connsiteX0" fmla="*/ 35344 w 241283"/>
                <a:gd name="connsiteY0" fmla="*/ 35329 h 241269"/>
                <a:gd name="connsiteX1" fmla="*/ 205954 w 241283"/>
                <a:gd name="connsiteY1" fmla="*/ 35329 h 241269"/>
                <a:gd name="connsiteX2" fmla="*/ 205954 w 241283"/>
                <a:gd name="connsiteY2" fmla="*/ 205940 h 241269"/>
                <a:gd name="connsiteX3" fmla="*/ 35344 w 241283"/>
                <a:gd name="connsiteY3" fmla="*/ 205940 h 241269"/>
                <a:gd name="connsiteX4" fmla="*/ 35344 w 241283"/>
                <a:gd name="connsiteY4" fmla="*/ 35329 h 2412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1283" h="241269">
                  <a:moveTo>
                    <a:pt x="35344" y="35329"/>
                  </a:moveTo>
                  <a:cubicBezTo>
                    <a:pt x="82450" y="-11776"/>
                    <a:pt x="158848" y="-11776"/>
                    <a:pt x="205954" y="35329"/>
                  </a:cubicBezTo>
                  <a:cubicBezTo>
                    <a:pt x="253060" y="82435"/>
                    <a:pt x="253060" y="158834"/>
                    <a:pt x="205954" y="205940"/>
                  </a:cubicBezTo>
                  <a:cubicBezTo>
                    <a:pt x="158848" y="253046"/>
                    <a:pt x="82450" y="253046"/>
                    <a:pt x="35344" y="205940"/>
                  </a:cubicBezTo>
                  <a:cubicBezTo>
                    <a:pt x="-11781" y="158815"/>
                    <a:pt x="-11781" y="82435"/>
                    <a:pt x="35344" y="35329"/>
                  </a:cubicBezTo>
                  <a:close/>
                </a:path>
              </a:pathLst>
            </a:custGeom>
            <a:solidFill>
              <a:schemeClr val="accent5"/>
            </a:solidFill>
            <a:ln w="1866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44" name="Freeform 43">
              <a:extLst>
                <a:ext uri="{FF2B5EF4-FFF2-40B4-BE49-F238E27FC236}">
                  <a16:creationId xmlns:a16="http://schemas.microsoft.com/office/drawing/2014/main" id="{A167391F-FC34-704E-AE1D-6345210F99B0}"/>
                </a:ext>
              </a:extLst>
            </p:cNvPr>
            <p:cNvSpPr/>
            <p:nvPr/>
          </p:nvSpPr>
          <p:spPr>
            <a:xfrm>
              <a:off x="2256550" y="3461160"/>
              <a:ext cx="173739" cy="229007"/>
            </a:xfrm>
            <a:custGeom>
              <a:avLst/>
              <a:gdLst>
                <a:gd name="connsiteX0" fmla="*/ 12327 w 173739"/>
                <a:gd name="connsiteY0" fmla="*/ 67595 h 229007"/>
                <a:gd name="connsiteX1" fmla="*/ 173740 w 173739"/>
                <a:gd name="connsiteY1" fmla="*/ 12327 h 229007"/>
                <a:gd name="connsiteX2" fmla="*/ 67595 w 173739"/>
                <a:gd name="connsiteY2" fmla="*/ 229007 h 229007"/>
                <a:gd name="connsiteX3" fmla="*/ 12327 w 173739"/>
                <a:gd name="connsiteY3" fmla="*/ 67595 h 2290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3739" h="229007">
                  <a:moveTo>
                    <a:pt x="12327" y="67595"/>
                  </a:moveTo>
                  <a:cubicBezTo>
                    <a:pt x="41639" y="7766"/>
                    <a:pt x="113910" y="-16984"/>
                    <a:pt x="173740" y="12327"/>
                  </a:cubicBezTo>
                  <a:lnTo>
                    <a:pt x="67595" y="229007"/>
                  </a:lnTo>
                  <a:cubicBezTo>
                    <a:pt x="7766" y="199696"/>
                    <a:pt x="-16984" y="127425"/>
                    <a:pt x="12327" y="67595"/>
                  </a:cubicBezTo>
                  <a:close/>
                </a:path>
              </a:pathLst>
            </a:custGeom>
            <a:solidFill>
              <a:srgbClr val="FFFFFF">
                <a:alpha val="20000"/>
              </a:srgbClr>
            </a:solidFill>
            <a:ln w="1866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</p:grpSp>
      <p:pic>
        <p:nvPicPr>
          <p:cNvPr id="45" name="Picture 6" descr="Image result for aws transparent icon">
            <a:extLst>
              <a:ext uri="{FF2B5EF4-FFF2-40B4-BE49-F238E27FC236}">
                <a16:creationId xmlns:a16="http://schemas.microsoft.com/office/drawing/2014/main" id="{B7472976-C210-E244-8F53-42578DD2998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645323" y="5771728"/>
            <a:ext cx="773643" cy="3024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7" name="Picture 4" descr="Image result for google cloud logo png">
            <a:extLst>
              <a:ext uri="{FF2B5EF4-FFF2-40B4-BE49-F238E27FC236}">
                <a16:creationId xmlns:a16="http://schemas.microsoft.com/office/drawing/2014/main" id="{2D2CBC10-8D38-DE4F-8694-4F838C3FB39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565739" y="5803471"/>
            <a:ext cx="1749223" cy="2695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8" name="Picture 4" descr="Image result for hyper-v logo transparent">
            <a:extLst>
              <a:ext uri="{FF2B5EF4-FFF2-40B4-BE49-F238E27FC236}">
                <a16:creationId xmlns:a16="http://schemas.microsoft.com/office/drawing/2014/main" id="{7273D0D9-0CB7-854E-9C23-62B65BDD654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74216" y="5684731"/>
            <a:ext cx="1106560" cy="4742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9" name="Picture 48">
            <a:extLst>
              <a:ext uri="{FF2B5EF4-FFF2-40B4-BE49-F238E27FC236}">
                <a16:creationId xmlns:a16="http://schemas.microsoft.com/office/drawing/2014/main" id="{B2756C4B-F73B-654E-A298-EFE44CCFC9A6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69488" y="5764030"/>
            <a:ext cx="315640" cy="315640"/>
          </a:xfrm>
          <a:prstGeom prst="rect">
            <a:avLst/>
          </a:prstGeom>
        </p:spPr>
      </p:pic>
      <p:sp>
        <p:nvSpPr>
          <p:cNvPr id="50" name="Freeform 16">
            <a:extLst>
              <a:ext uri="{FF2B5EF4-FFF2-40B4-BE49-F238E27FC236}">
                <a16:creationId xmlns:a16="http://schemas.microsoft.com/office/drawing/2014/main" id="{DC8F9265-6A88-F44F-A626-A886728B7674}"/>
              </a:ext>
            </a:extLst>
          </p:cNvPr>
          <p:cNvSpPr>
            <a:spLocks noEditPoints="1"/>
          </p:cNvSpPr>
          <p:nvPr/>
        </p:nvSpPr>
        <p:spPr bwMode="auto">
          <a:xfrm>
            <a:off x="2288560" y="4809254"/>
            <a:ext cx="323220" cy="324243"/>
          </a:xfrm>
          <a:custGeom>
            <a:avLst/>
            <a:gdLst>
              <a:gd name="T0" fmla="*/ 146 w 213"/>
              <a:gd name="T1" fmla="*/ 108 h 213"/>
              <a:gd name="T2" fmla="*/ 134 w 213"/>
              <a:gd name="T3" fmla="*/ 134 h 213"/>
              <a:gd name="T4" fmla="*/ 106 w 213"/>
              <a:gd name="T5" fmla="*/ 146 h 213"/>
              <a:gd name="T6" fmla="*/ 79 w 213"/>
              <a:gd name="T7" fmla="*/ 134 h 213"/>
              <a:gd name="T8" fmla="*/ 67 w 213"/>
              <a:gd name="T9" fmla="*/ 108 h 213"/>
              <a:gd name="T10" fmla="*/ 70 w 213"/>
              <a:gd name="T11" fmla="*/ 91 h 213"/>
              <a:gd name="T12" fmla="*/ 79 w 213"/>
              <a:gd name="T13" fmla="*/ 78 h 213"/>
              <a:gd name="T14" fmla="*/ 106 w 213"/>
              <a:gd name="T15" fmla="*/ 67 h 213"/>
              <a:gd name="T16" fmla="*/ 134 w 213"/>
              <a:gd name="T17" fmla="*/ 78 h 213"/>
              <a:gd name="T18" fmla="*/ 143 w 213"/>
              <a:gd name="T19" fmla="*/ 91 h 213"/>
              <a:gd name="T20" fmla="*/ 146 w 213"/>
              <a:gd name="T21" fmla="*/ 108 h 213"/>
              <a:gd name="T22" fmla="*/ 212 w 213"/>
              <a:gd name="T23" fmla="*/ 83 h 213"/>
              <a:gd name="T24" fmla="*/ 187 w 213"/>
              <a:gd name="T25" fmla="*/ 48 h 213"/>
              <a:gd name="T26" fmla="*/ 160 w 213"/>
              <a:gd name="T27" fmla="*/ 47 h 213"/>
              <a:gd name="T28" fmla="*/ 127 w 213"/>
              <a:gd name="T29" fmla="*/ 0 h 213"/>
              <a:gd name="T30" fmla="*/ 108 w 213"/>
              <a:gd name="T31" fmla="*/ 27 h 213"/>
              <a:gd name="T32" fmla="*/ 105 w 213"/>
              <a:gd name="T33" fmla="*/ 27 h 213"/>
              <a:gd name="T34" fmla="*/ 86 w 213"/>
              <a:gd name="T35" fmla="*/ 0 h 213"/>
              <a:gd name="T36" fmla="*/ 48 w 213"/>
              <a:gd name="T37" fmla="*/ 28 h 213"/>
              <a:gd name="T38" fmla="*/ 48 w 213"/>
              <a:gd name="T39" fmla="*/ 53 h 213"/>
              <a:gd name="T40" fmla="*/ 16 w 213"/>
              <a:gd name="T41" fmla="*/ 45 h 213"/>
              <a:gd name="T42" fmla="*/ 2 w 213"/>
              <a:gd name="T43" fmla="*/ 81 h 213"/>
              <a:gd name="T44" fmla="*/ 27 w 213"/>
              <a:gd name="T45" fmla="*/ 102 h 213"/>
              <a:gd name="T46" fmla="*/ 27 w 213"/>
              <a:gd name="T47" fmla="*/ 106 h 213"/>
              <a:gd name="T48" fmla="*/ 27 w 213"/>
              <a:gd name="T49" fmla="*/ 108 h 213"/>
              <a:gd name="T50" fmla="*/ 0 w 213"/>
              <a:gd name="T51" fmla="*/ 127 h 213"/>
              <a:gd name="T52" fmla="*/ 48 w 213"/>
              <a:gd name="T53" fmla="*/ 160 h 213"/>
              <a:gd name="T54" fmla="*/ 46 w 213"/>
              <a:gd name="T55" fmla="*/ 196 h 213"/>
              <a:gd name="T56" fmla="*/ 103 w 213"/>
              <a:gd name="T57" fmla="*/ 186 h 213"/>
              <a:gd name="T58" fmla="*/ 106 w 213"/>
              <a:gd name="T59" fmla="*/ 186 h 213"/>
              <a:gd name="T60" fmla="*/ 110 w 213"/>
              <a:gd name="T61" fmla="*/ 186 h 213"/>
              <a:gd name="T62" fmla="*/ 167 w 213"/>
              <a:gd name="T63" fmla="*/ 196 h 213"/>
              <a:gd name="T64" fmla="*/ 165 w 213"/>
              <a:gd name="T65" fmla="*/ 160 h 213"/>
              <a:gd name="T66" fmla="*/ 213 w 213"/>
              <a:gd name="T67" fmla="*/ 127 h 213"/>
              <a:gd name="T68" fmla="*/ 186 w 213"/>
              <a:gd name="T69" fmla="*/ 108 h 213"/>
              <a:gd name="T70" fmla="*/ 186 w 213"/>
              <a:gd name="T71" fmla="*/ 106 h 213"/>
              <a:gd name="T72" fmla="*/ 186 w 213"/>
              <a:gd name="T73" fmla="*/ 102 h 213"/>
              <a:gd name="T74" fmla="*/ 212 w 213"/>
              <a:gd name="T75" fmla="*/ 83 h 2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</a:cxnLst>
            <a:rect l="0" t="0" r="r" b="b"/>
            <a:pathLst>
              <a:path w="213" h="213">
                <a:moveTo>
                  <a:pt x="146" y="108"/>
                </a:moveTo>
                <a:lnTo>
                  <a:pt x="146" y="108"/>
                </a:lnTo>
                <a:cubicBezTo>
                  <a:pt x="146" y="112"/>
                  <a:pt x="145" y="117"/>
                  <a:pt x="143" y="122"/>
                </a:cubicBezTo>
                <a:cubicBezTo>
                  <a:pt x="141" y="126"/>
                  <a:pt x="138" y="130"/>
                  <a:pt x="134" y="134"/>
                </a:cubicBezTo>
                <a:cubicBezTo>
                  <a:pt x="131" y="138"/>
                  <a:pt x="127" y="140"/>
                  <a:pt x="122" y="142"/>
                </a:cubicBezTo>
                <a:cubicBezTo>
                  <a:pt x="117" y="145"/>
                  <a:pt x="112" y="146"/>
                  <a:pt x="106" y="146"/>
                </a:cubicBezTo>
                <a:cubicBezTo>
                  <a:pt x="101" y="146"/>
                  <a:pt x="96" y="145"/>
                  <a:pt x="91" y="142"/>
                </a:cubicBezTo>
                <a:cubicBezTo>
                  <a:pt x="86" y="140"/>
                  <a:pt x="82" y="138"/>
                  <a:pt x="79" y="134"/>
                </a:cubicBezTo>
                <a:cubicBezTo>
                  <a:pt x="75" y="130"/>
                  <a:pt x="72" y="126"/>
                  <a:pt x="70" y="122"/>
                </a:cubicBezTo>
                <a:cubicBezTo>
                  <a:pt x="68" y="117"/>
                  <a:pt x="67" y="112"/>
                  <a:pt x="67" y="108"/>
                </a:cubicBezTo>
                <a:cubicBezTo>
                  <a:pt x="67" y="107"/>
                  <a:pt x="67" y="107"/>
                  <a:pt x="67" y="106"/>
                </a:cubicBezTo>
                <a:cubicBezTo>
                  <a:pt x="67" y="101"/>
                  <a:pt x="68" y="96"/>
                  <a:pt x="70" y="91"/>
                </a:cubicBezTo>
                <a:cubicBezTo>
                  <a:pt x="72" y="87"/>
                  <a:pt x="74" y="84"/>
                  <a:pt x="76" y="81"/>
                </a:cubicBezTo>
                <a:cubicBezTo>
                  <a:pt x="77" y="80"/>
                  <a:pt x="78" y="79"/>
                  <a:pt x="79" y="78"/>
                </a:cubicBezTo>
                <a:cubicBezTo>
                  <a:pt x="82" y="75"/>
                  <a:pt x="86" y="72"/>
                  <a:pt x="91" y="70"/>
                </a:cubicBezTo>
                <a:cubicBezTo>
                  <a:pt x="96" y="68"/>
                  <a:pt x="101" y="67"/>
                  <a:pt x="106" y="67"/>
                </a:cubicBezTo>
                <a:cubicBezTo>
                  <a:pt x="112" y="67"/>
                  <a:pt x="117" y="68"/>
                  <a:pt x="122" y="70"/>
                </a:cubicBezTo>
                <a:cubicBezTo>
                  <a:pt x="127" y="72"/>
                  <a:pt x="131" y="75"/>
                  <a:pt x="134" y="78"/>
                </a:cubicBezTo>
                <a:cubicBezTo>
                  <a:pt x="135" y="79"/>
                  <a:pt x="136" y="80"/>
                  <a:pt x="136" y="81"/>
                </a:cubicBezTo>
                <a:cubicBezTo>
                  <a:pt x="139" y="84"/>
                  <a:pt x="141" y="87"/>
                  <a:pt x="143" y="91"/>
                </a:cubicBezTo>
                <a:cubicBezTo>
                  <a:pt x="145" y="96"/>
                  <a:pt x="146" y="101"/>
                  <a:pt x="146" y="106"/>
                </a:cubicBezTo>
                <a:cubicBezTo>
                  <a:pt x="146" y="107"/>
                  <a:pt x="146" y="107"/>
                  <a:pt x="146" y="108"/>
                </a:cubicBezTo>
                <a:close/>
                <a:moveTo>
                  <a:pt x="212" y="83"/>
                </a:moveTo>
                <a:lnTo>
                  <a:pt x="212" y="83"/>
                </a:lnTo>
                <a:lnTo>
                  <a:pt x="196" y="45"/>
                </a:lnTo>
                <a:lnTo>
                  <a:pt x="187" y="48"/>
                </a:lnTo>
                <a:lnTo>
                  <a:pt x="165" y="53"/>
                </a:lnTo>
                <a:cubicBezTo>
                  <a:pt x="164" y="51"/>
                  <a:pt x="162" y="49"/>
                  <a:pt x="160" y="47"/>
                </a:cubicBezTo>
                <a:lnTo>
                  <a:pt x="167" y="16"/>
                </a:lnTo>
                <a:lnTo>
                  <a:pt x="127" y="0"/>
                </a:lnTo>
                <a:lnTo>
                  <a:pt x="110" y="27"/>
                </a:lnTo>
                <a:cubicBezTo>
                  <a:pt x="110" y="27"/>
                  <a:pt x="109" y="27"/>
                  <a:pt x="108" y="27"/>
                </a:cubicBezTo>
                <a:cubicBezTo>
                  <a:pt x="108" y="27"/>
                  <a:pt x="107" y="27"/>
                  <a:pt x="106" y="27"/>
                </a:cubicBezTo>
                <a:cubicBezTo>
                  <a:pt x="106" y="27"/>
                  <a:pt x="105" y="27"/>
                  <a:pt x="105" y="27"/>
                </a:cubicBezTo>
                <a:cubicBezTo>
                  <a:pt x="104" y="27"/>
                  <a:pt x="103" y="27"/>
                  <a:pt x="103" y="27"/>
                </a:cubicBezTo>
                <a:lnTo>
                  <a:pt x="86" y="0"/>
                </a:lnTo>
                <a:lnTo>
                  <a:pt x="46" y="16"/>
                </a:lnTo>
                <a:lnTo>
                  <a:pt x="48" y="28"/>
                </a:lnTo>
                <a:lnTo>
                  <a:pt x="53" y="47"/>
                </a:lnTo>
                <a:cubicBezTo>
                  <a:pt x="51" y="49"/>
                  <a:pt x="49" y="51"/>
                  <a:pt x="48" y="53"/>
                </a:cubicBezTo>
                <a:lnTo>
                  <a:pt x="27" y="48"/>
                </a:lnTo>
                <a:lnTo>
                  <a:pt x="16" y="45"/>
                </a:lnTo>
                <a:lnTo>
                  <a:pt x="13" y="54"/>
                </a:lnTo>
                <a:lnTo>
                  <a:pt x="2" y="81"/>
                </a:lnTo>
                <a:lnTo>
                  <a:pt x="0" y="86"/>
                </a:lnTo>
                <a:lnTo>
                  <a:pt x="27" y="102"/>
                </a:lnTo>
                <a:cubicBezTo>
                  <a:pt x="27" y="103"/>
                  <a:pt x="27" y="104"/>
                  <a:pt x="27" y="104"/>
                </a:cubicBezTo>
                <a:cubicBezTo>
                  <a:pt x="27" y="105"/>
                  <a:pt x="27" y="106"/>
                  <a:pt x="27" y="106"/>
                </a:cubicBezTo>
                <a:cubicBezTo>
                  <a:pt x="27" y="107"/>
                  <a:pt x="27" y="107"/>
                  <a:pt x="27" y="108"/>
                </a:cubicBezTo>
                <a:cubicBezTo>
                  <a:pt x="27" y="108"/>
                  <a:pt x="27" y="108"/>
                  <a:pt x="27" y="108"/>
                </a:cubicBezTo>
                <a:cubicBezTo>
                  <a:pt x="27" y="109"/>
                  <a:pt x="27" y="109"/>
                  <a:pt x="27" y="110"/>
                </a:cubicBezTo>
                <a:lnTo>
                  <a:pt x="0" y="127"/>
                </a:lnTo>
                <a:lnTo>
                  <a:pt x="16" y="167"/>
                </a:lnTo>
                <a:lnTo>
                  <a:pt x="48" y="160"/>
                </a:lnTo>
                <a:cubicBezTo>
                  <a:pt x="49" y="162"/>
                  <a:pt x="51" y="163"/>
                  <a:pt x="53" y="165"/>
                </a:cubicBezTo>
                <a:lnTo>
                  <a:pt x="46" y="196"/>
                </a:lnTo>
                <a:lnTo>
                  <a:pt x="86" y="213"/>
                </a:lnTo>
                <a:lnTo>
                  <a:pt x="103" y="186"/>
                </a:lnTo>
                <a:cubicBezTo>
                  <a:pt x="103" y="186"/>
                  <a:pt x="104" y="186"/>
                  <a:pt x="105" y="186"/>
                </a:cubicBezTo>
                <a:cubicBezTo>
                  <a:pt x="105" y="186"/>
                  <a:pt x="106" y="186"/>
                  <a:pt x="106" y="186"/>
                </a:cubicBezTo>
                <a:cubicBezTo>
                  <a:pt x="107" y="186"/>
                  <a:pt x="108" y="186"/>
                  <a:pt x="108" y="186"/>
                </a:cubicBezTo>
                <a:cubicBezTo>
                  <a:pt x="109" y="186"/>
                  <a:pt x="110" y="186"/>
                  <a:pt x="110" y="186"/>
                </a:cubicBezTo>
                <a:lnTo>
                  <a:pt x="127" y="213"/>
                </a:lnTo>
                <a:lnTo>
                  <a:pt x="167" y="196"/>
                </a:lnTo>
                <a:lnTo>
                  <a:pt x="160" y="165"/>
                </a:lnTo>
                <a:cubicBezTo>
                  <a:pt x="162" y="163"/>
                  <a:pt x="164" y="162"/>
                  <a:pt x="165" y="160"/>
                </a:cubicBezTo>
                <a:lnTo>
                  <a:pt x="196" y="167"/>
                </a:lnTo>
                <a:lnTo>
                  <a:pt x="213" y="127"/>
                </a:lnTo>
                <a:lnTo>
                  <a:pt x="186" y="110"/>
                </a:lnTo>
                <a:cubicBezTo>
                  <a:pt x="186" y="109"/>
                  <a:pt x="186" y="109"/>
                  <a:pt x="186" y="108"/>
                </a:cubicBezTo>
                <a:cubicBezTo>
                  <a:pt x="186" y="108"/>
                  <a:pt x="186" y="107"/>
                  <a:pt x="186" y="107"/>
                </a:cubicBezTo>
                <a:cubicBezTo>
                  <a:pt x="186" y="107"/>
                  <a:pt x="186" y="106"/>
                  <a:pt x="186" y="106"/>
                </a:cubicBezTo>
                <a:cubicBezTo>
                  <a:pt x="186" y="106"/>
                  <a:pt x="186" y="105"/>
                  <a:pt x="186" y="104"/>
                </a:cubicBezTo>
                <a:cubicBezTo>
                  <a:pt x="186" y="104"/>
                  <a:pt x="186" y="103"/>
                  <a:pt x="186" y="102"/>
                </a:cubicBezTo>
                <a:lnTo>
                  <a:pt x="211" y="87"/>
                </a:lnTo>
                <a:cubicBezTo>
                  <a:pt x="211" y="86"/>
                  <a:pt x="212" y="84"/>
                  <a:pt x="212" y="83"/>
                </a:cubicBezTo>
                <a:close/>
              </a:path>
            </a:pathLst>
          </a:custGeom>
          <a:solidFill>
            <a:schemeClr val="accent5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14" tIns="45706" rIns="91414" bIns="45706" numCol="1" anchor="t" anchorCtr="0" compatLnSpc="1">
            <a:prstTxWarp prst="textNoShape">
              <a:avLst/>
            </a:prstTxWarp>
          </a:bodyPr>
          <a:lstStyle/>
          <a:p>
            <a:pPr defTabSz="914016">
              <a:defRPr/>
            </a:pPr>
            <a:endParaRPr lang="en-US" sz="1765">
              <a:solidFill>
                <a:srgbClr val="1A1A1A"/>
              </a:solidFill>
              <a:latin typeface="Segoe UI"/>
            </a:endParaRPr>
          </a:p>
        </p:txBody>
      </p:sp>
      <p:sp>
        <p:nvSpPr>
          <p:cNvPr id="52" name="Freeform 16">
            <a:extLst>
              <a:ext uri="{FF2B5EF4-FFF2-40B4-BE49-F238E27FC236}">
                <a16:creationId xmlns:a16="http://schemas.microsoft.com/office/drawing/2014/main" id="{BEBD5816-DE7B-A047-BE29-AC7139886B89}"/>
              </a:ext>
            </a:extLst>
          </p:cNvPr>
          <p:cNvSpPr>
            <a:spLocks noEditPoints="1"/>
          </p:cNvSpPr>
          <p:nvPr/>
        </p:nvSpPr>
        <p:spPr bwMode="auto">
          <a:xfrm>
            <a:off x="3741522" y="4809254"/>
            <a:ext cx="323220" cy="324243"/>
          </a:xfrm>
          <a:custGeom>
            <a:avLst/>
            <a:gdLst>
              <a:gd name="T0" fmla="*/ 146 w 213"/>
              <a:gd name="T1" fmla="*/ 108 h 213"/>
              <a:gd name="T2" fmla="*/ 134 w 213"/>
              <a:gd name="T3" fmla="*/ 134 h 213"/>
              <a:gd name="T4" fmla="*/ 106 w 213"/>
              <a:gd name="T5" fmla="*/ 146 h 213"/>
              <a:gd name="T6" fmla="*/ 79 w 213"/>
              <a:gd name="T7" fmla="*/ 134 h 213"/>
              <a:gd name="T8" fmla="*/ 67 w 213"/>
              <a:gd name="T9" fmla="*/ 108 h 213"/>
              <a:gd name="T10" fmla="*/ 70 w 213"/>
              <a:gd name="T11" fmla="*/ 91 h 213"/>
              <a:gd name="T12" fmla="*/ 79 w 213"/>
              <a:gd name="T13" fmla="*/ 78 h 213"/>
              <a:gd name="T14" fmla="*/ 106 w 213"/>
              <a:gd name="T15" fmla="*/ 67 h 213"/>
              <a:gd name="T16" fmla="*/ 134 w 213"/>
              <a:gd name="T17" fmla="*/ 78 h 213"/>
              <a:gd name="T18" fmla="*/ 143 w 213"/>
              <a:gd name="T19" fmla="*/ 91 h 213"/>
              <a:gd name="T20" fmla="*/ 146 w 213"/>
              <a:gd name="T21" fmla="*/ 108 h 213"/>
              <a:gd name="T22" fmla="*/ 212 w 213"/>
              <a:gd name="T23" fmla="*/ 83 h 213"/>
              <a:gd name="T24" fmla="*/ 187 w 213"/>
              <a:gd name="T25" fmla="*/ 48 h 213"/>
              <a:gd name="T26" fmla="*/ 160 w 213"/>
              <a:gd name="T27" fmla="*/ 47 h 213"/>
              <a:gd name="T28" fmla="*/ 127 w 213"/>
              <a:gd name="T29" fmla="*/ 0 h 213"/>
              <a:gd name="T30" fmla="*/ 108 w 213"/>
              <a:gd name="T31" fmla="*/ 27 h 213"/>
              <a:gd name="T32" fmla="*/ 105 w 213"/>
              <a:gd name="T33" fmla="*/ 27 h 213"/>
              <a:gd name="T34" fmla="*/ 86 w 213"/>
              <a:gd name="T35" fmla="*/ 0 h 213"/>
              <a:gd name="T36" fmla="*/ 48 w 213"/>
              <a:gd name="T37" fmla="*/ 28 h 213"/>
              <a:gd name="T38" fmla="*/ 48 w 213"/>
              <a:gd name="T39" fmla="*/ 53 h 213"/>
              <a:gd name="T40" fmla="*/ 16 w 213"/>
              <a:gd name="T41" fmla="*/ 45 h 213"/>
              <a:gd name="T42" fmla="*/ 2 w 213"/>
              <a:gd name="T43" fmla="*/ 81 h 213"/>
              <a:gd name="T44" fmla="*/ 27 w 213"/>
              <a:gd name="T45" fmla="*/ 102 h 213"/>
              <a:gd name="T46" fmla="*/ 27 w 213"/>
              <a:gd name="T47" fmla="*/ 106 h 213"/>
              <a:gd name="T48" fmla="*/ 27 w 213"/>
              <a:gd name="T49" fmla="*/ 108 h 213"/>
              <a:gd name="T50" fmla="*/ 0 w 213"/>
              <a:gd name="T51" fmla="*/ 127 h 213"/>
              <a:gd name="T52" fmla="*/ 48 w 213"/>
              <a:gd name="T53" fmla="*/ 160 h 213"/>
              <a:gd name="T54" fmla="*/ 46 w 213"/>
              <a:gd name="T55" fmla="*/ 196 h 213"/>
              <a:gd name="T56" fmla="*/ 103 w 213"/>
              <a:gd name="T57" fmla="*/ 186 h 213"/>
              <a:gd name="T58" fmla="*/ 106 w 213"/>
              <a:gd name="T59" fmla="*/ 186 h 213"/>
              <a:gd name="T60" fmla="*/ 110 w 213"/>
              <a:gd name="T61" fmla="*/ 186 h 213"/>
              <a:gd name="T62" fmla="*/ 167 w 213"/>
              <a:gd name="T63" fmla="*/ 196 h 213"/>
              <a:gd name="T64" fmla="*/ 165 w 213"/>
              <a:gd name="T65" fmla="*/ 160 h 213"/>
              <a:gd name="T66" fmla="*/ 213 w 213"/>
              <a:gd name="T67" fmla="*/ 127 h 213"/>
              <a:gd name="T68" fmla="*/ 186 w 213"/>
              <a:gd name="T69" fmla="*/ 108 h 213"/>
              <a:gd name="T70" fmla="*/ 186 w 213"/>
              <a:gd name="T71" fmla="*/ 106 h 213"/>
              <a:gd name="T72" fmla="*/ 186 w 213"/>
              <a:gd name="T73" fmla="*/ 102 h 213"/>
              <a:gd name="T74" fmla="*/ 212 w 213"/>
              <a:gd name="T75" fmla="*/ 83 h 2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</a:cxnLst>
            <a:rect l="0" t="0" r="r" b="b"/>
            <a:pathLst>
              <a:path w="213" h="213">
                <a:moveTo>
                  <a:pt x="146" y="108"/>
                </a:moveTo>
                <a:lnTo>
                  <a:pt x="146" y="108"/>
                </a:lnTo>
                <a:cubicBezTo>
                  <a:pt x="146" y="112"/>
                  <a:pt x="145" y="117"/>
                  <a:pt x="143" y="122"/>
                </a:cubicBezTo>
                <a:cubicBezTo>
                  <a:pt x="141" y="126"/>
                  <a:pt x="138" y="130"/>
                  <a:pt x="134" y="134"/>
                </a:cubicBezTo>
                <a:cubicBezTo>
                  <a:pt x="131" y="138"/>
                  <a:pt x="127" y="140"/>
                  <a:pt x="122" y="142"/>
                </a:cubicBezTo>
                <a:cubicBezTo>
                  <a:pt x="117" y="145"/>
                  <a:pt x="112" y="146"/>
                  <a:pt x="106" y="146"/>
                </a:cubicBezTo>
                <a:cubicBezTo>
                  <a:pt x="101" y="146"/>
                  <a:pt x="96" y="145"/>
                  <a:pt x="91" y="142"/>
                </a:cubicBezTo>
                <a:cubicBezTo>
                  <a:pt x="86" y="140"/>
                  <a:pt x="82" y="138"/>
                  <a:pt x="79" y="134"/>
                </a:cubicBezTo>
                <a:cubicBezTo>
                  <a:pt x="75" y="130"/>
                  <a:pt x="72" y="126"/>
                  <a:pt x="70" y="122"/>
                </a:cubicBezTo>
                <a:cubicBezTo>
                  <a:pt x="68" y="117"/>
                  <a:pt x="67" y="112"/>
                  <a:pt x="67" y="108"/>
                </a:cubicBezTo>
                <a:cubicBezTo>
                  <a:pt x="67" y="107"/>
                  <a:pt x="67" y="107"/>
                  <a:pt x="67" y="106"/>
                </a:cubicBezTo>
                <a:cubicBezTo>
                  <a:pt x="67" y="101"/>
                  <a:pt x="68" y="96"/>
                  <a:pt x="70" y="91"/>
                </a:cubicBezTo>
                <a:cubicBezTo>
                  <a:pt x="72" y="87"/>
                  <a:pt x="74" y="84"/>
                  <a:pt x="76" y="81"/>
                </a:cubicBezTo>
                <a:cubicBezTo>
                  <a:pt x="77" y="80"/>
                  <a:pt x="78" y="79"/>
                  <a:pt x="79" y="78"/>
                </a:cubicBezTo>
                <a:cubicBezTo>
                  <a:pt x="82" y="75"/>
                  <a:pt x="86" y="72"/>
                  <a:pt x="91" y="70"/>
                </a:cubicBezTo>
                <a:cubicBezTo>
                  <a:pt x="96" y="68"/>
                  <a:pt x="101" y="67"/>
                  <a:pt x="106" y="67"/>
                </a:cubicBezTo>
                <a:cubicBezTo>
                  <a:pt x="112" y="67"/>
                  <a:pt x="117" y="68"/>
                  <a:pt x="122" y="70"/>
                </a:cubicBezTo>
                <a:cubicBezTo>
                  <a:pt x="127" y="72"/>
                  <a:pt x="131" y="75"/>
                  <a:pt x="134" y="78"/>
                </a:cubicBezTo>
                <a:cubicBezTo>
                  <a:pt x="135" y="79"/>
                  <a:pt x="136" y="80"/>
                  <a:pt x="136" y="81"/>
                </a:cubicBezTo>
                <a:cubicBezTo>
                  <a:pt x="139" y="84"/>
                  <a:pt x="141" y="87"/>
                  <a:pt x="143" y="91"/>
                </a:cubicBezTo>
                <a:cubicBezTo>
                  <a:pt x="145" y="96"/>
                  <a:pt x="146" y="101"/>
                  <a:pt x="146" y="106"/>
                </a:cubicBezTo>
                <a:cubicBezTo>
                  <a:pt x="146" y="107"/>
                  <a:pt x="146" y="107"/>
                  <a:pt x="146" y="108"/>
                </a:cubicBezTo>
                <a:close/>
                <a:moveTo>
                  <a:pt x="212" y="83"/>
                </a:moveTo>
                <a:lnTo>
                  <a:pt x="212" y="83"/>
                </a:lnTo>
                <a:lnTo>
                  <a:pt x="196" y="45"/>
                </a:lnTo>
                <a:lnTo>
                  <a:pt x="187" y="48"/>
                </a:lnTo>
                <a:lnTo>
                  <a:pt x="165" y="53"/>
                </a:lnTo>
                <a:cubicBezTo>
                  <a:pt x="164" y="51"/>
                  <a:pt x="162" y="49"/>
                  <a:pt x="160" y="47"/>
                </a:cubicBezTo>
                <a:lnTo>
                  <a:pt x="167" y="16"/>
                </a:lnTo>
                <a:lnTo>
                  <a:pt x="127" y="0"/>
                </a:lnTo>
                <a:lnTo>
                  <a:pt x="110" y="27"/>
                </a:lnTo>
                <a:cubicBezTo>
                  <a:pt x="110" y="27"/>
                  <a:pt x="109" y="27"/>
                  <a:pt x="108" y="27"/>
                </a:cubicBezTo>
                <a:cubicBezTo>
                  <a:pt x="108" y="27"/>
                  <a:pt x="107" y="27"/>
                  <a:pt x="106" y="27"/>
                </a:cubicBezTo>
                <a:cubicBezTo>
                  <a:pt x="106" y="27"/>
                  <a:pt x="105" y="27"/>
                  <a:pt x="105" y="27"/>
                </a:cubicBezTo>
                <a:cubicBezTo>
                  <a:pt x="104" y="27"/>
                  <a:pt x="103" y="27"/>
                  <a:pt x="103" y="27"/>
                </a:cubicBezTo>
                <a:lnTo>
                  <a:pt x="86" y="0"/>
                </a:lnTo>
                <a:lnTo>
                  <a:pt x="46" y="16"/>
                </a:lnTo>
                <a:lnTo>
                  <a:pt x="48" y="28"/>
                </a:lnTo>
                <a:lnTo>
                  <a:pt x="53" y="47"/>
                </a:lnTo>
                <a:cubicBezTo>
                  <a:pt x="51" y="49"/>
                  <a:pt x="49" y="51"/>
                  <a:pt x="48" y="53"/>
                </a:cubicBezTo>
                <a:lnTo>
                  <a:pt x="27" y="48"/>
                </a:lnTo>
                <a:lnTo>
                  <a:pt x="16" y="45"/>
                </a:lnTo>
                <a:lnTo>
                  <a:pt x="13" y="54"/>
                </a:lnTo>
                <a:lnTo>
                  <a:pt x="2" y="81"/>
                </a:lnTo>
                <a:lnTo>
                  <a:pt x="0" y="86"/>
                </a:lnTo>
                <a:lnTo>
                  <a:pt x="27" y="102"/>
                </a:lnTo>
                <a:cubicBezTo>
                  <a:pt x="27" y="103"/>
                  <a:pt x="27" y="104"/>
                  <a:pt x="27" y="104"/>
                </a:cubicBezTo>
                <a:cubicBezTo>
                  <a:pt x="27" y="105"/>
                  <a:pt x="27" y="106"/>
                  <a:pt x="27" y="106"/>
                </a:cubicBezTo>
                <a:cubicBezTo>
                  <a:pt x="27" y="107"/>
                  <a:pt x="27" y="107"/>
                  <a:pt x="27" y="108"/>
                </a:cubicBezTo>
                <a:cubicBezTo>
                  <a:pt x="27" y="108"/>
                  <a:pt x="27" y="108"/>
                  <a:pt x="27" y="108"/>
                </a:cubicBezTo>
                <a:cubicBezTo>
                  <a:pt x="27" y="109"/>
                  <a:pt x="27" y="109"/>
                  <a:pt x="27" y="110"/>
                </a:cubicBezTo>
                <a:lnTo>
                  <a:pt x="0" y="127"/>
                </a:lnTo>
                <a:lnTo>
                  <a:pt x="16" y="167"/>
                </a:lnTo>
                <a:lnTo>
                  <a:pt x="48" y="160"/>
                </a:lnTo>
                <a:cubicBezTo>
                  <a:pt x="49" y="162"/>
                  <a:pt x="51" y="163"/>
                  <a:pt x="53" y="165"/>
                </a:cubicBezTo>
                <a:lnTo>
                  <a:pt x="46" y="196"/>
                </a:lnTo>
                <a:lnTo>
                  <a:pt x="86" y="213"/>
                </a:lnTo>
                <a:lnTo>
                  <a:pt x="103" y="186"/>
                </a:lnTo>
                <a:cubicBezTo>
                  <a:pt x="103" y="186"/>
                  <a:pt x="104" y="186"/>
                  <a:pt x="105" y="186"/>
                </a:cubicBezTo>
                <a:cubicBezTo>
                  <a:pt x="105" y="186"/>
                  <a:pt x="106" y="186"/>
                  <a:pt x="106" y="186"/>
                </a:cubicBezTo>
                <a:cubicBezTo>
                  <a:pt x="107" y="186"/>
                  <a:pt x="108" y="186"/>
                  <a:pt x="108" y="186"/>
                </a:cubicBezTo>
                <a:cubicBezTo>
                  <a:pt x="109" y="186"/>
                  <a:pt x="110" y="186"/>
                  <a:pt x="110" y="186"/>
                </a:cubicBezTo>
                <a:lnTo>
                  <a:pt x="127" y="213"/>
                </a:lnTo>
                <a:lnTo>
                  <a:pt x="167" y="196"/>
                </a:lnTo>
                <a:lnTo>
                  <a:pt x="160" y="165"/>
                </a:lnTo>
                <a:cubicBezTo>
                  <a:pt x="162" y="163"/>
                  <a:pt x="164" y="162"/>
                  <a:pt x="165" y="160"/>
                </a:cubicBezTo>
                <a:lnTo>
                  <a:pt x="196" y="167"/>
                </a:lnTo>
                <a:lnTo>
                  <a:pt x="213" y="127"/>
                </a:lnTo>
                <a:lnTo>
                  <a:pt x="186" y="110"/>
                </a:lnTo>
                <a:cubicBezTo>
                  <a:pt x="186" y="109"/>
                  <a:pt x="186" y="109"/>
                  <a:pt x="186" y="108"/>
                </a:cubicBezTo>
                <a:cubicBezTo>
                  <a:pt x="186" y="108"/>
                  <a:pt x="186" y="107"/>
                  <a:pt x="186" y="107"/>
                </a:cubicBezTo>
                <a:cubicBezTo>
                  <a:pt x="186" y="107"/>
                  <a:pt x="186" y="106"/>
                  <a:pt x="186" y="106"/>
                </a:cubicBezTo>
                <a:cubicBezTo>
                  <a:pt x="186" y="106"/>
                  <a:pt x="186" y="105"/>
                  <a:pt x="186" y="104"/>
                </a:cubicBezTo>
                <a:cubicBezTo>
                  <a:pt x="186" y="104"/>
                  <a:pt x="186" y="103"/>
                  <a:pt x="186" y="102"/>
                </a:cubicBezTo>
                <a:lnTo>
                  <a:pt x="211" y="87"/>
                </a:lnTo>
                <a:cubicBezTo>
                  <a:pt x="211" y="86"/>
                  <a:pt x="212" y="84"/>
                  <a:pt x="212" y="83"/>
                </a:cubicBezTo>
                <a:close/>
              </a:path>
            </a:pathLst>
          </a:custGeom>
          <a:solidFill>
            <a:schemeClr val="accent5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14" tIns="45706" rIns="91414" bIns="45706" numCol="1" anchor="t" anchorCtr="0" compatLnSpc="1">
            <a:prstTxWarp prst="textNoShape">
              <a:avLst/>
            </a:prstTxWarp>
          </a:bodyPr>
          <a:lstStyle/>
          <a:p>
            <a:pPr defTabSz="914016">
              <a:defRPr/>
            </a:pPr>
            <a:endParaRPr lang="en-US" sz="1765">
              <a:solidFill>
                <a:srgbClr val="1A1A1A"/>
              </a:solidFill>
              <a:latin typeface="Segoe UI"/>
            </a:endParaRPr>
          </a:p>
        </p:txBody>
      </p:sp>
      <p:sp>
        <p:nvSpPr>
          <p:cNvPr id="38" name="Text Placeholder 37">
            <a:extLst>
              <a:ext uri="{FF2B5EF4-FFF2-40B4-BE49-F238E27FC236}">
                <a16:creationId xmlns:a16="http://schemas.microsoft.com/office/drawing/2014/main" id="{C244A250-BB51-EF4B-A7F3-48E85F67947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5995" y="881349"/>
            <a:ext cx="11653523" cy="784488"/>
          </a:xfrm>
        </p:spPr>
        <p:txBody>
          <a:bodyPr/>
          <a:lstStyle/>
          <a:p>
            <a:r>
              <a:rPr lang="en-US" dirty="0"/>
              <a:t>Agent-based for Hyper-V VMs/physical </a:t>
            </a:r>
            <a:br>
              <a:rPr lang="en-US" dirty="0"/>
            </a:br>
            <a:r>
              <a:rPr lang="en-US" dirty="0"/>
              <a:t>servers/AWS, GCP, other cloud service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546E55B6-B20C-4D42-988B-96A021706B0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5995" y="433143"/>
            <a:ext cx="11303917" cy="813704"/>
          </a:xfrm>
        </p:spPr>
        <p:txBody>
          <a:bodyPr/>
          <a:lstStyle/>
          <a:p>
            <a:r>
              <a:rPr lang="en-US" dirty="0"/>
              <a:t>Dependency analysis: </a:t>
            </a:r>
          </a:p>
        </p:txBody>
      </p:sp>
      <p:sp>
        <p:nvSpPr>
          <p:cNvPr id="32" name="bk object 17">
            <a:extLst>
              <a:ext uri="{FF2B5EF4-FFF2-40B4-BE49-F238E27FC236}">
                <a16:creationId xmlns:a16="http://schemas.microsoft.com/office/drawing/2014/main" id="{BCF20260-B386-4D6B-AB2B-DA7A20923620}"/>
              </a:ext>
            </a:extLst>
          </p:cNvPr>
          <p:cNvSpPr/>
          <p:nvPr/>
        </p:nvSpPr>
        <p:spPr>
          <a:xfrm>
            <a:off x="0" y="6497955"/>
            <a:ext cx="12192000" cy="360045"/>
          </a:xfrm>
          <a:custGeom>
            <a:avLst/>
            <a:gdLst/>
            <a:ahLst/>
            <a:cxnLst/>
            <a:rect l="l" t="t" r="r" b="b"/>
            <a:pathLst>
              <a:path w="12434570" h="360045">
                <a:moveTo>
                  <a:pt x="0" y="359994"/>
                </a:moveTo>
                <a:lnTo>
                  <a:pt x="12434404" y="359994"/>
                </a:lnTo>
                <a:lnTo>
                  <a:pt x="12434404" y="0"/>
                </a:lnTo>
                <a:lnTo>
                  <a:pt x="0" y="0"/>
                </a:lnTo>
                <a:lnTo>
                  <a:pt x="0" y="359994"/>
                </a:lnTo>
                <a:close/>
              </a:path>
            </a:pathLst>
          </a:custGeom>
          <a:solidFill>
            <a:srgbClr val="007FBA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4EBD18FA-CA87-40A2-9E61-384977344F4D}"/>
              </a:ext>
            </a:extLst>
          </p:cNvPr>
          <p:cNvSpPr txBox="1"/>
          <p:nvPr/>
        </p:nvSpPr>
        <p:spPr>
          <a:xfrm>
            <a:off x="7278010" y="6591175"/>
            <a:ext cx="425867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100" b="0" i="0" kern="0" spc="-20" baseline="0" dirty="0">
                <a:solidFill>
                  <a:schemeClr val="bg1"/>
                </a:solidFill>
                <a:latin typeface="Segoe UI Semibold" charset="0"/>
              </a:rPr>
              <a:t>Microsoft Azure    </a:t>
            </a:r>
            <a:r>
              <a:rPr lang="en-US" sz="1100" b="0" i="0" kern="0" spc="-20" baseline="0" dirty="0">
                <a:solidFill>
                  <a:schemeClr val="bg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|  @</a:t>
            </a:r>
            <a:r>
              <a:rPr lang="en-US" sz="1100" b="0" i="0" kern="0" spc="-20" baseline="0" dirty="0" err="1">
                <a:solidFill>
                  <a:schemeClr val="bg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Techielass</a:t>
            </a:r>
            <a:endParaRPr lang="en-US" sz="1100" b="0" i="0" kern="0" spc="-20" baseline="0" dirty="0">
              <a:solidFill>
                <a:schemeClr val="bg1"/>
              </a:solidFill>
              <a:latin typeface="Segoe UI Semilight" panose="020B0402040204020203" pitchFamily="34" charset="0"/>
              <a:ea typeface="Segoe UI Semilight" charset="0"/>
              <a:cs typeface="Segoe UI Semilight" panose="020B04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586496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5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5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51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51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1" dur="500" fill="hold"/>
                                        <p:tgtEl>
                                          <p:spTgt spid="5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2" dur="500" fill="hold"/>
                                        <p:tgtEl>
                                          <p:spTgt spid="5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3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5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5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51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51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3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5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6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1" dur="500" fill="hold"/>
                                        <p:tgtEl>
                                          <p:spTgt spid="51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2" dur="500" fill="hold"/>
                                        <p:tgtEl>
                                          <p:spTgt spid="51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3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5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6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0" grpId="0" animBg="1"/>
      <p:bldP spid="52" grpId="0" animBg="1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>
            <a:extLst>
              <a:ext uri="{FF2B5EF4-FFF2-40B4-BE49-F238E27FC236}">
                <a16:creationId xmlns:a16="http://schemas.microsoft.com/office/drawing/2014/main" id="{34F1C061-86F2-41AE-AFB6-A1EEF5642FBD}"/>
              </a:ext>
            </a:extLst>
          </p:cNvPr>
          <p:cNvGrpSpPr/>
          <p:nvPr/>
        </p:nvGrpSpPr>
        <p:grpSpPr>
          <a:xfrm>
            <a:off x="11089341" y="284761"/>
            <a:ext cx="885005" cy="746180"/>
            <a:chOff x="1243893" y="2839841"/>
            <a:chExt cx="715323" cy="712615"/>
          </a:xfrm>
        </p:grpSpPr>
        <p:sp>
          <p:nvSpPr>
            <p:cNvPr id="9" name="Freeform 101">
              <a:extLst>
                <a:ext uri="{FF2B5EF4-FFF2-40B4-BE49-F238E27FC236}">
                  <a16:creationId xmlns:a16="http://schemas.microsoft.com/office/drawing/2014/main" id="{E59BC9BD-1CA0-4769-8608-940B27AAC8E5}"/>
                </a:ext>
              </a:extLst>
            </p:cNvPr>
            <p:cNvSpPr>
              <a:spLocks/>
            </p:cNvSpPr>
            <p:nvPr/>
          </p:nvSpPr>
          <p:spPr bwMode="auto">
            <a:xfrm>
              <a:off x="1468786" y="2839841"/>
              <a:ext cx="490430" cy="490431"/>
            </a:xfrm>
            <a:custGeom>
              <a:avLst/>
              <a:gdLst>
                <a:gd name="T0" fmla="*/ 293 w 293"/>
                <a:gd name="T1" fmla="*/ 145 h 292"/>
                <a:gd name="T2" fmla="*/ 292 w 293"/>
                <a:gd name="T3" fmla="*/ 129 h 292"/>
                <a:gd name="T4" fmla="*/ 288 w 293"/>
                <a:gd name="T5" fmla="*/ 107 h 292"/>
                <a:gd name="T6" fmla="*/ 283 w 293"/>
                <a:gd name="T7" fmla="*/ 91 h 292"/>
                <a:gd name="T8" fmla="*/ 273 w 293"/>
                <a:gd name="T9" fmla="*/ 72 h 292"/>
                <a:gd name="T10" fmla="*/ 264 w 293"/>
                <a:gd name="T11" fmla="*/ 58 h 292"/>
                <a:gd name="T12" fmla="*/ 250 w 293"/>
                <a:gd name="T13" fmla="*/ 42 h 292"/>
                <a:gd name="T14" fmla="*/ 236 w 293"/>
                <a:gd name="T15" fmla="*/ 30 h 292"/>
                <a:gd name="T16" fmla="*/ 220 w 293"/>
                <a:gd name="T17" fmla="*/ 19 h 292"/>
                <a:gd name="T18" fmla="*/ 205 w 293"/>
                <a:gd name="T19" fmla="*/ 11 h 292"/>
                <a:gd name="T20" fmla="*/ 185 w 293"/>
                <a:gd name="T21" fmla="*/ 4 h 292"/>
                <a:gd name="T22" fmla="*/ 169 w 293"/>
                <a:gd name="T23" fmla="*/ 2 h 292"/>
                <a:gd name="T24" fmla="*/ 146 w 293"/>
                <a:gd name="T25" fmla="*/ 0 h 292"/>
                <a:gd name="T26" fmla="*/ 146 w 293"/>
                <a:gd name="T27" fmla="*/ 0 h 292"/>
                <a:gd name="T28" fmla="*/ 130 w 293"/>
                <a:gd name="T29" fmla="*/ 1 h 292"/>
                <a:gd name="T30" fmla="*/ 108 w 293"/>
                <a:gd name="T31" fmla="*/ 4 h 292"/>
                <a:gd name="T32" fmla="*/ 92 w 293"/>
                <a:gd name="T33" fmla="*/ 9 h 292"/>
                <a:gd name="T34" fmla="*/ 73 w 293"/>
                <a:gd name="T35" fmla="*/ 19 h 292"/>
                <a:gd name="T36" fmla="*/ 61 w 293"/>
                <a:gd name="T37" fmla="*/ 27 h 292"/>
                <a:gd name="T38" fmla="*/ 59 w 293"/>
                <a:gd name="T39" fmla="*/ 28 h 292"/>
                <a:gd name="T40" fmla="*/ 43 w 293"/>
                <a:gd name="T41" fmla="*/ 42 h 292"/>
                <a:gd name="T42" fmla="*/ 31 w 293"/>
                <a:gd name="T43" fmla="*/ 56 h 292"/>
                <a:gd name="T44" fmla="*/ 20 w 293"/>
                <a:gd name="T45" fmla="*/ 72 h 292"/>
                <a:gd name="T46" fmla="*/ 12 w 293"/>
                <a:gd name="T47" fmla="*/ 87 h 292"/>
                <a:gd name="T48" fmla="*/ 5 w 293"/>
                <a:gd name="T49" fmla="*/ 107 h 292"/>
                <a:gd name="T50" fmla="*/ 2 w 293"/>
                <a:gd name="T51" fmla="*/ 123 h 292"/>
                <a:gd name="T52" fmla="*/ 0 w 293"/>
                <a:gd name="T53" fmla="*/ 145 h 292"/>
                <a:gd name="T54" fmla="*/ 1 w 293"/>
                <a:gd name="T55" fmla="*/ 160 h 292"/>
                <a:gd name="T56" fmla="*/ 9 w 293"/>
                <a:gd name="T57" fmla="*/ 195 h 292"/>
                <a:gd name="T58" fmla="*/ 10 w 293"/>
                <a:gd name="T59" fmla="*/ 200 h 292"/>
                <a:gd name="T60" fmla="*/ 26 w 293"/>
                <a:gd name="T61" fmla="*/ 229 h 292"/>
                <a:gd name="T62" fmla="*/ 34 w 293"/>
                <a:gd name="T63" fmla="*/ 239 h 292"/>
                <a:gd name="T64" fmla="*/ 80 w 293"/>
                <a:gd name="T65" fmla="*/ 276 h 292"/>
                <a:gd name="T66" fmla="*/ 136 w 293"/>
                <a:gd name="T67" fmla="*/ 292 h 292"/>
                <a:gd name="T68" fmla="*/ 148 w 293"/>
                <a:gd name="T69" fmla="*/ 292 h 292"/>
                <a:gd name="T70" fmla="*/ 182 w 293"/>
                <a:gd name="T71" fmla="*/ 288 h 292"/>
                <a:gd name="T72" fmla="*/ 187 w 293"/>
                <a:gd name="T73" fmla="*/ 287 h 292"/>
                <a:gd name="T74" fmla="*/ 219 w 293"/>
                <a:gd name="T75" fmla="*/ 273 h 292"/>
                <a:gd name="T76" fmla="*/ 232 w 293"/>
                <a:gd name="T77" fmla="*/ 265 h 292"/>
                <a:gd name="T78" fmla="*/ 250 w 293"/>
                <a:gd name="T79" fmla="*/ 250 h 292"/>
                <a:gd name="T80" fmla="*/ 261 w 293"/>
                <a:gd name="T81" fmla="*/ 238 h 292"/>
                <a:gd name="T82" fmla="*/ 273 w 293"/>
                <a:gd name="T83" fmla="*/ 220 h 292"/>
                <a:gd name="T84" fmla="*/ 281 w 293"/>
                <a:gd name="T85" fmla="*/ 205 h 292"/>
                <a:gd name="T86" fmla="*/ 287 w 293"/>
                <a:gd name="T87" fmla="*/ 187 h 292"/>
                <a:gd name="T88" fmla="*/ 291 w 293"/>
                <a:gd name="T89" fmla="*/ 169 h 292"/>
                <a:gd name="T90" fmla="*/ 293 w 293"/>
                <a:gd name="T91" fmla="*/ 148 h 2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293" h="292">
                  <a:moveTo>
                    <a:pt x="293" y="148"/>
                  </a:moveTo>
                  <a:lnTo>
                    <a:pt x="293" y="148"/>
                  </a:lnTo>
                  <a:cubicBezTo>
                    <a:pt x="293" y="147"/>
                    <a:pt x="293" y="146"/>
                    <a:pt x="293" y="145"/>
                  </a:cubicBezTo>
                  <a:cubicBezTo>
                    <a:pt x="293" y="143"/>
                    <a:pt x="293" y="141"/>
                    <a:pt x="293" y="138"/>
                  </a:cubicBezTo>
                  <a:cubicBezTo>
                    <a:pt x="293" y="136"/>
                    <a:pt x="293" y="134"/>
                    <a:pt x="293" y="132"/>
                  </a:cubicBezTo>
                  <a:cubicBezTo>
                    <a:pt x="292" y="131"/>
                    <a:pt x="292" y="130"/>
                    <a:pt x="292" y="129"/>
                  </a:cubicBezTo>
                  <a:cubicBezTo>
                    <a:pt x="292" y="126"/>
                    <a:pt x="291" y="122"/>
                    <a:pt x="291" y="119"/>
                  </a:cubicBezTo>
                  <a:cubicBezTo>
                    <a:pt x="290" y="116"/>
                    <a:pt x="289" y="113"/>
                    <a:pt x="289" y="110"/>
                  </a:cubicBezTo>
                  <a:cubicBezTo>
                    <a:pt x="288" y="109"/>
                    <a:pt x="288" y="108"/>
                    <a:pt x="288" y="107"/>
                  </a:cubicBezTo>
                  <a:cubicBezTo>
                    <a:pt x="287" y="104"/>
                    <a:pt x="287" y="103"/>
                    <a:pt x="286" y="101"/>
                  </a:cubicBezTo>
                  <a:cubicBezTo>
                    <a:pt x="285" y="99"/>
                    <a:pt x="285" y="97"/>
                    <a:pt x="284" y="94"/>
                  </a:cubicBezTo>
                  <a:cubicBezTo>
                    <a:pt x="284" y="93"/>
                    <a:pt x="283" y="93"/>
                    <a:pt x="283" y="91"/>
                  </a:cubicBezTo>
                  <a:cubicBezTo>
                    <a:pt x="282" y="88"/>
                    <a:pt x="280" y="86"/>
                    <a:pt x="279" y="83"/>
                  </a:cubicBezTo>
                  <a:cubicBezTo>
                    <a:pt x="277" y="80"/>
                    <a:pt x="276" y="77"/>
                    <a:pt x="274" y="74"/>
                  </a:cubicBezTo>
                  <a:cubicBezTo>
                    <a:pt x="274" y="73"/>
                    <a:pt x="274" y="72"/>
                    <a:pt x="273" y="72"/>
                  </a:cubicBezTo>
                  <a:cubicBezTo>
                    <a:pt x="272" y="70"/>
                    <a:pt x="271" y="68"/>
                    <a:pt x="269" y="66"/>
                  </a:cubicBezTo>
                  <a:cubicBezTo>
                    <a:pt x="268" y="64"/>
                    <a:pt x="267" y="62"/>
                    <a:pt x="266" y="60"/>
                  </a:cubicBezTo>
                  <a:cubicBezTo>
                    <a:pt x="265" y="59"/>
                    <a:pt x="264" y="58"/>
                    <a:pt x="264" y="58"/>
                  </a:cubicBezTo>
                  <a:cubicBezTo>
                    <a:pt x="262" y="56"/>
                    <a:pt x="261" y="54"/>
                    <a:pt x="259" y="52"/>
                  </a:cubicBezTo>
                  <a:cubicBezTo>
                    <a:pt x="256" y="49"/>
                    <a:pt x="254" y="45"/>
                    <a:pt x="251" y="42"/>
                  </a:cubicBezTo>
                  <a:cubicBezTo>
                    <a:pt x="250" y="42"/>
                    <a:pt x="250" y="42"/>
                    <a:pt x="250" y="42"/>
                  </a:cubicBezTo>
                  <a:cubicBezTo>
                    <a:pt x="249" y="41"/>
                    <a:pt x="249" y="41"/>
                    <a:pt x="248" y="40"/>
                  </a:cubicBezTo>
                  <a:cubicBezTo>
                    <a:pt x="245" y="37"/>
                    <a:pt x="242" y="34"/>
                    <a:pt x="239" y="31"/>
                  </a:cubicBezTo>
                  <a:cubicBezTo>
                    <a:pt x="238" y="31"/>
                    <a:pt x="237" y="30"/>
                    <a:pt x="236" y="30"/>
                  </a:cubicBezTo>
                  <a:cubicBezTo>
                    <a:pt x="235" y="29"/>
                    <a:pt x="234" y="28"/>
                    <a:pt x="233" y="27"/>
                  </a:cubicBezTo>
                  <a:cubicBezTo>
                    <a:pt x="229" y="25"/>
                    <a:pt x="225" y="22"/>
                    <a:pt x="221" y="19"/>
                  </a:cubicBezTo>
                  <a:cubicBezTo>
                    <a:pt x="221" y="19"/>
                    <a:pt x="221" y="19"/>
                    <a:pt x="220" y="19"/>
                  </a:cubicBezTo>
                  <a:cubicBezTo>
                    <a:pt x="218" y="17"/>
                    <a:pt x="216" y="16"/>
                    <a:pt x="213" y="15"/>
                  </a:cubicBezTo>
                  <a:cubicBezTo>
                    <a:pt x="211" y="14"/>
                    <a:pt x="209" y="13"/>
                    <a:pt x="206" y="11"/>
                  </a:cubicBezTo>
                  <a:cubicBezTo>
                    <a:pt x="206" y="11"/>
                    <a:pt x="205" y="11"/>
                    <a:pt x="205" y="11"/>
                  </a:cubicBezTo>
                  <a:cubicBezTo>
                    <a:pt x="201" y="9"/>
                    <a:pt x="196" y="8"/>
                    <a:pt x="192" y="6"/>
                  </a:cubicBezTo>
                  <a:cubicBezTo>
                    <a:pt x="191" y="6"/>
                    <a:pt x="189" y="5"/>
                    <a:pt x="188" y="5"/>
                  </a:cubicBezTo>
                  <a:cubicBezTo>
                    <a:pt x="187" y="5"/>
                    <a:pt x="186" y="4"/>
                    <a:pt x="185" y="4"/>
                  </a:cubicBezTo>
                  <a:cubicBezTo>
                    <a:pt x="181" y="4"/>
                    <a:pt x="177" y="3"/>
                    <a:pt x="173" y="2"/>
                  </a:cubicBezTo>
                  <a:cubicBezTo>
                    <a:pt x="172" y="2"/>
                    <a:pt x="171" y="2"/>
                    <a:pt x="170" y="2"/>
                  </a:cubicBezTo>
                  <a:cubicBezTo>
                    <a:pt x="170" y="2"/>
                    <a:pt x="170" y="2"/>
                    <a:pt x="169" y="2"/>
                  </a:cubicBezTo>
                  <a:cubicBezTo>
                    <a:pt x="165" y="1"/>
                    <a:pt x="161" y="1"/>
                    <a:pt x="157" y="0"/>
                  </a:cubicBezTo>
                  <a:cubicBezTo>
                    <a:pt x="154" y="0"/>
                    <a:pt x="152" y="0"/>
                    <a:pt x="149" y="0"/>
                  </a:cubicBezTo>
                  <a:cubicBezTo>
                    <a:pt x="148" y="0"/>
                    <a:pt x="147" y="0"/>
                    <a:pt x="146" y="0"/>
                  </a:cubicBezTo>
                  <a:lnTo>
                    <a:pt x="146" y="0"/>
                  </a:lnTo>
                  <a:lnTo>
                    <a:pt x="146" y="0"/>
                  </a:lnTo>
                  <a:lnTo>
                    <a:pt x="146" y="0"/>
                  </a:lnTo>
                  <a:cubicBezTo>
                    <a:pt x="144" y="0"/>
                    <a:pt x="142" y="0"/>
                    <a:pt x="139" y="0"/>
                  </a:cubicBezTo>
                  <a:cubicBezTo>
                    <a:pt x="137" y="0"/>
                    <a:pt x="135" y="0"/>
                    <a:pt x="133" y="0"/>
                  </a:cubicBezTo>
                  <a:cubicBezTo>
                    <a:pt x="132" y="1"/>
                    <a:pt x="131" y="1"/>
                    <a:pt x="130" y="1"/>
                  </a:cubicBezTo>
                  <a:cubicBezTo>
                    <a:pt x="127" y="1"/>
                    <a:pt x="123" y="2"/>
                    <a:pt x="120" y="2"/>
                  </a:cubicBezTo>
                  <a:cubicBezTo>
                    <a:pt x="117" y="3"/>
                    <a:pt x="114" y="4"/>
                    <a:pt x="111" y="4"/>
                  </a:cubicBezTo>
                  <a:cubicBezTo>
                    <a:pt x="110" y="4"/>
                    <a:pt x="109" y="4"/>
                    <a:pt x="108" y="4"/>
                  </a:cubicBezTo>
                  <a:cubicBezTo>
                    <a:pt x="105" y="5"/>
                    <a:pt x="104" y="5"/>
                    <a:pt x="102" y="6"/>
                  </a:cubicBezTo>
                  <a:cubicBezTo>
                    <a:pt x="100" y="7"/>
                    <a:pt x="98" y="7"/>
                    <a:pt x="96" y="8"/>
                  </a:cubicBezTo>
                  <a:cubicBezTo>
                    <a:pt x="94" y="8"/>
                    <a:pt x="94" y="9"/>
                    <a:pt x="92" y="9"/>
                  </a:cubicBezTo>
                  <a:cubicBezTo>
                    <a:pt x="89" y="10"/>
                    <a:pt x="87" y="12"/>
                    <a:pt x="84" y="13"/>
                  </a:cubicBezTo>
                  <a:cubicBezTo>
                    <a:pt x="81" y="15"/>
                    <a:pt x="78" y="16"/>
                    <a:pt x="75" y="18"/>
                  </a:cubicBezTo>
                  <a:cubicBezTo>
                    <a:pt x="74" y="18"/>
                    <a:pt x="73" y="18"/>
                    <a:pt x="73" y="19"/>
                  </a:cubicBezTo>
                  <a:cubicBezTo>
                    <a:pt x="71" y="20"/>
                    <a:pt x="69" y="21"/>
                    <a:pt x="67" y="23"/>
                  </a:cubicBezTo>
                  <a:cubicBezTo>
                    <a:pt x="65" y="24"/>
                    <a:pt x="63" y="25"/>
                    <a:pt x="61" y="26"/>
                  </a:cubicBezTo>
                  <a:lnTo>
                    <a:pt x="61" y="27"/>
                  </a:lnTo>
                  <a:lnTo>
                    <a:pt x="61" y="27"/>
                  </a:lnTo>
                  <a:lnTo>
                    <a:pt x="61" y="26"/>
                  </a:lnTo>
                  <a:cubicBezTo>
                    <a:pt x="60" y="27"/>
                    <a:pt x="59" y="28"/>
                    <a:pt x="59" y="28"/>
                  </a:cubicBezTo>
                  <a:cubicBezTo>
                    <a:pt x="57" y="30"/>
                    <a:pt x="55" y="31"/>
                    <a:pt x="53" y="33"/>
                  </a:cubicBezTo>
                  <a:cubicBezTo>
                    <a:pt x="50" y="36"/>
                    <a:pt x="46" y="38"/>
                    <a:pt x="43" y="41"/>
                  </a:cubicBezTo>
                  <a:cubicBezTo>
                    <a:pt x="43" y="42"/>
                    <a:pt x="43" y="42"/>
                    <a:pt x="43" y="42"/>
                  </a:cubicBezTo>
                  <a:cubicBezTo>
                    <a:pt x="42" y="43"/>
                    <a:pt x="42" y="43"/>
                    <a:pt x="41" y="44"/>
                  </a:cubicBezTo>
                  <a:cubicBezTo>
                    <a:pt x="38" y="47"/>
                    <a:pt x="35" y="50"/>
                    <a:pt x="32" y="53"/>
                  </a:cubicBezTo>
                  <a:cubicBezTo>
                    <a:pt x="32" y="54"/>
                    <a:pt x="31" y="55"/>
                    <a:pt x="31" y="56"/>
                  </a:cubicBezTo>
                  <a:cubicBezTo>
                    <a:pt x="30" y="57"/>
                    <a:pt x="29" y="58"/>
                    <a:pt x="28" y="59"/>
                  </a:cubicBezTo>
                  <a:cubicBezTo>
                    <a:pt x="26" y="63"/>
                    <a:pt x="23" y="67"/>
                    <a:pt x="20" y="71"/>
                  </a:cubicBezTo>
                  <a:cubicBezTo>
                    <a:pt x="20" y="71"/>
                    <a:pt x="20" y="71"/>
                    <a:pt x="20" y="72"/>
                  </a:cubicBezTo>
                  <a:cubicBezTo>
                    <a:pt x="18" y="74"/>
                    <a:pt x="17" y="76"/>
                    <a:pt x="16" y="79"/>
                  </a:cubicBezTo>
                  <a:cubicBezTo>
                    <a:pt x="15" y="81"/>
                    <a:pt x="14" y="83"/>
                    <a:pt x="12" y="86"/>
                  </a:cubicBezTo>
                  <a:cubicBezTo>
                    <a:pt x="12" y="86"/>
                    <a:pt x="12" y="87"/>
                    <a:pt x="12" y="87"/>
                  </a:cubicBezTo>
                  <a:cubicBezTo>
                    <a:pt x="10" y="91"/>
                    <a:pt x="9" y="96"/>
                    <a:pt x="7" y="100"/>
                  </a:cubicBezTo>
                  <a:cubicBezTo>
                    <a:pt x="7" y="101"/>
                    <a:pt x="6" y="103"/>
                    <a:pt x="6" y="104"/>
                  </a:cubicBezTo>
                  <a:cubicBezTo>
                    <a:pt x="6" y="105"/>
                    <a:pt x="5" y="106"/>
                    <a:pt x="5" y="107"/>
                  </a:cubicBezTo>
                  <a:cubicBezTo>
                    <a:pt x="4" y="111"/>
                    <a:pt x="3" y="115"/>
                    <a:pt x="2" y="119"/>
                  </a:cubicBezTo>
                  <a:cubicBezTo>
                    <a:pt x="2" y="120"/>
                    <a:pt x="2" y="121"/>
                    <a:pt x="2" y="122"/>
                  </a:cubicBezTo>
                  <a:cubicBezTo>
                    <a:pt x="2" y="122"/>
                    <a:pt x="2" y="122"/>
                    <a:pt x="2" y="123"/>
                  </a:cubicBezTo>
                  <a:cubicBezTo>
                    <a:pt x="1" y="127"/>
                    <a:pt x="1" y="131"/>
                    <a:pt x="0" y="135"/>
                  </a:cubicBezTo>
                  <a:cubicBezTo>
                    <a:pt x="0" y="138"/>
                    <a:pt x="0" y="140"/>
                    <a:pt x="0" y="143"/>
                  </a:cubicBezTo>
                  <a:cubicBezTo>
                    <a:pt x="0" y="144"/>
                    <a:pt x="0" y="145"/>
                    <a:pt x="0" y="145"/>
                  </a:cubicBezTo>
                  <a:cubicBezTo>
                    <a:pt x="0" y="150"/>
                    <a:pt x="0" y="155"/>
                    <a:pt x="0" y="159"/>
                  </a:cubicBezTo>
                  <a:cubicBezTo>
                    <a:pt x="0" y="159"/>
                    <a:pt x="0" y="159"/>
                    <a:pt x="0" y="159"/>
                  </a:cubicBezTo>
                  <a:cubicBezTo>
                    <a:pt x="1" y="160"/>
                    <a:pt x="1" y="160"/>
                    <a:pt x="1" y="160"/>
                  </a:cubicBezTo>
                  <a:cubicBezTo>
                    <a:pt x="1" y="166"/>
                    <a:pt x="2" y="171"/>
                    <a:pt x="3" y="176"/>
                  </a:cubicBezTo>
                  <a:cubicBezTo>
                    <a:pt x="3" y="177"/>
                    <a:pt x="4" y="179"/>
                    <a:pt x="4" y="180"/>
                  </a:cubicBezTo>
                  <a:cubicBezTo>
                    <a:pt x="5" y="185"/>
                    <a:pt x="7" y="190"/>
                    <a:pt x="9" y="195"/>
                  </a:cubicBezTo>
                  <a:cubicBezTo>
                    <a:pt x="9" y="195"/>
                    <a:pt x="9" y="195"/>
                    <a:pt x="9" y="196"/>
                  </a:cubicBezTo>
                  <a:cubicBezTo>
                    <a:pt x="9" y="196"/>
                    <a:pt x="9" y="196"/>
                    <a:pt x="9" y="196"/>
                  </a:cubicBezTo>
                  <a:cubicBezTo>
                    <a:pt x="9" y="198"/>
                    <a:pt x="10" y="199"/>
                    <a:pt x="10" y="200"/>
                  </a:cubicBezTo>
                  <a:cubicBezTo>
                    <a:pt x="12" y="203"/>
                    <a:pt x="13" y="207"/>
                    <a:pt x="15" y="211"/>
                  </a:cubicBezTo>
                  <a:cubicBezTo>
                    <a:pt x="16" y="213"/>
                    <a:pt x="17" y="215"/>
                    <a:pt x="18" y="217"/>
                  </a:cubicBezTo>
                  <a:cubicBezTo>
                    <a:pt x="21" y="221"/>
                    <a:pt x="24" y="225"/>
                    <a:pt x="26" y="229"/>
                  </a:cubicBezTo>
                  <a:cubicBezTo>
                    <a:pt x="27" y="230"/>
                    <a:pt x="27" y="231"/>
                    <a:pt x="27" y="231"/>
                  </a:cubicBezTo>
                  <a:cubicBezTo>
                    <a:pt x="29" y="234"/>
                    <a:pt x="31" y="236"/>
                    <a:pt x="34" y="239"/>
                  </a:cubicBezTo>
                  <a:cubicBezTo>
                    <a:pt x="34" y="239"/>
                    <a:pt x="34" y="239"/>
                    <a:pt x="34" y="239"/>
                  </a:cubicBezTo>
                  <a:lnTo>
                    <a:pt x="34" y="239"/>
                  </a:lnTo>
                  <a:cubicBezTo>
                    <a:pt x="43" y="250"/>
                    <a:pt x="52" y="259"/>
                    <a:pt x="64" y="267"/>
                  </a:cubicBezTo>
                  <a:cubicBezTo>
                    <a:pt x="69" y="270"/>
                    <a:pt x="74" y="273"/>
                    <a:pt x="80" y="276"/>
                  </a:cubicBezTo>
                  <a:cubicBezTo>
                    <a:pt x="85" y="279"/>
                    <a:pt x="91" y="281"/>
                    <a:pt x="97" y="283"/>
                  </a:cubicBezTo>
                  <a:cubicBezTo>
                    <a:pt x="109" y="288"/>
                    <a:pt x="123" y="291"/>
                    <a:pt x="136" y="292"/>
                  </a:cubicBezTo>
                  <a:lnTo>
                    <a:pt x="136" y="292"/>
                  </a:lnTo>
                  <a:cubicBezTo>
                    <a:pt x="136" y="292"/>
                    <a:pt x="137" y="292"/>
                    <a:pt x="137" y="292"/>
                  </a:cubicBezTo>
                  <a:cubicBezTo>
                    <a:pt x="140" y="292"/>
                    <a:pt x="143" y="292"/>
                    <a:pt x="146" y="292"/>
                  </a:cubicBezTo>
                  <a:cubicBezTo>
                    <a:pt x="147" y="292"/>
                    <a:pt x="148" y="292"/>
                    <a:pt x="148" y="292"/>
                  </a:cubicBezTo>
                  <a:cubicBezTo>
                    <a:pt x="153" y="292"/>
                    <a:pt x="158" y="292"/>
                    <a:pt x="163" y="291"/>
                  </a:cubicBezTo>
                  <a:cubicBezTo>
                    <a:pt x="166" y="291"/>
                    <a:pt x="168" y="290"/>
                    <a:pt x="170" y="290"/>
                  </a:cubicBezTo>
                  <a:cubicBezTo>
                    <a:pt x="174" y="289"/>
                    <a:pt x="178" y="289"/>
                    <a:pt x="182" y="288"/>
                  </a:cubicBezTo>
                  <a:cubicBezTo>
                    <a:pt x="183" y="287"/>
                    <a:pt x="184" y="287"/>
                    <a:pt x="185" y="287"/>
                  </a:cubicBezTo>
                  <a:cubicBezTo>
                    <a:pt x="186" y="287"/>
                    <a:pt x="186" y="287"/>
                    <a:pt x="186" y="287"/>
                  </a:cubicBezTo>
                  <a:cubicBezTo>
                    <a:pt x="186" y="287"/>
                    <a:pt x="186" y="287"/>
                    <a:pt x="187" y="287"/>
                  </a:cubicBezTo>
                  <a:cubicBezTo>
                    <a:pt x="192" y="285"/>
                    <a:pt x="197" y="283"/>
                    <a:pt x="202" y="281"/>
                  </a:cubicBezTo>
                  <a:cubicBezTo>
                    <a:pt x="203" y="281"/>
                    <a:pt x="204" y="280"/>
                    <a:pt x="206" y="280"/>
                  </a:cubicBezTo>
                  <a:cubicBezTo>
                    <a:pt x="210" y="278"/>
                    <a:pt x="215" y="275"/>
                    <a:pt x="219" y="273"/>
                  </a:cubicBezTo>
                  <a:cubicBezTo>
                    <a:pt x="220" y="273"/>
                    <a:pt x="220" y="272"/>
                    <a:pt x="220" y="272"/>
                  </a:cubicBezTo>
                  <a:cubicBezTo>
                    <a:pt x="221" y="272"/>
                    <a:pt x="221" y="272"/>
                    <a:pt x="221" y="272"/>
                  </a:cubicBezTo>
                  <a:cubicBezTo>
                    <a:pt x="225" y="270"/>
                    <a:pt x="228" y="267"/>
                    <a:pt x="232" y="265"/>
                  </a:cubicBezTo>
                  <a:cubicBezTo>
                    <a:pt x="233" y="264"/>
                    <a:pt x="234" y="263"/>
                    <a:pt x="234" y="263"/>
                  </a:cubicBezTo>
                  <a:cubicBezTo>
                    <a:pt x="236" y="261"/>
                    <a:pt x="238" y="260"/>
                    <a:pt x="240" y="258"/>
                  </a:cubicBezTo>
                  <a:cubicBezTo>
                    <a:pt x="243" y="255"/>
                    <a:pt x="247" y="253"/>
                    <a:pt x="250" y="250"/>
                  </a:cubicBezTo>
                  <a:cubicBezTo>
                    <a:pt x="250" y="249"/>
                    <a:pt x="250" y="249"/>
                    <a:pt x="250" y="249"/>
                  </a:cubicBezTo>
                  <a:cubicBezTo>
                    <a:pt x="251" y="248"/>
                    <a:pt x="251" y="248"/>
                    <a:pt x="252" y="247"/>
                  </a:cubicBezTo>
                  <a:cubicBezTo>
                    <a:pt x="255" y="244"/>
                    <a:pt x="258" y="241"/>
                    <a:pt x="261" y="238"/>
                  </a:cubicBezTo>
                  <a:cubicBezTo>
                    <a:pt x="261" y="237"/>
                    <a:pt x="262" y="236"/>
                    <a:pt x="262" y="235"/>
                  </a:cubicBezTo>
                  <a:cubicBezTo>
                    <a:pt x="263" y="234"/>
                    <a:pt x="264" y="233"/>
                    <a:pt x="265" y="232"/>
                  </a:cubicBezTo>
                  <a:cubicBezTo>
                    <a:pt x="267" y="228"/>
                    <a:pt x="270" y="224"/>
                    <a:pt x="273" y="220"/>
                  </a:cubicBezTo>
                  <a:cubicBezTo>
                    <a:pt x="273" y="220"/>
                    <a:pt x="273" y="220"/>
                    <a:pt x="273" y="219"/>
                  </a:cubicBezTo>
                  <a:cubicBezTo>
                    <a:pt x="274" y="217"/>
                    <a:pt x="275" y="215"/>
                    <a:pt x="277" y="213"/>
                  </a:cubicBezTo>
                  <a:cubicBezTo>
                    <a:pt x="278" y="210"/>
                    <a:pt x="279" y="208"/>
                    <a:pt x="281" y="205"/>
                  </a:cubicBezTo>
                  <a:cubicBezTo>
                    <a:pt x="281" y="205"/>
                    <a:pt x="281" y="204"/>
                    <a:pt x="281" y="204"/>
                  </a:cubicBezTo>
                  <a:cubicBezTo>
                    <a:pt x="283" y="200"/>
                    <a:pt x="284" y="196"/>
                    <a:pt x="286" y="191"/>
                  </a:cubicBezTo>
                  <a:cubicBezTo>
                    <a:pt x="286" y="190"/>
                    <a:pt x="287" y="188"/>
                    <a:pt x="287" y="187"/>
                  </a:cubicBezTo>
                  <a:cubicBezTo>
                    <a:pt x="287" y="186"/>
                    <a:pt x="288" y="185"/>
                    <a:pt x="288" y="184"/>
                  </a:cubicBezTo>
                  <a:cubicBezTo>
                    <a:pt x="289" y="180"/>
                    <a:pt x="290" y="176"/>
                    <a:pt x="291" y="172"/>
                  </a:cubicBezTo>
                  <a:cubicBezTo>
                    <a:pt x="291" y="171"/>
                    <a:pt x="291" y="170"/>
                    <a:pt x="291" y="169"/>
                  </a:cubicBezTo>
                  <a:cubicBezTo>
                    <a:pt x="291" y="169"/>
                    <a:pt x="291" y="169"/>
                    <a:pt x="291" y="168"/>
                  </a:cubicBezTo>
                  <a:cubicBezTo>
                    <a:pt x="292" y="164"/>
                    <a:pt x="292" y="160"/>
                    <a:pt x="292" y="156"/>
                  </a:cubicBezTo>
                  <a:cubicBezTo>
                    <a:pt x="293" y="153"/>
                    <a:pt x="293" y="151"/>
                    <a:pt x="293" y="148"/>
                  </a:cubicBezTo>
                  <a:close/>
                </a:path>
              </a:pathLst>
            </a:custGeom>
            <a:solidFill>
              <a:srgbClr val="0078D4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" name="Freeform 102">
              <a:extLst>
                <a:ext uri="{FF2B5EF4-FFF2-40B4-BE49-F238E27FC236}">
                  <a16:creationId xmlns:a16="http://schemas.microsoft.com/office/drawing/2014/main" id="{ED12D182-6395-48ED-85F3-13632068C397}"/>
                </a:ext>
              </a:extLst>
            </p:cNvPr>
            <p:cNvSpPr>
              <a:spLocks/>
            </p:cNvSpPr>
            <p:nvPr/>
          </p:nvSpPr>
          <p:spPr bwMode="auto">
            <a:xfrm>
              <a:off x="1243893" y="3240856"/>
              <a:ext cx="311599" cy="311600"/>
            </a:xfrm>
            <a:custGeom>
              <a:avLst/>
              <a:gdLst>
                <a:gd name="T0" fmla="*/ 186 w 186"/>
                <a:gd name="T1" fmla="*/ 19 h 186"/>
                <a:gd name="T2" fmla="*/ 186 w 186"/>
                <a:gd name="T3" fmla="*/ 19 h 186"/>
                <a:gd name="T4" fmla="*/ 22 w 186"/>
                <a:gd name="T5" fmla="*/ 183 h 186"/>
                <a:gd name="T6" fmla="*/ 13 w 186"/>
                <a:gd name="T7" fmla="*/ 186 h 186"/>
                <a:gd name="T8" fmla="*/ 3 w 186"/>
                <a:gd name="T9" fmla="*/ 183 h 186"/>
                <a:gd name="T10" fmla="*/ 0 w 186"/>
                <a:gd name="T11" fmla="*/ 173 h 186"/>
                <a:gd name="T12" fmla="*/ 3 w 186"/>
                <a:gd name="T13" fmla="*/ 164 h 186"/>
                <a:gd name="T14" fmla="*/ 167 w 186"/>
                <a:gd name="T15" fmla="*/ 0 h 186"/>
                <a:gd name="T16" fmla="*/ 186 w 186"/>
                <a:gd name="T17" fmla="*/ 19 h 1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86" h="186">
                  <a:moveTo>
                    <a:pt x="186" y="19"/>
                  </a:moveTo>
                  <a:lnTo>
                    <a:pt x="186" y="19"/>
                  </a:lnTo>
                  <a:lnTo>
                    <a:pt x="22" y="183"/>
                  </a:lnTo>
                  <a:cubicBezTo>
                    <a:pt x="20" y="185"/>
                    <a:pt x="16" y="186"/>
                    <a:pt x="13" y="186"/>
                  </a:cubicBezTo>
                  <a:cubicBezTo>
                    <a:pt x="9" y="186"/>
                    <a:pt x="6" y="185"/>
                    <a:pt x="3" y="183"/>
                  </a:cubicBezTo>
                  <a:cubicBezTo>
                    <a:pt x="1" y="180"/>
                    <a:pt x="0" y="177"/>
                    <a:pt x="0" y="173"/>
                  </a:cubicBezTo>
                  <a:cubicBezTo>
                    <a:pt x="0" y="170"/>
                    <a:pt x="1" y="166"/>
                    <a:pt x="3" y="164"/>
                  </a:cubicBezTo>
                  <a:lnTo>
                    <a:pt x="167" y="0"/>
                  </a:lnTo>
                  <a:lnTo>
                    <a:pt x="186" y="19"/>
                  </a:lnTo>
                  <a:close/>
                </a:path>
              </a:pathLst>
            </a:custGeom>
            <a:solidFill>
              <a:srgbClr val="0078D4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" name="Freeform 103">
              <a:extLst>
                <a:ext uri="{FF2B5EF4-FFF2-40B4-BE49-F238E27FC236}">
                  <a16:creationId xmlns:a16="http://schemas.microsoft.com/office/drawing/2014/main" id="{F1CFFC3D-753E-4EA3-91FF-6FF2F299F1C8}"/>
                </a:ext>
              </a:extLst>
            </p:cNvPr>
            <p:cNvSpPr>
              <a:spLocks/>
            </p:cNvSpPr>
            <p:nvPr/>
          </p:nvSpPr>
          <p:spPr bwMode="auto">
            <a:xfrm>
              <a:off x="1512139" y="2883194"/>
              <a:ext cx="403724" cy="403725"/>
            </a:xfrm>
            <a:custGeom>
              <a:avLst/>
              <a:gdLst>
                <a:gd name="T0" fmla="*/ 120 w 240"/>
                <a:gd name="T1" fmla="*/ 240 h 240"/>
                <a:gd name="T2" fmla="*/ 120 w 240"/>
                <a:gd name="T3" fmla="*/ 240 h 240"/>
                <a:gd name="T4" fmla="*/ 167 w 240"/>
                <a:gd name="T5" fmla="*/ 230 h 240"/>
                <a:gd name="T6" fmla="*/ 205 w 240"/>
                <a:gd name="T7" fmla="*/ 204 h 240"/>
                <a:gd name="T8" fmla="*/ 231 w 240"/>
                <a:gd name="T9" fmla="*/ 166 h 240"/>
                <a:gd name="T10" fmla="*/ 240 w 240"/>
                <a:gd name="T11" fmla="*/ 120 h 240"/>
                <a:gd name="T12" fmla="*/ 231 w 240"/>
                <a:gd name="T13" fmla="*/ 73 h 240"/>
                <a:gd name="T14" fmla="*/ 205 w 240"/>
                <a:gd name="T15" fmla="*/ 35 h 240"/>
                <a:gd name="T16" fmla="*/ 167 w 240"/>
                <a:gd name="T17" fmla="*/ 9 h 240"/>
                <a:gd name="T18" fmla="*/ 120 w 240"/>
                <a:gd name="T19" fmla="*/ 0 h 240"/>
                <a:gd name="T20" fmla="*/ 74 w 240"/>
                <a:gd name="T21" fmla="*/ 9 h 240"/>
                <a:gd name="T22" fmla="*/ 36 w 240"/>
                <a:gd name="T23" fmla="*/ 35 h 240"/>
                <a:gd name="T24" fmla="*/ 10 w 240"/>
                <a:gd name="T25" fmla="*/ 73 h 240"/>
                <a:gd name="T26" fmla="*/ 0 w 240"/>
                <a:gd name="T27" fmla="*/ 120 h 240"/>
                <a:gd name="T28" fmla="*/ 10 w 240"/>
                <a:gd name="T29" fmla="*/ 166 h 240"/>
                <a:gd name="T30" fmla="*/ 36 w 240"/>
                <a:gd name="T31" fmla="*/ 204 h 240"/>
                <a:gd name="T32" fmla="*/ 74 w 240"/>
                <a:gd name="T33" fmla="*/ 230 h 240"/>
                <a:gd name="T34" fmla="*/ 120 w 240"/>
                <a:gd name="T35" fmla="*/ 240 h 2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40" h="240">
                  <a:moveTo>
                    <a:pt x="120" y="240"/>
                  </a:moveTo>
                  <a:lnTo>
                    <a:pt x="120" y="240"/>
                  </a:lnTo>
                  <a:cubicBezTo>
                    <a:pt x="137" y="240"/>
                    <a:pt x="153" y="236"/>
                    <a:pt x="167" y="230"/>
                  </a:cubicBezTo>
                  <a:cubicBezTo>
                    <a:pt x="182" y="224"/>
                    <a:pt x="194" y="215"/>
                    <a:pt x="205" y="204"/>
                  </a:cubicBezTo>
                  <a:cubicBezTo>
                    <a:pt x="216" y="193"/>
                    <a:pt x="225" y="181"/>
                    <a:pt x="231" y="166"/>
                  </a:cubicBezTo>
                  <a:cubicBezTo>
                    <a:pt x="237" y="152"/>
                    <a:pt x="240" y="136"/>
                    <a:pt x="240" y="120"/>
                  </a:cubicBezTo>
                  <a:cubicBezTo>
                    <a:pt x="240" y="103"/>
                    <a:pt x="237" y="87"/>
                    <a:pt x="231" y="73"/>
                  </a:cubicBezTo>
                  <a:cubicBezTo>
                    <a:pt x="225" y="58"/>
                    <a:pt x="216" y="46"/>
                    <a:pt x="205" y="35"/>
                  </a:cubicBezTo>
                  <a:cubicBezTo>
                    <a:pt x="194" y="24"/>
                    <a:pt x="182" y="15"/>
                    <a:pt x="167" y="9"/>
                  </a:cubicBezTo>
                  <a:cubicBezTo>
                    <a:pt x="153" y="3"/>
                    <a:pt x="137" y="0"/>
                    <a:pt x="120" y="0"/>
                  </a:cubicBezTo>
                  <a:cubicBezTo>
                    <a:pt x="104" y="0"/>
                    <a:pt x="88" y="3"/>
                    <a:pt x="74" y="9"/>
                  </a:cubicBezTo>
                  <a:cubicBezTo>
                    <a:pt x="59" y="15"/>
                    <a:pt x="47" y="24"/>
                    <a:pt x="36" y="35"/>
                  </a:cubicBezTo>
                  <a:cubicBezTo>
                    <a:pt x="25" y="46"/>
                    <a:pt x="16" y="58"/>
                    <a:pt x="10" y="73"/>
                  </a:cubicBezTo>
                  <a:cubicBezTo>
                    <a:pt x="4" y="87"/>
                    <a:pt x="0" y="103"/>
                    <a:pt x="0" y="120"/>
                  </a:cubicBezTo>
                  <a:cubicBezTo>
                    <a:pt x="0" y="136"/>
                    <a:pt x="4" y="152"/>
                    <a:pt x="10" y="166"/>
                  </a:cubicBezTo>
                  <a:cubicBezTo>
                    <a:pt x="16" y="181"/>
                    <a:pt x="25" y="193"/>
                    <a:pt x="36" y="204"/>
                  </a:cubicBezTo>
                  <a:cubicBezTo>
                    <a:pt x="47" y="215"/>
                    <a:pt x="59" y="224"/>
                    <a:pt x="74" y="230"/>
                  </a:cubicBezTo>
                  <a:cubicBezTo>
                    <a:pt x="88" y="236"/>
                    <a:pt x="104" y="240"/>
                    <a:pt x="120" y="240"/>
                  </a:cubicBezTo>
                  <a:close/>
                </a:path>
              </a:pathLst>
            </a:custGeom>
            <a:solidFill>
              <a:schemeClr val="bg1"/>
            </a:solidFill>
            <a:ln w="12700">
              <a:solidFill>
                <a:srgbClr val="0078D4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878E9AD5-37FF-4D0D-B5BF-72CC084F72D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2700749"/>
            <a:ext cx="12192000" cy="651653"/>
          </a:xfr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algn="ctr">
              <a:lnSpc>
                <a:spcPct val="90000"/>
              </a:lnSpc>
            </a:pPr>
            <a:r>
              <a:rPr lang="en-US" dirty="0">
                <a:gradFill flip="none" rotWithShape="1">
                  <a:gsLst>
                    <a:gs pos="12000">
                      <a:srgbClr val="0078D4"/>
                    </a:gs>
                    <a:gs pos="100000">
                      <a:srgbClr val="50E6FF"/>
                    </a:gs>
                  </a:gsLst>
                  <a:lin ang="18900000" scaled="1"/>
                  <a:tileRect/>
                </a:gradFill>
                <a:cs typeface="+mn-cs"/>
              </a:rPr>
              <a:t>Pull the data together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49FB5A8D-D3EC-4E8D-AB95-9AE9A35C803E}"/>
              </a:ext>
            </a:extLst>
          </p:cNvPr>
          <p:cNvSpPr/>
          <p:nvPr/>
        </p:nvSpPr>
        <p:spPr>
          <a:xfrm>
            <a:off x="0" y="6494753"/>
            <a:ext cx="12192000" cy="361507"/>
          </a:xfrm>
          <a:prstGeom prst="rect">
            <a:avLst/>
          </a:prstGeom>
          <a:solidFill>
            <a:srgbClr val="007FB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9869E0D-E4F1-46F8-82CB-9D64733FC2A7}"/>
              </a:ext>
            </a:extLst>
          </p:cNvPr>
          <p:cNvSpPr txBox="1"/>
          <p:nvPr/>
        </p:nvSpPr>
        <p:spPr>
          <a:xfrm>
            <a:off x="9520101" y="6536826"/>
            <a:ext cx="2397642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b="0" i="0" kern="0" spc="-20" baseline="0" dirty="0">
                <a:latin typeface="Segoe UI Semibold" charset="0"/>
              </a:rPr>
              <a:t>Microsoft Azure    </a:t>
            </a:r>
            <a:r>
              <a:rPr lang="en-US" sz="1100" b="0" i="0" kern="0" spc="-20" baseline="0" dirty="0">
                <a:latin typeface="Segoe UI Semilight" panose="020B0402040204020203" pitchFamily="34" charset="0"/>
                <a:cs typeface="Segoe UI Semilight" panose="020B0402040204020203" pitchFamily="34" charset="0"/>
              </a:rPr>
              <a:t>|  @Techielass</a:t>
            </a:r>
            <a:endParaRPr lang="en-US" sz="1100" b="0" i="0" kern="0" spc="-20" baseline="0" dirty="0">
              <a:latin typeface="Segoe UI Semilight" panose="020B0402040204020203" pitchFamily="34" charset="0"/>
              <a:ea typeface="Segoe UI Semilight" charset="0"/>
              <a:cs typeface="Segoe UI Semilight" panose="020B0402040204020203" pitchFamily="34" charset="0"/>
            </a:endParaRPr>
          </a:p>
          <a:p>
            <a:endParaRPr lang="en-GB" sz="1100" b="1" dirty="0"/>
          </a:p>
        </p:txBody>
      </p:sp>
    </p:spTree>
    <p:extLst>
      <p:ext uri="{BB962C8B-B14F-4D97-AF65-F5344CB8AC3E}">
        <p14:creationId xmlns:p14="http://schemas.microsoft.com/office/powerpoint/2010/main" val="31078286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-3.7037E-6 L 0 0.04167 " pathEditMode="relative" rAng="0" ptsTypes="AA">
                                      <p:cBhvr>
                                        <p:cTn id="9" dur="750" spd="-100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2083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2" grpId="1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tint val="95000"/>
            <a:satMod val="17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D2296E0-7C39-4CCD-B220-501DD3786D1C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801098" y="1396289"/>
            <a:ext cx="5712824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kern="1200" dirty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Who am I?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DF034FC2-03A0-4D5B-8196-8BC4D383424B}"/>
              </a:ext>
            </a:extLst>
          </p:cNvPr>
          <p:cNvSpPr txBox="1"/>
          <p:nvPr/>
        </p:nvSpPr>
        <p:spPr>
          <a:xfrm>
            <a:off x="805543" y="2871982"/>
            <a:ext cx="4558309" cy="3181684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pPr marL="457200"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dirty="0">
                <a:latin typeface="Segoe UI Light" panose="020B0502040204020203" pitchFamily="34" charset="0"/>
                <a:cs typeface="Segoe UI Light" panose="020B0502040204020203" pitchFamily="34" charset="0"/>
              </a:rPr>
              <a:t>Senior Cloud Advocate @ Microsoft</a:t>
            </a:r>
          </a:p>
          <a:p>
            <a:pPr marL="457200"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dirty="0">
                <a:latin typeface="Segoe UI Light" panose="020B0502040204020203" pitchFamily="34" charset="0"/>
                <a:cs typeface="Segoe UI Light" panose="020B0502040204020203" pitchFamily="34" charset="0"/>
              </a:rPr>
              <a:t>Blog at </a:t>
            </a:r>
            <a:r>
              <a:rPr lang="en-US" b="1" dirty="0">
                <a:latin typeface="Segoe UI Light" panose="020B0502040204020203" pitchFamily="34" charset="0"/>
                <a:cs typeface="Segoe UI Light" panose="020B0502040204020203" pitchFamily="34" charset="0"/>
              </a:rPr>
              <a:t>www.techielass.com</a:t>
            </a:r>
          </a:p>
          <a:p>
            <a:pPr marL="457200"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dirty="0">
                <a:latin typeface="Segoe UI Light" panose="020B0502040204020203" pitchFamily="34" charset="0"/>
                <a:cs typeface="Segoe UI Light" panose="020B0502040204020203" pitchFamily="34" charset="0"/>
              </a:rPr>
              <a:t>@Techielass</a:t>
            </a:r>
          </a:p>
          <a:p>
            <a:pPr marL="457200"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dirty="0">
                <a:latin typeface="Segoe UI Light" panose="020B0502040204020203" pitchFamily="34" charset="0"/>
                <a:cs typeface="Segoe UI Light" panose="020B0502040204020203" pitchFamily="34" charset="0"/>
              </a:rPr>
              <a:t>Founder of the Glasgow Azure User Group</a:t>
            </a:r>
          </a:p>
          <a:p>
            <a:pPr marL="457200"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dirty="0">
                <a:latin typeface="Segoe UI Light" panose="020B0502040204020203" pitchFamily="34" charset="0"/>
                <a:cs typeface="Segoe UI Light" panose="020B0502040204020203" pitchFamily="34" charset="0"/>
              </a:rPr>
              <a:t>STEM Ambassador</a:t>
            </a:r>
          </a:p>
          <a:p>
            <a:pPr marL="457200"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dirty="0">
                <a:latin typeface="Segoe UI Light" panose="020B0502040204020203" pitchFamily="34" charset="0"/>
                <a:cs typeface="Segoe UI Light" panose="020B0502040204020203" pitchFamily="34" charset="0"/>
              </a:rPr>
              <a:t>14+ years in the IT industry</a:t>
            </a:r>
          </a:p>
          <a:p>
            <a:pPr marL="457200"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dirty="0">
                <a:latin typeface="Segoe UI Light" panose="020B0502040204020203" pitchFamily="34" charset="0"/>
                <a:cs typeface="Segoe UI Light" panose="020B0502040204020203" pitchFamily="34" charset="0"/>
              </a:rPr>
              <a:t>IT Pro</a:t>
            </a:r>
          </a:p>
          <a:p>
            <a:pPr marL="457200"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n-US" dirty="0"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1038" name="Oval 80">
            <a:extLst>
              <a:ext uri="{FF2B5EF4-FFF2-40B4-BE49-F238E27FC236}">
                <a16:creationId xmlns:a16="http://schemas.microsoft.com/office/drawing/2014/main" id="{C99A8FB7-A79B-4BC9-9D56-B79587F6AA3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5804761" y="2650637"/>
            <a:ext cx="3118104" cy="3118104"/>
          </a:xfrm>
          <a:prstGeom prst="ellipse">
            <a:avLst/>
          </a:prstGeom>
          <a:solidFill>
            <a:srgbClr val="FFFFFF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39" name="Freeform: Shape 82">
            <a:extLst>
              <a:ext uri="{FF2B5EF4-FFF2-40B4-BE49-F238E27FC236}">
                <a16:creationId xmlns:a16="http://schemas.microsoft.com/office/drawing/2014/main" id="{B23893E2-3349-46D7-A7AA-B9E447957FB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7996859" y="0"/>
            <a:ext cx="4198060" cy="3650200"/>
          </a:xfrm>
          <a:custGeom>
            <a:avLst/>
            <a:gdLst>
              <a:gd name="connsiteX0" fmla="*/ 262846 w 4198060"/>
              <a:gd name="connsiteY0" fmla="*/ 0 h 3650200"/>
              <a:gd name="connsiteX1" fmla="*/ 4198060 w 4198060"/>
              <a:gd name="connsiteY1" fmla="*/ 0 h 3650200"/>
              <a:gd name="connsiteX2" fmla="*/ 4198060 w 4198060"/>
              <a:gd name="connsiteY2" fmla="*/ 3021648 h 3650200"/>
              <a:gd name="connsiteX3" fmla="*/ 4142653 w 4198060"/>
              <a:gd name="connsiteY3" fmla="*/ 3072005 h 3650200"/>
              <a:gd name="connsiteX4" fmla="*/ 2532040 w 4198060"/>
              <a:gd name="connsiteY4" fmla="*/ 3650200 h 3650200"/>
              <a:gd name="connsiteX5" fmla="*/ 0 w 4198060"/>
              <a:gd name="connsiteY5" fmla="*/ 1118160 h 3650200"/>
              <a:gd name="connsiteX6" fmla="*/ 198981 w 4198060"/>
              <a:gd name="connsiteY6" fmla="*/ 132576 h 3650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198060" h="3650200">
                <a:moveTo>
                  <a:pt x="262846" y="0"/>
                </a:moveTo>
                <a:lnTo>
                  <a:pt x="4198060" y="0"/>
                </a:lnTo>
                <a:lnTo>
                  <a:pt x="4198060" y="3021648"/>
                </a:lnTo>
                <a:lnTo>
                  <a:pt x="4142653" y="3072005"/>
                </a:lnTo>
                <a:cubicBezTo>
                  <a:pt x="3704967" y="3433216"/>
                  <a:pt x="3143843" y="3650200"/>
                  <a:pt x="2532040" y="3650200"/>
                </a:cubicBezTo>
                <a:cubicBezTo>
                  <a:pt x="1133633" y="3650200"/>
                  <a:pt x="0" y="2516567"/>
                  <a:pt x="0" y="1118160"/>
                </a:cubicBezTo>
                <a:cubicBezTo>
                  <a:pt x="0" y="768558"/>
                  <a:pt x="70852" y="435505"/>
                  <a:pt x="198981" y="132576"/>
                </a:cubicBezTo>
                <a:close/>
              </a:path>
            </a:pathLst>
          </a:custGeom>
          <a:solidFill>
            <a:srgbClr val="FFFFFF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1026" name="Picture 2" descr="Image may contain: Sarah Lean, smiling, indoor">
            <a:extLst>
              <a:ext uri="{FF2B5EF4-FFF2-40B4-BE49-F238E27FC236}">
                <a16:creationId xmlns:a16="http://schemas.microsoft.com/office/drawing/2014/main" id="{BC44A031-FA62-4315-8F16-277D02C91B20}"/>
              </a:ext>
            </a:extLst>
          </p:cNvPr>
          <p:cNvPicPr>
            <a:picLocks noGrp="1" noChangeAspect="1" noChangeArrowheads="1"/>
          </p:cNvPicPr>
          <p:nvPr>
            <p:ph idx="4294967295"/>
          </p:nvPr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4"/>
          <a:stretch/>
        </p:blipFill>
        <p:spPr bwMode="auto">
          <a:xfrm>
            <a:off x="5969353" y="2815228"/>
            <a:ext cx="2788920" cy="2788920"/>
          </a:xfrm>
          <a:custGeom>
            <a:avLst/>
            <a:gdLst/>
            <a:ahLst/>
            <a:cxnLst/>
            <a:rect l="l" t="t" r="r" b="b"/>
            <a:pathLst>
              <a:path w="2880360" h="2880360">
                <a:moveTo>
                  <a:pt x="1440180" y="0"/>
                </a:moveTo>
                <a:cubicBezTo>
                  <a:pt x="2235569" y="0"/>
                  <a:pt x="2880360" y="644791"/>
                  <a:pt x="2880360" y="1440180"/>
                </a:cubicBezTo>
                <a:cubicBezTo>
                  <a:pt x="2880360" y="2235569"/>
                  <a:pt x="2235569" y="2880360"/>
                  <a:pt x="1440180" y="2880360"/>
                </a:cubicBezTo>
                <a:cubicBezTo>
                  <a:pt x="644791" y="2880360"/>
                  <a:pt x="0" y="2235569"/>
                  <a:pt x="0" y="1440180"/>
                </a:cubicBezTo>
                <a:cubicBezTo>
                  <a:pt x="0" y="644791"/>
                  <a:pt x="644791" y="0"/>
                  <a:pt x="1440180" y="0"/>
                </a:cubicBez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0" name="Picture 6" descr="Image may contain: 1 person">
            <a:extLst>
              <a:ext uri="{FF2B5EF4-FFF2-40B4-BE49-F238E27FC236}">
                <a16:creationId xmlns:a16="http://schemas.microsoft.com/office/drawing/2014/main" id="{F5BAE883-7C4A-4F30-A205-493C781A2A8C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8160603" y="2"/>
            <a:ext cx="4034316" cy="3486455"/>
          </a:xfrm>
          <a:custGeom>
            <a:avLst/>
            <a:gdLst/>
            <a:ahLst/>
            <a:cxnLst/>
            <a:rect l="l" t="t" r="r" b="b"/>
            <a:pathLst>
              <a:path w="4034316" h="3486455">
                <a:moveTo>
                  <a:pt x="280681" y="0"/>
                </a:moveTo>
                <a:lnTo>
                  <a:pt x="4034316" y="0"/>
                </a:lnTo>
                <a:lnTo>
                  <a:pt x="4034316" y="2800630"/>
                </a:lnTo>
                <a:lnTo>
                  <a:pt x="3874752" y="2945652"/>
                </a:lnTo>
                <a:cubicBezTo>
                  <a:pt x="3465371" y="3283503"/>
                  <a:pt x="2940535" y="3486455"/>
                  <a:pt x="2368296" y="3486455"/>
                </a:cubicBezTo>
                <a:cubicBezTo>
                  <a:pt x="1060322" y="3486455"/>
                  <a:pt x="0" y="2426133"/>
                  <a:pt x="0" y="1118159"/>
                </a:cubicBezTo>
                <a:cubicBezTo>
                  <a:pt x="0" y="791166"/>
                  <a:pt x="66270" y="479650"/>
                  <a:pt x="186113" y="196311"/>
                </a:cubicBez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5" name="Freeform: Shape 84">
            <a:extLst>
              <a:ext uri="{FF2B5EF4-FFF2-40B4-BE49-F238E27FC236}">
                <a16:creationId xmlns:a16="http://schemas.microsoft.com/office/drawing/2014/main" id="{2B7592FE-10D1-4664-B623-353F47C8DF7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8888132" y="4032250"/>
            <a:ext cx="3303868" cy="2825750"/>
          </a:xfrm>
          <a:custGeom>
            <a:avLst/>
            <a:gdLst>
              <a:gd name="connsiteX0" fmla="*/ 1888600 w 3303868"/>
              <a:gd name="connsiteY0" fmla="*/ 0 h 2825750"/>
              <a:gd name="connsiteX1" fmla="*/ 3224042 w 3303868"/>
              <a:gd name="connsiteY1" fmla="*/ 553158 h 2825750"/>
              <a:gd name="connsiteX2" fmla="*/ 3303868 w 3303868"/>
              <a:gd name="connsiteY2" fmla="*/ 640989 h 2825750"/>
              <a:gd name="connsiteX3" fmla="*/ 3303868 w 3303868"/>
              <a:gd name="connsiteY3" fmla="*/ 2825750 h 2825750"/>
              <a:gd name="connsiteX4" fmla="*/ 250380 w 3303868"/>
              <a:gd name="connsiteY4" fmla="*/ 2825750 h 2825750"/>
              <a:gd name="connsiteX5" fmla="*/ 227944 w 3303868"/>
              <a:gd name="connsiteY5" fmla="*/ 2788819 h 2825750"/>
              <a:gd name="connsiteX6" fmla="*/ 0 w 3303868"/>
              <a:gd name="connsiteY6" fmla="*/ 1888600 h 2825750"/>
              <a:gd name="connsiteX7" fmla="*/ 1888600 w 3303868"/>
              <a:gd name="connsiteY7" fmla="*/ 0 h 28257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303868" h="2825750">
                <a:moveTo>
                  <a:pt x="1888600" y="0"/>
                </a:moveTo>
                <a:cubicBezTo>
                  <a:pt x="2410123" y="0"/>
                  <a:pt x="2882273" y="211389"/>
                  <a:pt x="3224042" y="553158"/>
                </a:cubicBezTo>
                <a:lnTo>
                  <a:pt x="3303868" y="640989"/>
                </a:lnTo>
                <a:lnTo>
                  <a:pt x="3303868" y="2825750"/>
                </a:lnTo>
                <a:lnTo>
                  <a:pt x="250380" y="2825750"/>
                </a:lnTo>
                <a:lnTo>
                  <a:pt x="227944" y="2788819"/>
                </a:lnTo>
                <a:cubicBezTo>
                  <a:pt x="82574" y="2521217"/>
                  <a:pt x="0" y="2214552"/>
                  <a:pt x="0" y="1888600"/>
                </a:cubicBezTo>
                <a:cubicBezTo>
                  <a:pt x="0" y="845555"/>
                  <a:pt x="845555" y="0"/>
                  <a:pt x="1888600" y="0"/>
                </a:cubicBezTo>
                <a:close/>
              </a:path>
            </a:pathLst>
          </a:custGeom>
          <a:solidFill>
            <a:srgbClr val="FFFFFF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1028" name="Picture 4" descr="Image may contain: 7 people, including Sarah Lean, people smiling, people standing, shoes and indoor">
            <a:extLst>
              <a:ext uri="{FF2B5EF4-FFF2-40B4-BE49-F238E27FC236}">
                <a16:creationId xmlns:a16="http://schemas.microsoft.com/office/drawing/2014/main" id="{3B5B11D2-8A63-470C-9AC2-817D3A84298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9053088" y="4197217"/>
            <a:ext cx="3138912" cy="2660795"/>
          </a:xfrm>
          <a:custGeom>
            <a:avLst/>
            <a:gdLst/>
            <a:ahLst/>
            <a:cxnLst/>
            <a:rect l="l" t="t" r="r" b="b"/>
            <a:pathLst>
              <a:path w="3138912" h="2660795">
                <a:moveTo>
                  <a:pt x="1723644" y="0"/>
                </a:moveTo>
                <a:cubicBezTo>
                  <a:pt x="2259111" y="0"/>
                  <a:pt x="2737550" y="244172"/>
                  <a:pt x="3053691" y="627247"/>
                </a:cubicBezTo>
                <a:lnTo>
                  <a:pt x="3138912" y="741211"/>
                </a:lnTo>
                <a:lnTo>
                  <a:pt x="3138912" y="2660795"/>
                </a:lnTo>
                <a:lnTo>
                  <a:pt x="278239" y="2660795"/>
                </a:lnTo>
                <a:lnTo>
                  <a:pt x="208035" y="2545235"/>
                </a:lnTo>
                <a:cubicBezTo>
                  <a:pt x="75362" y="2301006"/>
                  <a:pt x="0" y="2021126"/>
                  <a:pt x="0" y="1723644"/>
                </a:cubicBezTo>
                <a:cubicBezTo>
                  <a:pt x="0" y="771702"/>
                  <a:pt x="771702" y="0"/>
                  <a:pt x="1723644" y="0"/>
                </a:cubicBez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15461776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13">
            <a:extLst>
              <a:ext uri="{FF2B5EF4-FFF2-40B4-BE49-F238E27FC236}">
                <a16:creationId xmlns:a16="http://schemas.microsoft.com/office/drawing/2014/main" id="{E307D465-5D56-0B41-96C4-901FFC2422D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5995" y="433143"/>
            <a:ext cx="11303917" cy="813704"/>
          </a:xfrm>
        </p:spPr>
        <p:txBody>
          <a:bodyPr/>
          <a:lstStyle/>
          <a:p>
            <a:r>
              <a:rPr lang="en-US"/>
              <a:t>Reporting</a:t>
            </a:r>
            <a:endParaRPr lang="en-US" dirty="0"/>
          </a:p>
        </p:txBody>
      </p:sp>
      <p:sp>
        <p:nvSpPr>
          <p:cNvPr id="2" name="bk object 17">
            <a:extLst>
              <a:ext uri="{FF2B5EF4-FFF2-40B4-BE49-F238E27FC236}">
                <a16:creationId xmlns:a16="http://schemas.microsoft.com/office/drawing/2014/main" id="{097D22BA-71DE-49BF-B8FF-64DC236AA324}"/>
              </a:ext>
            </a:extLst>
          </p:cNvPr>
          <p:cNvSpPr/>
          <p:nvPr/>
        </p:nvSpPr>
        <p:spPr>
          <a:xfrm>
            <a:off x="0" y="6497955"/>
            <a:ext cx="12192000" cy="360045"/>
          </a:xfrm>
          <a:custGeom>
            <a:avLst/>
            <a:gdLst/>
            <a:ahLst/>
            <a:cxnLst/>
            <a:rect l="l" t="t" r="r" b="b"/>
            <a:pathLst>
              <a:path w="12434570" h="360045">
                <a:moveTo>
                  <a:pt x="0" y="359994"/>
                </a:moveTo>
                <a:lnTo>
                  <a:pt x="12434404" y="359994"/>
                </a:lnTo>
                <a:lnTo>
                  <a:pt x="12434404" y="0"/>
                </a:lnTo>
                <a:lnTo>
                  <a:pt x="0" y="0"/>
                </a:lnTo>
                <a:lnTo>
                  <a:pt x="0" y="359994"/>
                </a:lnTo>
                <a:close/>
              </a:path>
            </a:pathLst>
          </a:custGeom>
          <a:solidFill>
            <a:srgbClr val="007FBA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1FE6676F-0367-45CC-86F9-CEAC13AA484D}"/>
              </a:ext>
            </a:extLst>
          </p:cNvPr>
          <p:cNvSpPr txBox="1"/>
          <p:nvPr/>
        </p:nvSpPr>
        <p:spPr>
          <a:xfrm>
            <a:off x="7278010" y="6591175"/>
            <a:ext cx="425867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100" b="0" i="0" kern="0" spc="-20" baseline="0" dirty="0">
                <a:solidFill>
                  <a:schemeClr val="bg1"/>
                </a:solidFill>
                <a:latin typeface="Segoe UI Semibold" charset="0"/>
              </a:rPr>
              <a:t>Microsoft Azure    </a:t>
            </a:r>
            <a:r>
              <a:rPr lang="en-US" sz="1100" b="0" i="0" kern="0" spc="-20" baseline="0" dirty="0">
                <a:solidFill>
                  <a:schemeClr val="bg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|  @</a:t>
            </a:r>
            <a:r>
              <a:rPr lang="en-US" sz="1100" b="0" i="0" kern="0" spc="-20" baseline="0" dirty="0" err="1">
                <a:solidFill>
                  <a:schemeClr val="bg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Techielass</a:t>
            </a:r>
            <a:endParaRPr lang="en-US" sz="1100" b="0" i="0" kern="0" spc="-20" baseline="0" dirty="0">
              <a:solidFill>
                <a:schemeClr val="bg1"/>
              </a:solidFill>
              <a:latin typeface="Segoe UI Semilight" panose="020B0402040204020203" pitchFamily="34" charset="0"/>
              <a:ea typeface="Segoe UI Semilight" charset="0"/>
              <a:cs typeface="Segoe UI Semilight" panose="020B0402040204020203" pitchFamily="34" charset="0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133E8058-AFEF-42D5-A858-8A70F2143AC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 rot="372859">
            <a:off x="3930485" y="682619"/>
            <a:ext cx="7764086" cy="3103990"/>
          </a:xfrm>
          <a:prstGeom prst="rect">
            <a:avLst/>
          </a:prstGeom>
          <a:solidFill>
            <a:srgbClr val="FFFFFF">
              <a:shade val="85000"/>
            </a:srgbClr>
          </a:solidFill>
          <a:ln w="190500" cap="sq">
            <a:solidFill>
              <a:srgbClr val="FFFFFF"/>
            </a:solidFill>
            <a:miter lim="800000"/>
          </a:ln>
          <a:effectLst>
            <a:outerShdw blurRad="65000" dist="50800" dir="12900000" kx="195000" ky="145000" algn="tl" rotWithShape="0">
              <a:srgbClr val="000000">
                <a:alpha val="30000"/>
              </a:srgbClr>
            </a:outerShdw>
          </a:effectLst>
          <a:scene3d>
            <a:camera prst="orthographicFront">
              <a:rot lat="0" lon="0" rev="360000"/>
            </a:camera>
            <a:lightRig rig="twoPt" dir="t">
              <a:rot lat="0" lon="0" rev="7200000"/>
            </a:lightRig>
          </a:scene3d>
          <a:sp3d contourW="12700">
            <a:bevelT w="25400" h="19050"/>
            <a:contourClr>
              <a:srgbClr val="969696"/>
            </a:contourClr>
          </a:sp3d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BD8B89A6-B0BD-48E7-9920-D3028791B49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 rot="168786">
            <a:off x="622726" y="2960782"/>
            <a:ext cx="6809070" cy="3049588"/>
          </a:xfrm>
          <a:prstGeom prst="rect">
            <a:avLst/>
          </a:prstGeom>
          <a:solidFill>
            <a:srgbClr val="FFFFFF">
              <a:shade val="85000"/>
            </a:srgbClr>
          </a:solidFill>
          <a:ln w="190500" cap="sq">
            <a:solidFill>
              <a:srgbClr val="FFFFFF"/>
            </a:solidFill>
            <a:miter lim="800000"/>
          </a:ln>
          <a:effectLst>
            <a:outerShdw blurRad="65000" dist="50800" dir="12900000" kx="195000" ky="145000" algn="tl" rotWithShape="0">
              <a:srgbClr val="000000">
                <a:alpha val="30000"/>
              </a:srgbClr>
            </a:outerShdw>
          </a:effectLst>
          <a:scene3d>
            <a:camera prst="orthographicFront">
              <a:rot lat="0" lon="0" rev="360000"/>
            </a:camera>
            <a:lightRig rig="twoPt" dir="t">
              <a:rot lat="0" lon="0" rev="7200000"/>
            </a:lightRig>
          </a:scene3d>
          <a:sp3d contourW="12700">
            <a:bevelT w="25400" h="19050"/>
            <a:contourClr>
              <a:srgbClr val="969696"/>
            </a:contourClr>
          </a:sp3d>
        </p:spPr>
      </p:pic>
    </p:spTree>
    <p:extLst>
      <p:ext uri="{BB962C8B-B14F-4D97-AF65-F5344CB8AC3E}">
        <p14:creationId xmlns:p14="http://schemas.microsoft.com/office/powerpoint/2010/main" val="256944591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" name="Rectangle 53">
            <a:extLst>
              <a:ext uri="{FF2B5EF4-FFF2-40B4-BE49-F238E27FC236}">
                <a16:creationId xmlns:a16="http://schemas.microsoft.com/office/drawing/2014/main" id="{6F8ABF23-BBC6-AD47-A959-0A75EA61342A}"/>
              </a:ext>
            </a:extLst>
          </p:cNvPr>
          <p:cNvSpPr/>
          <p:nvPr/>
        </p:nvSpPr>
        <p:spPr bwMode="auto">
          <a:xfrm>
            <a:off x="0" y="5026059"/>
            <a:ext cx="12192000" cy="147109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95C3A4-F33B-3747-9415-AFC00734BC2D}"/>
              </a:ext>
            </a:extLst>
          </p:cNvPr>
          <p:cNvSpPr/>
          <p:nvPr/>
        </p:nvSpPr>
        <p:spPr>
          <a:xfrm>
            <a:off x="349966" y="1885055"/>
            <a:ext cx="6094444" cy="362072"/>
          </a:xfrm>
          <a:prstGeom prst="rect">
            <a:avLst/>
          </a:prstGeom>
        </p:spPr>
        <p:txBody>
          <a:bodyPr>
            <a:spAutoFit/>
          </a:bodyPr>
          <a:lstStyle/>
          <a:p>
            <a:pPr defTabSz="896181">
              <a:defRPr/>
            </a:pPr>
            <a:r>
              <a:rPr lang="en-US" sz="1765" dirty="0">
                <a:solidFill>
                  <a:srgbClr val="0078D4"/>
                </a:solidFill>
                <a:latin typeface="+mj-lt"/>
                <a:cs typeface="Segoe UI Semilight" panose="020B0402040204020203" pitchFamily="34" charset="0"/>
              </a:rPr>
              <a:t>Computation formula: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6EF3203A-6D48-694A-B11B-BA92247D5223}"/>
              </a:ext>
            </a:extLst>
          </p:cNvPr>
          <p:cNvSpPr/>
          <p:nvPr/>
        </p:nvSpPr>
        <p:spPr>
          <a:xfrm>
            <a:off x="6817520" y="1885055"/>
            <a:ext cx="2881138" cy="36207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896181">
              <a:defRPr/>
            </a:pPr>
            <a:r>
              <a:rPr lang="en-US" sz="1765" dirty="0">
                <a:solidFill>
                  <a:srgbClr val="0078D4"/>
                </a:solidFill>
                <a:latin typeface="+mj-lt"/>
                <a:cs typeface="Segoe UI Semilight" panose="020B0402040204020203" pitchFamily="34" charset="0"/>
              </a:rPr>
              <a:t>Output is  categorized as: 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FB0722C8-93C5-B14D-A4B0-61E53EFA996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5994" y="1151984"/>
            <a:ext cx="11653518" cy="482763"/>
          </a:xfrm>
        </p:spPr>
        <p:txBody>
          <a:bodyPr/>
          <a:lstStyle/>
          <a:p>
            <a:r>
              <a:rPr lang="en-US" dirty="0"/>
              <a:t>For performance-based</a:t>
            </a: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8CBED817-19B0-0C45-A964-9A9F7B5B6AE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5994" y="432718"/>
            <a:ext cx="11653518" cy="813819"/>
          </a:xfrm>
        </p:spPr>
        <p:txBody>
          <a:bodyPr/>
          <a:lstStyle/>
          <a:p>
            <a:r>
              <a:rPr lang="en-US" sz="3000" dirty="0"/>
              <a:t>Assessment: Confidence rating computation or performance-based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8E8F6BA-34CF-5147-964F-6ED60D2E31A9}"/>
              </a:ext>
            </a:extLst>
          </p:cNvPr>
          <p:cNvSpPr/>
          <p:nvPr/>
        </p:nvSpPr>
        <p:spPr>
          <a:xfrm>
            <a:off x="455994" y="2654978"/>
            <a:ext cx="1406799" cy="63362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765" dirty="0">
                <a:gradFill>
                  <a:gsLst>
                    <a:gs pos="2917">
                      <a:srgbClr val="1A1A1A"/>
                    </a:gs>
                    <a:gs pos="30000">
                      <a:srgbClr val="1A1A1A"/>
                    </a:gs>
                  </a:gsLst>
                  <a:lin ang="5400000" scaled="0"/>
                </a:gradFill>
                <a:latin typeface="+mj-lt"/>
                <a:cs typeface="Segoe UI Semilight" panose="020B0402040204020203" pitchFamily="34" charset="0"/>
              </a:rPr>
              <a:t>Confidence </a:t>
            </a:r>
            <a:br>
              <a:rPr lang="en-US" sz="1765" dirty="0">
                <a:gradFill>
                  <a:gsLst>
                    <a:gs pos="2917">
                      <a:srgbClr val="1A1A1A"/>
                    </a:gs>
                    <a:gs pos="30000">
                      <a:srgbClr val="1A1A1A"/>
                    </a:gs>
                  </a:gsLst>
                  <a:lin ang="5400000" scaled="0"/>
                </a:gradFill>
                <a:latin typeface="+mj-lt"/>
                <a:cs typeface="Segoe UI Semilight" panose="020B0402040204020203" pitchFamily="34" charset="0"/>
              </a:rPr>
            </a:br>
            <a:r>
              <a:rPr lang="en-US" sz="1765" dirty="0">
                <a:gradFill>
                  <a:gsLst>
                    <a:gs pos="2917">
                      <a:srgbClr val="1A1A1A"/>
                    </a:gs>
                    <a:gs pos="30000">
                      <a:srgbClr val="1A1A1A"/>
                    </a:gs>
                  </a:gsLst>
                  <a:lin ang="5400000" scaled="0"/>
                </a:gradFill>
                <a:latin typeface="+mj-lt"/>
                <a:cs typeface="Segoe UI Semilight" panose="020B0402040204020203" pitchFamily="34" charset="0"/>
              </a:rPr>
              <a:t>rating </a:t>
            </a:r>
            <a:endParaRPr lang="en-US" sz="1765" dirty="0">
              <a:latin typeface="+mj-lt"/>
            </a:endParaRPr>
          </a:p>
        </p:txBody>
      </p:sp>
      <p:sp>
        <p:nvSpPr>
          <p:cNvPr id="12" name="Equal 11">
            <a:extLst>
              <a:ext uri="{FF2B5EF4-FFF2-40B4-BE49-F238E27FC236}">
                <a16:creationId xmlns:a16="http://schemas.microsoft.com/office/drawing/2014/main" id="{1A25EBEF-1C25-CA4D-A3A3-9661AA0139AE}"/>
              </a:ext>
            </a:extLst>
          </p:cNvPr>
          <p:cNvSpPr/>
          <p:nvPr/>
        </p:nvSpPr>
        <p:spPr bwMode="auto">
          <a:xfrm>
            <a:off x="1906871" y="2793943"/>
            <a:ext cx="541040" cy="375449"/>
          </a:xfrm>
          <a:prstGeom prst="mathEqual">
            <a:avLst/>
          </a:prstGeom>
          <a:solidFill>
            <a:schemeClr val="accent4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EAF1D676-3E19-EB4C-AAF2-A0AF15589BDE}"/>
              </a:ext>
            </a:extLst>
          </p:cNvPr>
          <p:cNvSpPr/>
          <p:nvPr/>
        </p:nvSpPr>
        <p:spPr>
          <a:xfrm>
            <a:off x="2671772" y="2610022"/>
            <a:ext cx="2246826" cy="30172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896181">
              <a:defRPr/>
            </a:pPr>
            <a:r>
              <a:rPr lang="en-US" sz="1372" dirty="0">
                <a:gradFill>
                  <a:gsLst>
                    <a:gs pos="2917">
                      <a:srgbClr val="1A1A1A"/>
                    </a:gs>
                    <a:gs pos="30000">
                      <a:srgbClr val="1A1A1A"/>
                    </a:gs>
                  </a:gsLst>
                  <a:lin ang="5400000" scaled="0"/>
                </a:gradFill>
                <a:cs typeface="Segoe UI Semilight" panose="020B0402040204020203" pitchFamily="34" charset="0"/>
              </a:rPr>
              <a:t>Actual data point received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E0323CAD-4D39-9840-AF7C-03A908C96505}"/>
              </a:ext>
            </a:extLst>
          </p:cNvPr>
          <p:cNvSpPr/>
          <p:nvPr/>
        </p:nvSpPr>
        <p:spPr>
          <a:xfrm>
            <a:off x="455994" y="4050234"/>
            <a:ext cx="1340796" cy="63362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765" dirty="0">
                <a:gradFill>
                  <a:gsLst>
                    <a:gs pos="2917">
                      <a:srgbClr val="1A1A1A"/>
                    </a:gs>
                    <a:gs pos="30000">
                      <a:srgbClr val="1A1A1A"/>
                    </a:gs>
                  </a:gsLst>
                  <a:lin ang="5400000" scaled="0"/>
                </a:gradFill>
                <a:latin typeface="+mj-lt"/>
                <a:cs typeface="Segoe UI Semilight" panose="020B0402040204020203" pitchFamily="34" charset="0"/>
              </a:rPr>
              <a:t>Expected </a:t>
            </a:r>
            <a:br>
              <a:rPr lang="en-US" sz="1765" dirty="0">
                <a:gradFill>
                  <a:gsLst>
                    <a:gs pos="2917">
                      <a:srgbClr val="1A1A1A"/>
                    </a:gs>
                    <a:gs pos="30000">
                      <a:srgbClr val="1A1A1A"/>
                    </a:gs>
                  </a:gsLst>
                  <a:lin ang="5400000" scaled="0"/>
                </a:gradFill>
                <a:latin typeface="+mj-lt"/>
                <a:cs typeface="Segoe UI Semilight" panose="020B0402040204020203" pitchFamily="34" charset="0"/>
              </a:rPr>
            </a:br>
            <a:r>
              <a:rPr lang="en-US" sz="1765" dirty="0">
                <a:gradFill>
                  <a:gsLst>
                    <a:gs pos="2917">
                      <a:srgbClr val="1A1A1A"/>
                    </a:gs>
                    <a:gs pos="30000">
                      <a:srgbClr val="1A1A1A"/>
                    </a:gs>
                  </a:gsLst>
                  <a:lin ang="5400000" scaled="0"/>
                </a:gradFill>
                <a:latin typeface="+mj-lt"/>
                <a:cs typeface="Segoe UI Semilight" panose="020B0402040204020203" pitchFamily="34" charset="0"/>
              </a:rPr>
              <a:t>data points</a:t>
            </a:r>
            <a:endParaRPr lang="en-US" sz="1765" dirty="0">
              <a:latin typeface="+mj-lt"/>
            </a:endParaRPr>
          </a:p>
        </p:txBody>
      </p:sp>
      <p:sp>
        <p:nvSpPr>
          <p:cNvPr id="20" name="Equal 19">
            <a:extLst>
              <a:ext uri="{FF2B5EF4-FFF2-40B4-BE49-F238E27FC236}">
                <a16:creationId xmlns:a16="http://schemas.microsoft.com/office/drawing/2014/main" id="{7C5D656D-EC8F-3644-A997-AAF8E09A8F15}"/>
              </a:ext>
            </a:extLst>
          </p:cNvPr>
          <p:cNvSpPr/>
          <p:nvPr/>
        </p:nvSpPr>
        <p:spPr bwMode="auto">
          <a:xfrm>
            <a:off x="1906871" y="4189200"/>
            <a:ext cx="541040" cy="375449"/>
          </a:xfrm>
          <a:prstGeom prst="mathEqual">
            <a:avLst/>
          </a:prstGeom>
          <a:solidFill>
            <a:schemeClr val="accent4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EA0471FD-B0CD-0945-BE63-296BC301C7C0}"/>
              </a:ext>
            </a:extLst>
          </p:cNvPr>
          <p:cNvSpPr/>
          <p:nvPr/>
        </p:nvSpPr>
        <p:spPr>
          <a:xfrm>
            <a:off x="2661468" y="4009630"/>
            <a:ext cx="2983881" cy="30172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896181">
              <a:defRPr/>
            </a:pPr>
            <a:r>
              <a:rPr lang="en-US" sz="1372" dirty="0">
                <a:gradFill>
                  <a:gsLst>
                    <a:gs pos="2917">
                      <a:srgbClr val="1A1A1A"/>
                    </a:gs>
                    <a:gs pos="30000">
                      <a:srgbClr val="1A1A1A"/>
                    </a:gs>
                  </a:gsLst>
                  <a:lin ang="5400000" scaled="0"/>
                </a:gradFill>
                <a:cs typeface="Segoe UI Semilight" panose="020B0402040204020203" pitchFamily="34" charset="0"/>
              </a:rPr>
              <a:t>Duration of assessments in mins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11D0659F-E8F2-B14D-B5E7-20C7A5C66A9B}"/>
              </a:ext>
            </a:extLst>
          </p:cNvPr>
          <p:cNvSpPr/>
          <p:nvPr/>
        </p:nvSpPr>
        <p:spPr>
          <a:xfrm>
            <a:off x="3091721" y="4399077"/>
            <a:ext cx="1764978" cy="41638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896181">
              <a:lnSpc>
                <a:spcPct val="90000"/>
              </a:lnSpc>
              <a:defRPr/>
            </a:pPr>
            <a:r>
              <a:rPr lang="en-US" sz="2353" b="1" dirty="0">
                <a:cs typeface="Segoe UI Semilight" panose="020B0402040204020203" pitchFamily="34" charset="0"/>
              </a:rPr>
              <a:t>10 mins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7CB3517A-145C-D34E-A49B-78A97955DF71}"/>
              </a:ext>
            </a:extLst>
          </p:cNvPr>
          <p:cNvCxnSpPr/>
          <p:nvPr/>
        </p:nvCxnSpPr>
        <p:spPr>
          <a:xfrm>
            <a:off x="455994" y="3735735"/>
            <a:ext cx="564000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3" name="Group 52">
            <a:extLst>
              <a:ext uri="{FF2B5EF4-FFF2-40B4-BE49-F238E27FC236}">
                <a16:creationId xmlns:a16="http://schemas.microsoft.com/office/drawing/2014/main" id="{D5B3ECC6-EE13-464C-BE36-7FDDE3FD0409}"/>
              </a:ext>
            </a:extLst>
          </p:cNvPr>
          <p:cNvGrpSpPr/>
          <p:nvPr/>
        </p:nvGrpSpPr>
        <p:grpSpPr>
          <a:xfrm>
            <a:off x="6817519" y="2327792"/>
            <a:ext cx="3683378" cy="2403410"/>
            <a:chOff x="6244240" y="2829144"/>
            <a:chExt cx="3757237" cy="2451603"/>
          </a:xfrm>
        </p:grpSpPr>
        <p:sp>
          <p:nvSpPr>
            <p:cNvPr id="26" name="5-Point Star 25">
              <a:extLst>
                <a:ext uri="{FF2B5EF4-FFF2-40B4-BE49-F238E27FC236}">
                  <a16:creationId xmlns:a16="http://schemas.microsoft.com/office/drawing/2014/main" id="{12F0EAC4-E8D6-0C48-BC51-F2EE0156F482}"/>
                </a:ext>
              </a:extLst>
            </p:cNvPr>
            <p:cNvSpPr/>
            <p:nvPr/>
          </p:nvSpPr>
          <p:spPr bwMode="auto">
            <a:xfrm>
              <a:off x="8311076" y="2839856"/>
              <a:ext cx="274556" cy="274556"/>
            </a:xfrm>
            <a:prstGeom prst="star5">
              <a:avLst>
                <a:gd name="adj" fmla="val 23573"/>
                <a:gd name="hf" fmla="val 105146"/>
                <a:gd name="vf" fmla="val 110557"/>
              </a:avLst>
            </a:prstGeom>
            <a:solidFill>
              <a:schemeClr val="accent5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10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353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CBB8482E-087F-C646-847A-CD745C9A0FCF}"/>
                </a:ext>
              </a:extLst>
            </p:cNvPr>
            <p:cNvSpPr/>
            <p:nvPr/>
          </p:nvSpPr>
          <p:spPr>
            <a:xfrm>
              <a:off x="6244240" y="2829144"/>
              <a:ext cx="2938911" cy="30777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defTabSz="896181"/>
              <a:r>
                <a:rPr lang="en-US" sz="1372" b="1" dirty="0">
                  <a:gradFill>
                    <a:gsLst>
                      <a:gs pos="2917">
                        <a:srgbClr val="1A1A1A"/>
                      </a:gs>
                      <a:gs pos="30000">
                        <a:srgbClr val="1A1A1A"/>
                      </a:gs>
                    </a:gsLst>
                    <a:lin ang="5400000" scaled="0"/>
                  </a:gradFill>
                  <a:cs typeface="Segoe UI Semilight" panose="020B0402040204020203" pitchFamily="34" charset="0"/>
                </a:rPr>
                <a:t>0 to 20% </a:t>
              </a:r>
              <a:r>
                <a:rPr lang="en-US" sz="1372" dirty="0">
                  <a:gradFill>
                    <a:gsLst>
                      <a:gs pos="2917">
                        <a:srgbClr val="1A1A1A"/>
                      </a:gs>
                      <a:gs pos="30000">
                        <a:srgbClr val="1A1A1A"/>
                      </a:gs>
                    </a:gsLst>
                    <a:lin ang="5400000" scaled="0"/>
                  </a:gradFill>
                  <a:cs typeface="Segoe UI Semilight" panose="020B0402040204020203" pitchFamily="34" charset="0"/>
                </a:rPr>
                <a:t>data points</a:t>
              </a:r>
            </a:p>
          </p:txBody>
        </p:sp>
        <p:sp>
          <p:nvSpPr>
            <p:cNvPr id="28" name="5-Point Star 27">
              <a:extLst>
                <a:ext uri="{FF2B5EF4-FFF2-40B4-BE49-F238E27FC236}">
                  <a16:creationId xmlns:a16="http://schemas.microsoft.com/office/drawing/2014/main" id="{92FBB14E-8754-C74F-A197-B54639AEA0DF}"/>
                </a:ext>
              </a:extLst>
            </p:cNvPr>
            <p:cNvSpPr/>
            <p:nvPr/>
          </p:nvSpPr>
          <p:spPr bwMode="auto">
            <a:xfrm>
              <a:off x="8311076" y="3366350"/>
              <a:ext cx="274556" cy="274556"/>
            </a:xfrm>
            <a:prstGeom prst="star5">
              <a:avLst>
                <a:gd name="adj" fmla="val 23573"/>
                <a:gd name="hf" fmla="val 105146"/>
                <a:gd name="vf" fmla="val 110557"/>
              </a:avLst>
            </a:prstGeom>
            <a:solidFill>
              <a:schemeClr val="accent5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10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353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642F013A-74A1-5A45-B972-36967004B7BD}"/>
                </a:ext>
              </a:extLst>
            </p:cNvPr>
            <p:cNvSpPr/>
            <p:nvPr/>
          </p:nvSpPr>
          <p:spPr>
            <a:xfrm>
              <a:off x="6244240" y="3365100"/>
              <a:ext cx="2938911" cy="30777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defTabSz="896181"/>
              <a:r>
                <a:rPr lang="en-US" sz="1372" b="1" dirty="0">
                  <a:gradFill>
                    <a:gsLst>
                      <a:gs pos="2917">
                        <a:srgbClr val="1A1A1A"/>
                      </a:gs>
                      <a:gs pos="30000">
                        <a:srgbClr val="1A1A1A"/>
                      </a:gs>
                    </a:gsLst>
                    <a:lin ang="5400000" scaled="0"/>
                  </a:gradFill>
                  <a:cs typeface="Segoe UI Semilight" panose="020B0402040204020203" pitchFamily="34" charset="0"/>
                </a:rPr>
                <a:t>20 to 40% </a:t>
              </a:r>
              <a:r>
                <a:rPr lang="en-US" sz="1372" dirty="0">
                  <a:gradFill>
                    <a:gsLst>
                      <a:gs pos="2917">
                        <a:srgbClr val="1A1A1A"/>
                      </a:gs>
                      <a:gs pos="30000">
                        <a:srgbClr val="1A1A1A"/>
                      </a:gs>
                    </a:gsLst>
                    <a:lin ang="5400000" scaled="0"/>
                  </a:gradFill>
                  <a:cs typeface="Segoe UI Semilight" panose="020B0402040204020203" pitchFamily="34" charset="0"/>
                </a:rPr>
                <a:t>data points</a:t>
              </a:r>
            </a:p>
          </p:txBody>
        </p:sp>
        <p:sp>
          <p:nvSpPr>
            <p:cNvPr id="30" name="5-Point Star 29">
              <a:extLst>
                <a:ext uri="{FF2B5EF4-FFF2-40B4-BE49-F238E27FC236}">
                  <a16:creationId xmlns:a16="http://schemas.microsoft.com/office/drawing/2014/main" id="{5E1644A2-A797-4F48-A38E-F5416A28E793}"/>
                </a:ext>
              </a:extLst>
            </p:cNvPr>
            <p:cNvSpPr/>
            <p:nvPr/>
          </p:nvSpPr>
          <p:spPr bwMode="auto">
            <a:xfrm>
              <a:off x="8674869" y="3366350"/>
              <a:ext cx="274556" cy="274556"/>
            </a:xfrm>
            <a:prstGeom prst="star5">
              <a:avLst>
                <a:gd name="adj" fmla="val 23573"/>
                <a:gd name="hf" fmla="val 105146"/>
                <a:gd name="vf" fmla="val 110557"/>
              </a:avLst>
            </a:prstGeom>
            <a:solidFill>
              <a:schemeClr val="accent5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10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353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31" name="5-Point Star 30">
              <a:extLst>
                <a:ext uri="{FF2B5EF4-FFF2-40B4-BE49-F238E27FC236}">
                  <a16:creationId xmlns:a16="http://schemas.microsoft.com/office/drawing/2014/main" id="{EFA81882-64F4-5B41-9F06-EFDB116A7F26}"/>
                </a:ext>
              </a:extLst>
            </p:cNvPr>
            <p:cNvSpPr/>
            <p:nvPr/>
          </p:nvSpPr>
          <p:spPr bwMode="auto">
            <a:xfrm>
              <a:off x="8311076" y="3867897"/>
              <a:ext cx="274556" cy="274556"/>
            </a:xfrm>
            <a:prstGeom prst="star5">
              <a:avLst>
                <a:gd name="adj" fmla="val 23573"/>
                <a:gd name="hf" fmla="val 105146"/>
                <a:gd name="vf" fmla="val 110557"/>
              </a:avLst>
            </a:prstGeom>
            <a:solidFill>
              <a:schemeClr val="accent5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10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353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E208CD63-057C-B04E-BAF0-5816FCFD6E37}"/>
                </a:ext>
              </a:extLst>
            </p:cNvPr>
            <p:cNvSpPr/>
            <p:nvPr/>
          </p:nvSpPr>
          <p:spPr>
            <a:xfrm>
              <a:off x="6244240" y="3901056"/>
              <a:ext cx="2938911" cy="30777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defTabSz="896181"/>
              <a:r>
                <a:rPr lang="en-US" sz="1372" b="1" dirty="0">
                  <a:gradFill>
                    <a:gsLst>
                      <a:gs pos="2917">
                        <a:srgbClr val="1A1A1A"/>
                      </a:gs>
                      <a:gs pos="30000">
                        <a:srgbClr val="1A1A1A"/>
                      </a:gs>
                    </a:gsLst>
                    <a:lin ang="5400000" scaled="0"/>
                  </a:gradFill>
                  <a:cs typeface="Segoe UI Semilight" panose="020B0402040204020203" pitchFamily="34" charset="0"/>
                </a:rPr>
                <a:t>40 to 60% </a:t>
              </a:r>
              <a:r>
                <a:rPr lang="en-US" sz="1372" dirty="0">
                  <a:gradFill>
                    <a:gsLst>
                      <a:gs pos="2917">
                        <a:srgbClr val="1A1A1A"/>
                      </a:gs>
                      <a:gs pos="30000">
                        <a:srgbClr val="1A1A1A"/>
                      </a:gs>
                    </a:gsLst>
                    <a:lin ang="5400000" scaled="0"/>
                  </a:gradFill>
                  <a:cs typeface="Segoe UI Semilight" panose="020B0402040204020203" pitchFamily="34" charset="0"/>
                </a:rPr>
                <a:t>data points</a:t>
              </a:r>
            </a:p>
          </p:txBody>
        </p:sp>
        <p:sp>
          <p:nvSpPr>
            <p:cNvPr id="33" name="5-Point Star 32">
              <a:extLst>
                <a:ext uri="{FF2B5EF4-FFF2-40B4-BE49-F238E27FC236}">
                  <a16:creationId xmlns:a16="http://schemas.microsoft.com/office/drawing/2014/main" id="{EB25F930-DAAB-0C40-9F58-09C94ACB5004}"/>
                </a:ext>
              </a:extLst>
            </p:cNvPr>
            <p:cNvSpPr/>
            <p:nvPr/>
          </p:nvSpPr>
          <p:spPr bwMode="auto">
            <a:xfrm>
              <a:off x="8674869" y="3867897"/>
              <a:ext cx="274556" cy="274556"/>
            </a:xfrm>
            <a:prstGeom prst="star5">
              <a:avLst>
                <a:gd name="adj" fmla="val 23573"/>
                <a:gd name="hf" fmla="val 105146"/>
                <a:gd name="vf" fmla="val 110557"/>
              </a:avLst>
            </a:prstGeom>
            <a:solidFill>
              <a:schemeClr val="accent5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10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353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34" name="5-Point Star 33">
              <a:extLst>
                <a:ext uri="{FF2B5EF4-FFF2-40B4-BE49-F238E27FC236}">
                  <a16:creationId xmlns:a16="http://schemas.microsoft.com/office/drawing/2014/main" id="{BF288526-F719-BF40-9B82-24B7360CB9D9}"/>
                </a:ext>
              </a:extLst>
            </p:cNvPr>
            <p:cNvSpPr/>
            <p:nvPr/>
          </p:nvSpPr>
          <p:spPr bwMode="auto">
            <a:xfrm>
              <a:off x="9028831" y="3867897"/>
              <a:ext cx="274556" cy="274556"/>
            </a:xfrm>
            <a:prstGeom prst="star5">
              <a:avLst>
                <a:gd name="adj" fmla="val 23573"/>
                <a:gd name="hf" fmla="val 105146"/>
                <a:gd name="vf" fmla="val 110557"/>
              </a:avLst>
            </a:prstGeom>
            <a:solidFill>
              <a:schemeClr val="accent5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10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353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35" name="5-Point Star 34">
              <a:extLst>
                <a:ext uri="{FF2B5EF4-FFF2-40B4-BE49-F238E27FC236}">
                  <a16:creationId xmlns:a16="http://schemas.microsoft.com/office/drawing/2014/main" id="{4601C56D-3502-ED44-BB82-950C85A8AE61}"/>
                </a:ext>
              </a:extLst>
            </p:cNvPr>
            <p:cNvSpPr/>
            <p:nvPr/>
          </p:nvSpPr>
          <p:spPr bwMode="auto">
            <a:xfrm>
              <a:off x="8311076" y="4412514"/>
              <a:ext cx="274556" cy="274556"/>
            </a:xfrm>
            <a:prstGeom prst="star5">
              <a:avLst>
                <a:gd name="adj" fmla="val 23573"/>
                <a:gd name="hf" fmla="val 105146"/>
                <a:gd name="vf" fmla="val 110557"/>
              </a:avLst>
            </a:prstGeom>
            <a:solidFill>
              <a:schemeClr val="accent5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10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353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36" name="Rectangle 35">
              <a:extLst>
                <a:ext uri="{FF2B5EF4-FFF2-40B4-BE49-F238E27FC236}">
                  <a16:creationId xmlns:a16="http://schemas.microsoft.com/office/drawing/2014/main" id="{3429F9EF-0D31-D34A-BCF3-C51BD772CD67}"/>
                </a:ext>
              </a:extLst>
            </p:cNvPr>
            <p:cNvSpPr/>
            <p:nvPr/>
          </p:nvSpPr>
          <p:spPr>
            <a:xfrm>
              <a:off x="6244240" y="4437012"/>
              <a:ext cx="2938911" cy="30777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defTabSz="896181"/>
              <a:r>
                <a:rPr lang="en-US" sz="1372" b="1" dirty="0">
                  <a:gradFill>
                    <a:gsLst>
                      <a:gs pos="2917">
                        <a:srgbClr val="1A1A1A"/>
                      </a:gs>
                      <a:gs pos="30000">
                        <a:srgbClr val="1A1A1A"/>
                      </a:gs>
                    </a:gsLst>
                    <a:lin ang="5400000" scaled="0"/>
                  </a:gradFill>
                  <a:cs typeface="Segoe UI Semilight" panose="020B0402040204020203" pitchFamily="34" charset="0"/>
                </a:rPr>
                <a:t>60 to 80% </a:t>
              </a:r>
              <a:r>
                <a:rPr lang="en-US" sz="1372" dirty="0">
                  <a:gradFill>
                    <a:gsLst>
                      <a:gs pos="2917">
                        <a:srgbClr val="1A1A1A"/>
                      </a:gs>
                      <a:gs pos="30000">
                        <a:srgbClr val="1A1A1A"/>
                      </a:gs>
                    </a:gsLst>
                    <a:lin ang="5400000" scaled="0"/>
                  </a:gradFill>
                  <a:cs typeface="Segoe UI Semilight" panose="020B0402040204020203" pitchFamily="34" charset="0"/>
                </a:rPr>
                <a:t>data points</a:t>
              </a:r>
            </a:p>
          </p:txBody>
        </p:sp>
        <p:sp>
          <p:nvSpPr>
            <p:cNvPr id="37" name="5-Point Star 36">
              <a:extLst>
                <a:ext uri="{FF2B5EF4-FFF2-40B4-BE49-F238E27FC236}">
                  <a16:creationId xmlns:a16="http://schemas.microsoft.com/office/drawing/2014/main" id="{C1ED06A7-65B8-7948-9676-1BE78BECCD1F}"/>
                </a:ext>
              </a:extLst>
            </p:cNvPr>
            <p:cNvSpPr/>
            <p:nvPr/>
          </p:nvSpPr>
          <p:spPr bwMode="auto">
            <a:xfrm>
              <a:off x="8674869" y="4412514"/>
              <a:ext cx="274556" cy="274556"/>
            </a:xfrm>
            <a:prstGeom prst="star5">
              <a:avLst>
                <a:gd name="adj" fmla="val 23573"/>
                <a:gd name="hf" fmla="val 105146"/>
                <a:gd name="vf" fmla="val 110557"/>
              </a:avLst>
            </a:prstGeom>
            <a:solidFill>
              <a:schemeClr val="accent5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10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353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38" name="5-Point Star 37">
              <a:extLst>
                <a:ext uri="{FF2B5EF4-FFF2-40B4-BE49-F238E27FC236}">
                  <a16:creationId xmlns:a16="http://schemas.microsoft.com/office/drawing/2014/main" id="{E39FC9AE-7FE0-9245-A716-B273B9770EB2}"/>
                </a:ext>
              </a:extLst>
            </p:cNvPr>
            <p:cNvSpPr/>
            <p:nvPr/>
          </p:nvSpPr>
          <p:spPr bwMode="auto">
            <a:xfrm>
              <a:off x="9028831" y="4412514"/>
              <a:ext cx="274556" cy="274556"/>
            </a:xfrm>
            <a:prstGeom prst="star5">
              <a:avLst>
                <a:gd name="adj" fmla="val 23573"/>
                <a:gd name="hf" fmla="val 105146"/>
                <a:gd name="vf" fmla="val 110557"/>
              </a:avLst>
            </a:prstGeom>
            <a:solidFill>
              <a:schemeClr val="accent5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10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353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39" name="5-Point Star 38">
              <a:extLst>
                <a:ext uri="{FF2B5EF4-FFF2-40B4-BE49-F238E27FC236}">
                  <a16:creationId xmlns:a16="http://schemas.microsoft.com/office/drawing/2014/main" id="{AA244177-ABDA-6843-B267-17FA1C40C2F4}"/>
                </a:ext>
              </a:extLst>
            </p:cNvPr>
            <p:cNvSpPr/>
            <p:nvPr/>
          </p:nvSpPr>
          <p:spPr bwMode="auto">
            <a:xfrm>
              <a:off x="9372960" y="4412514"/>
              <a:ext cx="274556" cy="274556"/>
            </a:xfrm>
            <a:prstGeom prst="star5">
              <a:avLst>
                <a:gd name="adj" fmla="val 23573"/>
                <a:gd name="hf" fmla="val 105146"/>
                <a:gd name="vf" fmla="val 110557"/>
              </a:avLst>
            </a:prstGeom>
            <a:solidFill>
              <a:schemeClr val="accent5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10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353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40" name="5-Point Star 39">
              <a:extLst>
                <a:ext uri="{FF2B5EF4-FFF2-40B4-BE49-F238E27FC236}">
                  <a16:creationId xmlns:a16="http://schemas.microsoft.com/office/drawing/2014/main" id="{F3E70D76-E92E-D946-A15C-FDEDE29E76EF}"/>
                </a:ext>
              </a:extLst>
            </p:cNvPr>
            <p:cNvSpPr/>
            <p:nvPr/>
          </p:nvSpPr>
          <p:spPr bwMode="auto">
            <a:xfrm>
              <a:off x="8311076" y="4968604"/>
              <a:ext cx="274556" cy="274556"/>
            </a:xfrm>
            <a:prstGeom prst="star5">
              <a:avLst>
                <a:gd name="adj" fmla="val 23573"/>
                <a:gd name="hf" fmla="val 105146"/>
                <a:gd name="vf" fmla="val 110557"/>
              </a:avLst>
            </a:prstGeom>
            <a:solidFill>
              <a:schemeClr val="accent5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10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353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41" name="Rectangle 40">
              <a:extLst>
                <a:ext uri="{FF2B5EF4-FFF2-40B4-BE49-F238E27FC236}">
                  <a16:creationId xmlns:a16="http://schemas.microsoft.com/office/drawing/2014/main" id="{4C19154B-3EF8-DD4E-927D-C8167961FE3B}"/>
                </a:ext>
              </a:extLst>
            </p:cNvPr>
            <p:cNvSpPr/>
            <p:nvPr/>
          </p:nvSpPr>
          <p:spPr>
            <a:xfrm>
              <a:off x="6244240" y="4972970"/>
              <a:ext cx="2938911" cy="30777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defTabSz="896181"/>
              <a:r>
                <a:rPr lang="en-US" sz="1372" b="1" dirty="0">
                  <a:gradFill>
                    <a:gsLst>
                      <a:gs pos="2917">
                        <a:srgbClr val="1A1A1A"/>
                      </a:gs>
                      <a:gs pos="30000">
                        <a:srgbClr val="1A1A1A"/>
                      </a:gs>
                    </a:gsLst>
                    <a:lin ang="5400000" scaled="0"/>
                  </a:gradFill>
                  <a:cs typeface="Segoe UI Semilight" panose="020B0402040204020203" pitchFamily="34" charset="0"/>
                </a:rPr>
                <a:t>80 to 100% </a:t>
              </a:r>
              <a:r>
                <a:rPr lang="en-US" sz="1372" dirty="0">
                  <a:gradFill>
                    <a:gsLst>
                      <a:gs pos="2917">
                        <a:srgbClr val="1A1A1A"/>
                      </a:gs>
                      <a:gs pos="30000">
                        <a:srgbClr val="1A1A1A"/>
                      </a:gs>
                    </a:gsLst>
                    <a:lin ang="5400000" scaled="0"/>
                  </a:gradFill>
                  <a:cs typeface="Segoe UI Semilight" panose="020B0402040204020203" pitchFamily="34" charset="0"/>
                </a:rPr>
                <a:t>data points</a:t>
              </a:r>
            </a:p>
          </p:txBody>
        </p:sp>
        <p:sp>
          <p:nvSpPr>
            <p:cNvPr id="42" name="5-Point Star 41">
              <a:extLst>
                <a:ext uri="{FF2B5EF4-FFF2-40B4-BE49-F238E27FC236}">
                  <a16:creationId xmlns:a16="http://schemas.microsoft.com/office/drawing/2014/main" id="{CD276E53-507F-6646-8E3E-C7F0B7ADB7D2}"/>
                </a:ext>
              </a:extLst>
            </p:cNvPr>
            <p:cNvSpPr/>
            <p:nvPr/>
          </p:nvSpPr>
          <p:spPr bwMode="auto">
            <a:xfrm>
              <a:off x="8674869" y="4968604"/>
              <a:ext cx="274556" cy="274556"/>
            </a:xfrm>
            <a:prstGeom prst="star5">
              <a:avLst>
                <a:gd name="adj" fmla="val 23573"/>
                <a:gd name="hf" fmla="val 105146"/>
                <a:gd name="vf" fmla="val 110557"/>
              </a:avLst>
            </a:prstGeom>
            <a:solidFill>
              <a:schemeClr val="accent5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10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353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43" name="5-Point Star 42">
              <a:extLst>
                <a:ext uri="{FF2B5EF4-FFF2-40B4-BE49-F238E27FC236}">
                  <a16:creationId xmlns:a16="http://schemas.microsoft.com/office/drawing/2014/main" id="{7E959C73-7775-F445-B9A3-E17F8804B8F8}"/>
                </a:ext>
              </a:extLst>
            </p:cNvPr>
            <p:cNvSpPr/>
            <p:nvPr/>
          </p:nvSpPr>
          <p:spPr bwMode="auto">
            <a:xfrm>
              <a:off x="9028831" y="4968604"/>
              <a:ext cx="274556" cy="274556"/>
            </a:xfrm>
            <a:prstGeom prst="star5">
              <a:avLst>
                <a:gd name="adj" fmla="val 23573"/>
                <a:gd name="hf" fmla="val 105146"/>
                <a:gd name="vf" fmla="val 110557"/>
              </a:avLst>
            </a:prstGeom>
            <a:solidFill>
              <a:schemeClr val="accent5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10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353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44" name="5-Point Star 43">
              <a:extLst>
                <a:ext uri="{FF2B5EF4-FFF2-40B4-BE49-F238E27FC236}">
                  <a16:creationId xmlns:a16="http://schemas.microsoft.com/office/drawing/2014/main" id="{45AD021F-BBE7-914E-A437-4C8937F60433}"/>
                </a:ext>
              </a:extLst>
            </p:cNvPr>
            <p:cNvSpPr/>
            <p:nvPr/>
          </p:nvSpPr>
          <p:spPr bwMode="auto">
            <a:xfrm>
              <a:off x="9372960" y="4968604"/>
              <a:ext cx="274556" cy="274556"/>
            </a:xfrm>
            <a:prstGeom prst="star5">
              <a:avLst>
                <a:gd name="adj" fmla="val 23573"/>
                <a:gd name="hf" fmla="val 105146"/>
                <a:gd name="vf" fmla="val 110557"/>
              </a:avLst>
            </a:prstGeom>
            <a:solidFill>
              <a:schemeClr val="accent5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10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353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45" name="5-Point Star 44">
              <a:extLst>
                <a:ext uri="{FF2B5EF4-FFF2-40B4-BE49-F238E27FC236}">
                  <a16:creationId xmlns:a16="http://schemas.microsoft.com/office/drawing/2014/main" id="{470CA1F5-8C7F-3940-A571-4802C39796AC}"/>
                </a:ext>
              </a:extLst>
            </p:cNvPr>
            <p:cNvSpPr/>
            <p:nvPr/>
          </p:nvSpPr>
          <p:spPr bwMode="auto">
            <a:xfrm>
              <a:off x="9726921" y="4968604"/>
              <a:ext cx="274556" cy="274556"/>
            </a:xfrm>
            <a:prstGeom prst="star5">
              <a:avLst>
                <a:gd name="adj" fmla="val 23573"/>
                <a:gd name="hf" fmla="val 105146"/>
                <a:gd name="vf" fmla="val 110557"/>
              </a:avLst>
            </a:prstGeom>
            <a:solidFill>
              <a:schemeClr val="accent5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10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353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</p:grpSp>
      <p:cxnSp>
        <p:nvCxnSpPr>
          <p:cNvPr id="57" name="Straight Connector 56">
            <a:extLst>
              <a:ext uri="{FF2B5EF4-FFF2-40B4-BE49-F238E27FC236}">
                <a16:creationId xmlns:a16="http://schemas.microsoft.com/office/drawing/2014/main" id="{A24C4606-ABC5-8B45-ACE4-1B30EE57A30C}"/>
              </a:ext>
            </a:extLst>
          </p:cNvPr>
          <p:cNvCxnSpPr>
            <a:cxnSpLocks/>
          </p:cNvCxnSpPr>
          <p:nvPr/>
        </p:nvCxnSpPr>
        <p:spPr>
          <a:xfrm>
            <a:off x="6095999" y="1808431"/>
            <a:ext cx="0" cy="322706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Rectangle 58">
            <a:extLst>
              <a:ext uri="{FF2B5EF4-FFF2-40B4-BE49-F238E27FC236}">
                <a16:creationId xmlns:a16="http://schemas.microsoft.com/office/drawing/2014/main" id="{598D7169-55A5-8E4D-8C8C-9E79AFDC9A05}"/>
              </a:ext>
            </a:extLst>
          </p:cNvPr>
          <p:cNvSpPr/>
          <p:nvPr/>
        </p:nvSpPr>
        <p:spPr>
          <a:xfrm>
            <a:off x="1333846" y="5305176"/>
            <a:ext cx="2939887" cy="78448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896181">
              <a:defRPr/>
            </a:pPr>
            <a:r>
              <a:rPr lang="en-US" sz="1765" dirty="0">
                <a:solidFill>
                  <a:srgbClr val="0078D4"/>
                </a:solidFill>
                <a:latin typeface="+mj-lt"/>
                <a:cs typeface="Segoe UI Semilight" panose="020B0402040204020203" pitchFamily="34" charset="0"/>
              </a:rPr>
              <a:t>Low confidence ratings </a:t>
            </a:r>
            <a:r>
              <a:rPr lang="en-US" sz="1372" dirty="0">
                <a:gradFill>
                  <a:gsLst>
                    <a:gs pos="2917">
                      <a:srgbClr val="1A1A1A"/>
                    </a:gs>
                    <a:gs pos="30000">
                      <a:srgbClr val="1A1A1A"/>
                    </a:gs>
                  </a:gsLst>
                  <a:lin ang="5400000" scaled="0"/>
                </a:gradFill>
                <a:cs typeface="Segoe UI Semilight" panose="020B0402040204020203" pitchFamily="34" charset="0"/>
              </a:rPr>
              <a:t>indicate fewer data points availability. Could be due to: </a:t>
            </a:r>
          </a:p>
        </p:txBody>
      </p:sp>
      <p:sp>
        <p:nvSpPr>
          <p:cNvPr id="60" name="Rectangle 59">
            <a:extLst>
              <a:ext uri="{FF2B5EF4-FFF2-40B4-BE49-F238E27FC236}">
                <a16:creationId xmlns:a16="http://schemas.microsoft.com/office/drawing/2014/main" id="{C67E9FBA-6CE8-BB4A-81CD-C7AF16A6408C}"/>
              </a:ext>
            </a:extLst>
          </p:cNvPr>
          <p:cNvSpPr/>
          <p:nvPr/>
        </p:nvSpPr>
        <p:spPr>
          <a:xfrm>
            <a:off x="4165781" y="5367279"/>
            <a:ext cx="2058383" cy="10122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1" defTabSz="896181">
              <a:defRPr/>
            </a:pPr>
            <a:r>
              <a:rPr lang="en-US" sz="1372" dirty="0">
                <a:gradFill>
                  <a:gsLst>
                    <a:gs pos="2917">
                      <a:srgbClr val="1A1A1A"/>
                    </a:gs>
                    <a:gs pos="30000">
                      <a:srgbClr val="1A1A1A"/>
                    </a:gs>
                  </a:gsLst>
                  <a:lin ang="5400000" scaled="0"/>
                </a:gradFill>
                <a:latin typeface="+mj-lt"/>
                <a:cs typeface="Segoe UI Semilight" panose="020B0402040204020203" pitchFamily="34" charset="0"/>
              </a:rPr>
              <a:t>Shorter profiling period </a:t>
            </a:r>
            <a:br>
              <a:rPr lang="en-US" sz="1372" dirty="0">
                <a:gradFill>
                  <a:gsLst>
                    <a:gs pos="2917">
                      <a:srgbClr val="1A1A1A"/>
                    </a:gs>
                    <a:gs pos="30000">
                      <a:srgbClr val="1A1A1A"/>
                    </a:gs>
                  </a:gsLst>
                  <a:lin ang="5400000" scaled="0"/>
                </a:gradFill>
                <a:cs typeface="Segoe UI Semilight" panose="020B0402040204020203" pitchFamily="34" charset="0"/>
              </a:rPr>
            </a:br>
            <a:r>
              <a:rPr lang="en-US" sz="1078" i="1" dirty="0">
                <a:gradFill>
                  <a:gsLst>
                    <a:gs pos="2917">
                      <a:srgbClr val="1A1A1A"/>
                    </a:gs>
                    <a:gs pos="30000">
                      <a:srgbClr val="1A1A1A"/>
                    </a:gs>
                  </a:gsLst>
                  <a:lin ang="5400000" scaled="0"/>
                </a:gradFill>
                <a:cs typeface="Segoe UI Semilight" panose="020B0402040204020203" pitchFamily="34" charset="0"/>
              </a:rPr>
              <a:t>(performance history duration &gt; actual period for which data was available)</a:t>
            </a:r>
            <a:endParaRPr lang="en-US" sz="1372" i="1" dirty="0">
              <a:gradFill>
                <a:gsLst>
                  <a:gs pos="2917">
                    <a:srgbClr val="1A1A1A"/>
                  </a:gs>
                  <a:gs pos="30000">
                    <a:srgbClr val="1A1A1A"/>
                  </a:gs>
                </a:gsLst>
                <a:lin ang="5400000" scaled="0"/>
              </a:gradFill>
              <a:cs typeface="Segoe UI Semilight" panose="020B0402040204020203" pitchFamily="34" charset="0"/>
            </a:endParaRPr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99066758-92CB-124C-938B-5374669412AE}"/>
              </a:ext>
            </a:extLst>
          </p:cNvPr>
          <p:cNvSpPr/>
          <p:nvPr/>
        </p:nvSpPr>
        <p:spPr>
          <a:xfrm>
            <a:off x="6569612" y="5367279"/>
            <a:ext cx="2058383" cy="51293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1" defTabSz="896181">
              <a:defRPr/>
            </a:pPr>
            <a:r>
              <a:rPr lang="en-US" sz="1372" dirty="0">
                <a:gradFill>
                  <a:gsLst>
                    <a:gs pos="2917">
                      <a:srgbClr val="1A1A1A"/>
                    </a:gs>
                    <a:gs pos="30000">
                      <a:srgbClr val="1A1A1A"/>
                    </a:gs>
                  </a:gsLst>
                  <a:lin ang="5400000" scaled="0"/>
                </a:gradFill>
                <a:latin typeface="+mj-lt"/>
                <a:cs typeface="Segoe UI Semilight" panose="020B0402040204020203" pitchFamily="34" charset="0"/>
              </a:rPr>
              <a:t>On-prem VMs shutdown</a:t>
            </a:r>
          </a:p>
        </p:txBody>
      </p:sp>
      <p:sp>
        <p:nvSpPr>
          <p:cNvPr id="62" name="Rectangle 61">
            <a:extLst>
              <a:ext uri="{FF2B5EF4-FFF2-40B4-BE49-F238E27FC236}">
                <a16:creationId xmlns:a16="http://schemas.microsoft.com/office/drawing/2014/main" id="{5F3BC114-EC03-2F46-8C15-67261C9BE8CA}"/>
              </a:ext>
            </a:extLst>
          </p:cNvPr>
          <p:cNvSpPr/>
          <p:nvPr/>
        </p:nvSpPr>
        <p:spPr>
          <a:xfrm>
            <a:off x="8194672" y="5367279"/>
            <a:ext cx="2058383" cy="51293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1" defTabSz="896181">
              <a:defRPr/>
            </a:pPr>
            <a:r>
              <a:rPr lang="en-US" sz="1372" dirty="0">
                <a:gradFill>
                  <a:gsLst>
                    <a:gs pos="2917">
                      <a:srgbClr val="1A1A1A"/>
                    </a:gs>
                    <a:gs pos="30000">
                      <a:srgbClr val="1A1A1A"/>
                    </a:gs>
                  </a:gsLst>
                  <a:lin ang="5400000" scaled="0"/>
                </a:gradFill>
                <a:latin typeface="+mj-lt"/>
                <a:cs typeface="Segoe UI Semilight" panose="020B0402040204020203" pitchFamily="34" charset="0"/>
              </a:rPr>
              <a:t>Appliance unable </a:t>
            </a:r>
            <a:br>
              <a:rPr lang="en-US" sz="1372" dirty="0">
                <a:gradFill>
                  <a:gsLst>
                    <a:gs pos="2917">
                      <a:srgbClr val="1A1A1A"/>
                    </a:gs>
                    <a:gs pos="30000">
                      <a:srgbClr val="1A1A1A"/>
                    </a:gs>
                  </a:gsLst>
                  <a:lin ang="5400000" scaled="0"/>
                </a:gradFill>
                <a:latin typeface="+mj-lt"/>
                <a:cs typeface="Segoe UI Semilight" panose="020B0402040204020203" pitchFamily="34" charset="0"/>
              </a:rPr>
            </a:br>
            <a:r>
              <a:rPr lang="en-US" sz="1372" dirty="0">
                <a:gradFill>
                  <a:gsLst>
                    <a:gs pos="2917">
                      <a:srgbClr val="1A1A1A"/>
                    </a:gs>
                    <a:gs pos="30000">
                      <a:srgbClr val="1A1A1A"/>
                    </a:gs>
                  </a:gsLst>
                  <a:lin ang="5400000" scaled="0"/>
                </a:gradFill>
                <a:latin typeface="+mj-lt"/>
                <a:cs typeface="Segoe UI Semilight" panose="020B0402040204020203" pitchFamily="34" charset="0"/>
              </a:rPr>
              <a:t>to load perf data</a:t>
            </a:r>
          </a:p>
        </p:txBody>
      </p:sp>
      <p:sp>
        <p:nvSpPr>
          <p:cNvPr id="63" name="Rectangle 62">
            <a:extLst>
              <a:ext uri="{FF2B5EF4-FFF2-40B4-BE49-F238E27FC236}">
                <a16:creationId xmlns:a16="http://schemas.microsoft.com/office/drawing/2014/main" id="{F9CAAE55-2BDF-8C47-9721-C88D283FFC76}"/>
              </a:ext>
            </a:extLst>
          </p:cNvPr>
          <p:cNvSpPr/>
          <p:nvPr/>
        </p:nvSpPr>
        <p:spPr>
          <a:xfrm>
            <a:off x="10051129" y="5367279"/>
            <a:ext cx="2058383" cy="51293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1" defTabSz="896181">
              <a:defRPr/>
            </a:pPr>
            <a:r>
              <a:rPr lang="en-US" sz="1372" dirty="0">
                <a:gradFill>
                  <a:gsLst>
                    <a:gs pos="2917">
                      <a:srgbClr val="1A1A1A"/>
                    </a:gs>
                    <a:gs pos="30000">
                      <a:srgbClr val="1A1A1A"/>
                    </a:gs>
                  </a:gsLst>
                  <a:lin ang="5400000" scaled="0"/>
                </a:gradFill>
                <a:latin typeface="+mj-lt"/>
                <a:cs typeface="Segoe UI Semilight" panose="020B0402040204020203" pitchFamily="34" charset="0"/>
              </a:rPr>
              <a:t>Temporary appliance shutdown</a:t>
            </a:r>
          </a:p>
        </p:txBody>
      </p:sp>
      <p:pic>
        <p:nvPicPr>
          <p:cNvPr id="65" name="Picture 64">
            <a:extLst>
              <a:ext uri="{FF2B5EF4-FFF2-40B4-BE49-F238E27FC236}">
                <a16:creationId xmlns:a16="http://schemas.microsoft.com/office/drawing/2014/main" id="{0036ED41-AE45-AB47-9340-B09B2E66E4C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10893" y="5432678"/>
            <a:ext cx="582676" cy="582676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F16B8013-A52E-8241-AF08-A3F1BEDE4D0C}"/>
              </a:ext>
            </a:extLst>
          </p:cNvPr>
          <p:cNvSpPr txBox="1"/>
          <p:nvPr/>
        </p:nvSpPr>
        <p:spPr>
          <a:xfrm>
            <a:off x="4809821" y="2658168"/>
            <a:ext cx="528649" cy="615522"/>
          </a:xfrm>
          <a:prstGeom prst="rect">
            <a:avLst/>
          </a:prstGeom>
          <a:noFill/>
        </p:spPr>
        <p:txBody>
          <a:bodyPr wrap="none" lIns="179285" tIns="143428" rIns="179285" bIns="143428" rtlCol="0">
            <a:spAutoFit/>
          </a:bodyPr>
          <a:lstStyle/>
          <a:p>
            <a:pPr>
              <a:lnSpc>
                <a:spcPct val="90000"/>
              </a:lnSpc>
              <a:spcAft>
                <a:spcPts val="588"/>
              </a:spcAft>
            </a:pPr>
            <a:r>
              <a:rPr lang="en-US" sz="2353" b="1" dirty="0">
                <a:solidFill>
                  <a:schemeClr val="tx2"/>
                </a:solidFill>
              </a:rPr>
              <a:t>x</a:t>
            </a: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9F6A72BD-721A-7541-AB42-577276AC87EB}"/>
              </a:ext>
            </a:extLst>
          </p:cNvPr>
          <p:cNvSpPr/>
          <p:nvPr/>
        </p:nvSpPr>
        <p:spPr>
          <a:xfrm>
            <a:off x="4928902" y="2603971"/>
            <a:ext cx="1115448" cy="74224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896181">
              <a:lnSpc>
                <a:spcPct val="90000"/>
              </a:lnSpc>
              <a:defRPr/>
            </a:pPr>
            <a:r>
              <a:rPr lang="en-US" sz="2353" b="1" dirty="0">
                <a:cs typeface="Segoe UI Semilight" panose="020B0402040204020203" pitchFamily="34" charset="0"/>
              </a:rPr>
              <a:t>100 pts</a:t>
            </a:r>
          </a:p>
        </p:txBody>
      </p:sp>
      <p:cxnSp>
        <p:nvCxnSpPr>
          <p:cNvPr id="50" name="Straight Connector 49">
            <a:extLst>
              <a:ext uri="{FF2B5EF4-FFF2-40B4-BE49-F238E27FC236}">
                <a16:creationId xmlns:a16="http://schemas.microsoft.com/office/drawing/2014/main" id="{E2AA29AE-FA58-4940-8490-CDD11CBFC94F}"/>
              </a:ext>
            </a:extLst>
          </p:cNvPr>
          <p:cNvCxnSpPr>
            <a:cxnSpLocks/>
          </p:cNvCxnSpPr>
          <p:nvPr/>
        </p:nvCxnSpPr>
        <p:spPr>
          <a:xfrm>
            <a:off x="2712985" y="2980443"/>
            <a:ext cx="2157543" cy="0"/>
          </a:xfrm>
          <a:prstGeom prst="line">
            <a:avLst/>
          </a:prstGeom>
          <a:ln w="19050">
            <a:solidFill>
              <a:schemeClr val="tx2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Rectangle 51">
            <a:extLst>
              <a:ext uri="{FF2B5EF4-FFF2-40B4-BE49-F238E27FC236}">
                <a16:creationId xmlns:a16="http://schemas.microsoft.com/office/drawing/2014/main" id="{D42226D3-1308-DB41-83FC-C196D08ECC7E}"/>
              </a:ext>
            </a:extLst>
          </p:cNvPr>
          <p:cNvSpPr/>
          <p:nvPr/>
        </p:nvSpPr>
        <p:spPr>
          <a:xfrm>
            <a:off x="2671772" y="3035299"/>
            <a:ext cx="2246826" cy="30172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896181">
              <a:defRPr/>
            </a:pPr>
            <a:r>
              <a:rPr lang="en-US" sz="1372" dirty="0">
                <a:gradFill>
                  <a:gsLst>
                    <a:gs pos="2917">
                      <a:srgbClr val="1A1A1A"/>
                    </a:gs>
                    <a:gs pos="30000">
                      <a:srgbClr val="1A1A1A"/>
                    </a:gs>
                  </a:gsLst>
                  <a:lin ang="5400000" scaled="0"/>
                </a:gradFill>
                <a:cs typeface="Segoe UI Semilight" panose="020B0402040204020203" pitchFamily="34" charset="0"/>
              </a:rPr>
              <a:t>Expected data points </a:t>
            </a:r>
          </a:p>
        </p:txBody>
      </p:sp>
      <p:cxnSp>
        <p:nvCxnSpPr>
          <p:cNvPr id="56" name="Straight Connector 55">
            <a:extLst>
              <a:ext uri="{FF2B5EF4-FFF2-40B4-BE49-F238E27FC236}">
                <a16:creationId xmlns:a16="http://schemas.microsoft.com/office/drawing/2014/main" id="{2F3AE8D0-9651-E746-901A-E70CE84EE8AB}"/>
              </a:ext>
            </a:extLst>
          </p:cNvPr>
          <p:cNvCxnSpPr>
            <a:cxnSpLocks/>
          </p:cNvCxnSpPr>
          <p:nvPr/>
        </p:nvCxnSpPr>
        <p:spPr>
          <a:xfrm>
            <a:off x="2754200" y="4359250"/>
            <a:ext cx="2532754" cy="0"/>
          </a:xfrm>
          <a:prstGeom prst="line">
            <a:avLst/>
          </a:prstGeom>
          <a:ln w="19050">
            <a:solidFill>
              <a:schemeClr val="tx2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bk object 17">
            <a:extLst>
              <a:ext uri="{FF2B5EF4-FFF2-40B4-BE49-F238E27FC236}">
                <a16:creationId xmlns:a16="http://schemas.microsoft.com/office/drawing/2014/main" id="{6CA64DE3-9F2D-43F2-A6F6-416FDB5B30DA}"/>
              </a:ext>
            </a:extLst>
          </p:cNvPr>
          <p:cNvSpPr/>
          <p:nvPr/>
        </p:nvSpPr>
        <p:spPr>
          <a:xfrm>
            <a:off x="0" y="6497955"/>
            <a:ext cx="12192000" cy="360045"/>
          </a:xfrm>
          <a:custGeom>
            <a:avLst/>
            <a:gdLst/>
            <a:ahLst/>
            <a:cxnLst/>
            <a:rect l="l" t="t" r="r" b="b"/>
            <a:pathLst>
              <a:path w="12434570" h="360045">
                <a:moveTo>
                  <a:pt x="0" y="359994"/>
                </a:moveTo>
                <a:lnTo>
                  <a:pt x="12434404" y="359994"/>
                </a:lnTo>
                <a:lnTo>
                  <a:pt x="12434404" y="0"/>
                </a:lnTo>
                <a:lnTo>
                  <a:pt x="0" y="0"/>
                </a:lnTo>
                <a:lnTo>
                  <a:pt x="0" y="359994"/>
                </a:lnTo>
                <a:close/>
              </a:path>
            </a:pathLst>
          </a:custGeom>
          <a:solidFill>
            <a:srgbClr val="007FBA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7FE8EEC2-F563-4D7B-B83A-33EC5D66FB50}"/>
              </a:ext>
            </a:extLst>
          </p:cNvPr>
          <p:cNvSpPr txBox="1"/>
          <p:nvPr/>
        </p:nvSpPr>
        <p:spPr>
          <a:xfrm>
            <a:off x="7278010" y="6591175"/>
            <a:ext cx="425867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100" b="0" i="0" kern="0" spc="-20" baseline="0" dirty="0">
                <a:solidFill>
                  <a:schemeClr val="bg1"/>
                </a:solidFill>
                <a:latin typeface="Segoe UI Semibold" charset="0"/>
              </a:rPr>
              <a:t>Microsoft Azure    </a:t>
            </a:r>
            <a:r>
              <a:rPr lang="en-US" sz="1100" b="0" i="0" kern="0" spc="-20" baseline="0" dirty="0">
                <a:solidFill>
                  <a:schemeClr val="bg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|  @</a:t>
            </a:r>
            <a:r>
              <a:rPr lang="en-US" sz="1100" b="0" i="0" kern="0" spc="-20" baseline="0" dirty="0" err="1">
                <a:solidFill>
                  <a:schemeClr val="bg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Techielass</a:t>
            </a:r>
            <a:endParaRPr lang="en-US" sz="1100" b="0" i="0" kern="0" spc="-20" baseline="0" dirty="0">
              <a:solidFill>
                <a:schemeClr val="bg1"/>
              </a:solidFill>
              <a:latin typeface="Segoe UI Semilight" panose="020B0402040204020203" pitchFamily="34" charset="0"/>
              <a:ea typeface="Segoe UI Semilight" charset="0"/>
              <a:cs typeface="Segoe UI Semilight" panose="020B04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100334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" name="TextBox 48">
            <a:extLst>
              <a:ext uri="{FF2B5EF4-FFF2-40B4-BE49-F238E27FC236}">
                <a16:creationId xmlns:a16="http://schemas.microsoft.com/office/drawing/2014/main" id="{15A9FCE9-BC28-4698-8E8B-2FB3E9765637}"/>
              </a:ext>
            </a:extLst>
          </p:cNvPr>
          <p:cNvSpPr txBox="1"/>
          <p:nvPr/>
        </p:nvSpPr>
        <p:spPr>
          <a:xfrm>
            <a:off x="416689" y="2265005"/>
            <a:ext cx="5329688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defTabSz="914192">
              <a:buFont typeface="Arial" panose="020B0604020202020204" pitchFamily="34" charset="0"/>
              <a:buChar char="•"/>
              <a:defRPr/>
            </a:pPr>
            <a:r>
              <a:rPr lang="en-US" sz="2000" dirty="0">
                <a:solidFill>
                  <a:srgbClr val="4C4C5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Strategize your migration</a:t>
            </a:r>
          </a:p>
          <a:p>
            <a:pPr marL="285750" indent="-285750" defTabSz="914192">
              <a:buFont typeface="Arial" panose="020B0604020202020204" pitchFamily="34" charset="0"/>
              <a:buChar char="•"/>
              <a:defRPr/>
            </a:pPr>
            <a:r>
              <a:rPr lang="en-US" sz="2000" dirty="0">
                <a:solidFill>
                  <a:srgbClr val="4C4C5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What’s migration, what’s not migrating?</a:t>
            </a:r>
          </a:p>
          <a:p>
            <a:pPr marL="285750" indent="-285750" defTabSz="914192">
              <a:buFont typeface="Arial" panose="020B0604020202020204" pitchFamily="34" charset="0"/>
              <a:buChar char="•"/>
              <a:defRPr/>
            </a:pPr>
            <a:r>
              <a:rPr lang="en-US" sz="2000" dirty="0">
                <a:solidFill>
                  <a:srgbClr val="4C4C5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How are you migrating?</a:t>
            </a:r>
          </a:p>
          <a:p>
            <a:pPr marL="285750" indent="-285750" defTabSz="914192">
              <a:buFont typeface="Arial" panose="020B0604020202020204" pitchFamily="34" charset="0"/>
              <a:buChar char="•"/>
              <a:defRPr/>
            </a:pPr>
            <a:r>
              <a:rPr lang="en-US" sz="2000" dirty="0">
                <a:solidFill>
                  <a:srgbClr val="4C4C5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What’s the plan?</a:t>
            </a:r>
          </a:p>
          <a:p>
            <a:pPr marL="285750" indent="-285750" defTabSz="914192">
              <a:buFont typeface="Arial" panose="020B0604020202020204" pitchFamily="34" charset="0"/>
              <a:buChar char="•"/>
              <a:defRPr/>
            </a:pPr>
            <a:r>
              <a:rPr lang="en-US" sz="2000" dirty="0">
                <a:solidFill>
                  <a:srgbClr val="4C4C5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Start to think about the bigger picture</a:t>
            </a:r>
          </a:p>
          <a:p>
            <a:pPr defTabSz="914192">
              <a:defRPr/>
            </a:pPr>
            <a:endParaRPr lang="en-US" sz="2000" dirty="0">
              <a:solidFill>
                <a:srgbClr val="4C4C5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8" name="Title 1">
            <a:extLst>
              <a:ext uri="{FF2B5EF4-FFF2-40B4-BE49-F238E27FC236}">
                <a16:creationId xmlns:a16="http://schemas.microsoft.com/office/drawing/2014/main" id="{BECD9960-6DF9-4966-B2D6-F0D932774082}"/>
              </a:ext>
            </a:extLst>
          </p:cNvPr>
          <p:cNvSpPr txBox="1">
            <a:spLocks/>
          </p:cNvSpPr>
          <p:nvPr/>
        </p:nvSpPr>
        <p:spPr>
          <a:xfrm>
            <a:off x="486232" y="5795732"/>
            <a:ext cx="11373365" cy="553841"/>
          </a:xfrm>
          <a:prstGeom prst="rect">
            <a:avLst/>
          </a:prstGeom>
        </p:spPr>
        <p:txBody>
          <a:bodyPr vert="horz" wrap="square" lIns="0" tIns="89630" rIns="143407" bIns="89630" rtlCol="0" anchor="t">
            <a:noAutofit/>
          </a:bodyPr>
          <a:lstStyle>
            <a:lvl1pPr algn="l" defTabSz="93256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800" b="0" kern="1200" cap="none" spc="-50" baseline="0" dirty="0" smtClean="0">
                <a:ln w="3175">
                  <a:noFill/>
                </a:ln>
                <a:solidFill>
                  <a:srgbClr val="000000"/>
                </a:soli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defTabSz="932384"/>
            <a:endParaRPr lang="en-US" sz="2745" dirty="0">
              <a:latin typeface="Segoe UI Semibold (Headings)"/>
              <a:cs typeface="Segoe UI Semibold" panose="020B0702040204020203" pitchFamily="34" charset="0"/>
            </a:endParaRP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D90A74E4-D033-244F-8BBF-AB016E603C6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5995" y="881209"/>
            <a:ext cx="11653518" cy="482763"/>
          </a:xfrm>
        </p:spPr>
        <p:txBody>
          <a:bodyPr/>
          <a:lstStyle/>
          <a:p>
            <a:r>
              <a:rPr lang="en-US" dirty="0"/>
              <a:t>Use the data to strategize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A78D8B18-2C28-6B43-B3A0-D2E53B6355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5995" y="433143"/>
            <a:ext cx="11303917" cy="813704"/>
          </a:xfrm>
        </p:spPr>
        <p:txBody>
          <a:bodyPr/>
          <a:lstStyle/>
          <a:p>
            <a:r>
              <a:rPr lang="en-US" dirty="0"/>
              <a:t>Assessment</a:t>
            </a:r>
          </a:p>
        </p:txBody>
      </p:sp>
      <p:sp>
        <p:nvSpPr>
          <p:cNvPr id="3" name="bk object 17">
            <a:extLst>
              <a:ext uri="{FF2B5EF4-FFF2-40B4-BE49-F238E27FC236}">
                <a16:creationId xmlns:a16="http://schemas.microsoft.com/office/drawing/2014/main" id="{407B5CDC-D413-4E99-A645-F0412DF2C438}"/>
              </a:ext>
            </a:extLst>
          </p:cNvPr>
          <p:cNvSpPr/>
          <p:nvPr/>
        </p:nvSpPr>
        <p:spPr>
          <a:xfrm>
            <a:off x="0" y="6497955"/>
            <a:ext cx="12192000" cy="360045"/>
          </a:xfrm>
          <a:custGeom>
            <a:avLst/>
            <a:gdLst/>
            <a:ahLst/>
            <a:cxnLst/>
            <a:rect l="l" t="t" r="r" b="b"/>
            <a:pathLst>
              <a:path w="12434570" h="360045">
                <a:moveTo>
                  <a:pt x="0" y="359994"/>
                </a:moveTo>
                <a:lnTo>
                  <a:pt x="12434404" y="359994"/>
                </a:lnTo>
                <a:lnTo>
                  <a:pt x="12434404" y="0"/>
                </a:lnTo>
                <a:lnTo>
                  <a:pt x="0" y="0"/>
                </a:lnTo>
                <a:lnTo>
                  <a:pt x="0" y="359994"/>
                </a:lnTo>
                <a:close/>
              </a:path>
            </a:pathLst>
          </a:custGeom>
          <a:solidFill>
            <a:srgbClr val="007FBA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5CE847B4-938E-47E7-9154-2FC09972926D}"/>
              </a:ext>
            </a:extLst>
          </p:cNvPr>
          <p:cNvSpPr txBox="1"/>
          <p:nvPr/>
        </p:nvSpPr>
        <p:spPr>
          <a:xfrm>
            <a:off x="7278010" y="6591175"/>
            <a:ext cx="425867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100" b="0" i="0" kern="0" spc="-20" baseline="0" dirty="0">
                <a:solidFill>
                  <a:schemeClr val="bg1"/>
                </a:solidFill>
                <a:latin typeface="Segoe UI Semibold" charset="0"/>
              </a:rPr>
              <a:t>Microsoft Azure    </a:t>
            </a:r>
            <a:r>
              <a:rPr lang="en-US" sz="1100" b="0" i="0" kern="0" spc="-20" baseline="0" dirty="0">
                <a:solidFill>
                  <a:schemeClr val="bg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|  @</a:t>
            </a:r>
            <a:r>
              <a:rPr lang="en-US" sz="1100" b="0" i="0" kern="0" spc="-20" baseline="0" dirty="0" err="1">
                <a:solidFill>
                  <a:schemeClr val="bg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Techielass</a:t>
            </a:r>
            <a:endParaRPr lang="en-US" sz="1100" b="0" i="0" kern="0" spc="-20" baseline="0" dirty="0">
              <a:solidFill>
                <a:schemeClr val="bg1"/>
              </a:solidFill>
              <a:latin typeface="Segoe UI Semilight" panose="020B0402040204020203" pitchFamily="34" charset="0"/>
              <a:ea typeface="Segoe UI Semilight" charset="0"/>
              <a:cs typeface="Segoe UI Semilight" panose="020B0402040204020203" pitchFamily="34" charset="0"/>
            </a:endParaRPr>
          </a:p>
        </p:txBody>
      </p:sp>
      <p:pic>
        <p:nvPicPr>
          <p:cNvPr id="2" name="Graphic 1" descr="Clipboard Partially Checked">
            <a:extLst>
              <a:ext uri="{FF2B5EF4-FFF2-40B4-BE49-F238E27FC236}">
                <a16:creationId xmlns:a16="http://schemas.microsoft.com/office/drawing/2014/main" id="{80072B61-4486-4663-B811-DC57C0243E3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47432" y="107497"/>
            <a:ext cx="1044568" cy="1044568"/>
          </a:xfrm>
          <a:prstGeom prst="rect">
            <a:avLst/>
          </a:prstGeom>
        </p:spPr>
      </p:pic>
      <p:pic>
        <p:nvPicPr>
          <p:cNvPr id="7" name="Graphic 6" descr="Teacher outline">
            <a:extLst>
              <a:ext uri="{FF2B5EF4-FFF2-40B4-BE49-F238E27FC236}">
                <a16:creationId xmlns:a16="http://schemas.microsoft.com/office/drawing/2014/main" id="{257296ED-BDCB-4A2B-90B9-F8F9B8209264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6752549" y="1122590"/>
            <a:ext cx="3884073" cy="38840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3787606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" name="TextBox 48">
            <a:extLst>
              <a:ext uri="{FF2B5EF4-FFF2-40B4-BE49-F238E27FC236}">
                <a16:creationId xmlns:a16="http://schemas.microsoft.com/office/drawing/2014/main" id="{15A9FCE9-BC28-4698-8E8B-2FB3E9765637}"/>
              </a:ext>
            </a:extLst>
          </p:cNvPr>
          <p:cNvSpPr txBox="1"/>
          <p:nvPr/>
        </p:nvSpPr>
        <p:spPr>
          <a:xfrm>
            <a:off x="416689" y="2265005"/>
            <a:ext cx="5329688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defTabSz="914192">
              <a:buFont typeface="Arial" panose="020B0604020202020204" pitchFamily="34" charset="0"/>
              <a:buChar char="•"/>
              <a:defRPr/>
            </a:pPr>
            <a:r>
              <a:rPr lang="en-US" sz="2000" dirty="0">
                <a:solidFill>
                  <a:srgbClr val="4C4C5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Backup</a:t>
            </a:r>
          </a:p>
          <a:p>
            <a:pPr marL="285750" indent="-285750" defTabSz="914192">
              <a:buFont typeface="Arial" panose="020B0604020202020204" pitchFamily="34" charset="0"/>
              <a:buChar char="•"/>
              <a:defRPr/>
            </a:pPr>
            <a:r>
              <a:rPr lang="en-US" sz="2000" dirty="0">
                <a:solidFill>
                  <a:srgbClr val="4C4C5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Monitoring</a:t>
            </a:r>
          </a:p>
          <a:p>
            <a:pPr marL="285750" indent="-285750" defTabSz="914192">
              <a:buFont typeface="Arial" panose="020B0604020202020204" pitchFamily="34" charset="0"/>
              <a:buChar char="•"/>
              <a:defRPr/>
            </a:pPr>
            <a:r>
              <a:rPr lang="en-US" sz="2000" dirty="0">
                <a:solidFill>
                  <a:srgbClr val="4C4C5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Disaster Recovery</a:t>
            </a:r>
          </a:p>
          <a:p>
            <a:pPr marL="285750" indent="-285750" defTabSz="914192">
              <a:buFont typeface="Arial" panose="020B0604020202020204" pitchFamily="34" charset="0"/>
              <a:buChar char="•"/>
              <a:defRPr/>
            </a:pPr>
            <a:r>
              <a:rPr lang="en-US" sz="2000" dirty="0">
                <a:solidFill>
                  <a:srgbClr val="4C4C5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Roles and Responsibilities</a:t>
            </a:r>
          </a:p>
          <a:p>
            <a:pPr marL="285750" indent="-285750" defTabSz="914192">
              <a:buFont typeface="Arial" panose="020B0604020202020204" pitchFamily="34" charset="0"/>
              <a:buChar char="•"/>
              <a:defRPr/>
            </a:pPr>
            <a:r>
              <a:rPr lang="en-US" sz="2000" dirty="0">
                <a:solidFill>
                  <a:srgbClr val="4C4C5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Procedures</a:t>
            </a:r>
          </a:p>
          <a:p>
            <a:pPr marL="285750" indent="-285750" defTabSz="914192">
              <a:buFont typeface="Arial" panose="020B0604020202020204" pitchFamily="34" charset="0"/>
              <a:buChar char="•"/>
              <a:defRPr/>
            </a:pPr>
            <a:r>
              <a:rPr lang="en-US" sz="2000" dirty="0">
                <a:solidFill>
                  <a:srgbClr val="4C4C5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ost Management</a:t>
            </a:r>
          </a:p>
        </p:txBody>
      </p:sp>
      <p:sp>
        <p:nvSpPr>
          <p:cNvPr id="28" name="Title 1">
            <a:extLst>
              <a:ext uri="{FF2B5EF4-FFF2-40B4-BE49-F238E27FC236}">
                <a16:creationId xmlns:a16="http://schemas.microsoft.com/office/drawing/2014/main" id="{BECD9960-6DF9-4966-B2D6-F0D932774082}"/>
              </a:ext>
            </a:extLst>
          </p:cNvPr>
          <p:cNvSpPr txBox="1">
            <a:spLocks/>
          </p:cNvSpPr>
          <p:nvPr/>
        </p:nvSpPr>
        <p:spPr>
          <a:xfrm>
            <a:off x="486232" y="5795732"/>
            <a:ext cx="11373365" cy="553841"/>
          </a:xfrm>
          <a:prstGeom prst="rect">
            <a:avLst/>
          </a:prstGeom>
        </p:spPr>
        <p:txBody>
          <a:bodyPr vert="horz" wrap="square" lIns="0" tIns="89630" rIns="143407" bIns="89630" rtlCol="0" anchor="t">
            <a:noAutofit/>
          </a:bodyPr>
          <a:lstStyle>
            <a:lvl1pPr algn="l" defTabSz="93256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800" b="0" kern="1200" cap="none" spc="-50" baseline="0" dirty="0" smtClean="0">
                <a:ln w="3175">
                  <a:noFill/>
                </a:ln>
                <a:solidFill>
                  <a:srgbClr val="000000"/>
                </a:soli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defTabSz="932384"/>
            <a:endParaRPr lang="en-US" sz="2745" dirty="0">
              <a:latin typeface="Segoe UI Semibold (Headings)"/>
              <a:cs typeface="Segoe UI Semibold" panose="020B0702040204020203" pitchFamily="34" charset="0"/>
            </a:endParaRP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D90A74E4-D033-244F-8BBF-AB016E603C6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5995" y="881209"/>
            <a:ext cx="11653518" cy="482763"/>
          </a:xfrm>
        </p:spPr>
        <p:txBody>
          <a:bodyPr/>
          <a:lstStyle/>
          <a:p>
            <a:r>
              <a:rPr lang="en-US" dirty="0"/>
              <a:t>What does the future look like?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A78D8B18-2C28-6B43-B3A0-D2E53B6355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5995" y="433143"/>
            <a:ext cx="11303917" cy="813704"/>
          </a:xfrm>
        </p:spPr>
        <p:txBody>
          <a:bodyPr/>
          <a:lstStyle/>
          <a:p>
            <a:r>
              <a:rPr lang="en-US" dirty="0"/>
              <a:t>Operations Management</a:t>
            </a:r>
          </a:p>
        </p:txBody>
      </p:sp>
      <p:sp>
        <p:nvSpPr>
          <p:cNvPr id="3" name="bk object 17">
            <a:extLst>
              <a:ext uri="{FF2B5EF4-FFF2-40B4-BE49-F238E27FC236}">
                <a16:creationId xmlns:a16="http://schemas.microsoft.com/office/drawing/2014/main" id="{407B5CDC-D413-4E99-A645-F0412DF2C438}"/>
              </a:ext>
            </a:extLst>
          </p:cNvPr>
          <p:cNvSpPr/>
          <p:nvPr/>
        </p:nvSpPr>
        <p:spPr>
          <a:xfrm>
            <a:off x="0" y="6497955"/>
            <a:ext cx="12192000" cy="360045"/>
          </a:xfrm>
          <a:custGeom>
            <a:avLst/>
            <a:gdLst/>
            <a:ahLst/>
            <a:cxnLst/>
            <a:rect l="l" t="t" r="r" b="b"/>
            <a:pathLst>
              <a:path w="12434570" h="360045">
                <a:moveTo>
                  <a:pt x="0" y="359994"/>
                </a:moveTo>
                <a:lnTo>
                  <a:pt x="12434404" y="359994"/>
                </a:lnTo>
                <a:lnTo>
                  <a:pt x="12434404" y="0"/>
                </a:lnTo>
                <a:lnTo>
                  <a:pt x="0" y="0"/>
                </a:lnTo>
                <a:lnTo>
                  <a:pt x="0" y="359994"/>
                </a:lnTo>
                <a:close/>
              </a:path>
            </a:pathLst>
          </a:custGeom>
          <a:solidFill>
            <a:srgbClr val="007FBA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5CE847B4-938E-47E7-9154-2FC09972926D}"/>
              </a:ext>
            </a:extLst>
          </p:cNvPr>
          <p:cNvSpPr txBox="1"/>
          <p:nvPr/>
        </p:nvSpPr>
        <p:spPr>
          <a:xfrm>
            <a:off x="7278010" y="6591175"/>
            <a:ext cx="425867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100" b="0" i="0" kern="0" spc="-20" baseline="0" dirty="0">
                <a:solidFill>
                  <a:schemeClr val="bg1"/>
                </a:solidFill>
                <a:latin typeface="Segoe UI Semibold" charset="0"/>
              </a:rPr>
              <a:t>Microsoft Azure    </a:t>
            </a:r>
            <a:r>
              <a:rPr lang="en-US" sz="1100" b="0" i="0" kern="0" spc="-20" baseline="0" dirty="0">
                <a:solidFill>
                  <a:schemeClr val="bg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|  @</a:t>
            </a:r>
            <a:r>
              <a:rPr lang="en-US" sz="1100" b="0" i="0" kern="0" spc="-20" baseline="0" dirty="0" err="1">
                <a:solidFill>
                  <a:schemeClr val="bg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Techielass</a:t>
            </a:r>
            <a:endParaRPr lang="en-US" sz="1100" b="0" i="0" kern="0" spc="-20" baseline="0" dirty="0">
              <a:solidFill>
                <a:schemeClr val="bg1"/>
              </a:solidFill>
              <a:latin typeface="Segoe UI Semilight" panose="020B0402040204020203" pitchFamily="34" charset="0"/>
              <a:ea typeface="Segoe UI Semilight" charset="0"/>
              <a:cs typeface="Segoe UI Semilight" panose="020B0402040204020203" pitchFamily="34" charset="0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DF97D934-C634-4A60-847E-8B9444AFB787}"/>
              </a:ext>
            </a:extLst>
          </p:cNvPr>
          <p:cNvSpPr txBox="1"/>
          <p:nvPr/>
        </p:nvSpPr>
        <p:spPr>
          <a:xfrm>
            <a:off x="0" y="5279302"/>
            <a:ext cx="12192000" cy="683264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en-GB" sz="2800" dirty="0">
                <a:solidFill>
                  <a:srgbClr val="0078D4"/>
                </a:solidFill>
              </a:rPr>
              <a:t>https://aka.ms/azurelive/manage</a:t>
            </a:r>
          </a:p>
        </p:txBody>
      </p:sp>
      <p:pic>
        <p:nvPicPr>
          <p:cNvPr id="2" name="Graphic 1" descr="Clipboard Partially Checked">
            <a:extLst>
              <a:ext uri="{FF2B5EF4-FFF2-40B4-BE49-F238E27FC236}">
                <a16:creationId xmlns:a16="http://schemas.microsoft.com/office/drawing/2014/main" id="{80072B61-4486-4663-B811-DC57C0243E3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47432" y="107497"/>
            <a:ext cx="1044568" cy="1044568"/>
          </a:xfrm>
          <a:prstGeom prst="rect">
            <a:avLst/>
          </a:prstGeom>
        </p:spPr>
      </p:pic>
      <p:pic>
        <p:nvPicPr>
          <p:cNvPr id="8" name="Graphic 7" descr="Board Of Directors outline">
            <a:extLst>
              <a:ext uri="{FF2B5EF4-FFF2-40B4-BE49-F238E27FC236}">
                <a16:creationId xmlns:a16="http://schemas.microsoft.com/office/drawing/2014/main" id="{3D1C588A-3D59-4E32-BBEA-CEB4193BE136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6642847" y="1512354"/>
            <a:ext cx="3517092" cy="35170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1337797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Title 1">
            <a:extLst>
              <a:ext uri="{FF2B5EF4-FFF2-40B4-BE49-F238E27FC236}">
                <a16:creationId xmlns:a16="http://schemas.microsoft.com/office/drawing/2014/main" id="{BECD9960-6DF9-4966-B2D6-F0D932774082}"/>
              </a:ext>
            </a:extLst>
          </p:cNvPr>
          <p:cNvSpPr txBox="1">
            <a:spLocks/>
          </p:cNvSpPr>
          <p:nvPr/>
        </p:nvSpPr>
        <p:spPr>
          <a:xfrm>
            <a:off x="486232" y="5795732"/>
            <a:ext cx="11373365" cy="553841"/>
          </a:xfrm>
          <a:prstGeom prst="rect">
            <a:avLst/>
          </a:prstGeom>
        </p:spPr>
        <p:txBody>
          <a:bodyPr vert="horz" wrap="square" lIns="0" tIns="89630" rIns="143407" bIns="89630" rtlCol="0" anchor="t">
            <a:noAutofit/>
          </a:bodyPr>
          <a:lstStyle>
            <a:lvl1pPr algn="l" defTabSz="93256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800" b="0" kern="1200" cap="none" spc="-50" baseline="0" dirty="0" smtClean="0">
                <a:ln w="3175">
                  <a:noFill/>
                </a:ln>
                <a:solidFill>
                  <a:srgbClr val="000000"/>
                </a:soli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defTabSz="932384"/>
            <a:endParaRPr lang="en-US" sz="2745" dirty="0">
              <a:latin typeface="Segoe UI Semibold (Headings)"/>
              <a:cs typeface="Segoe UI Semibold" panose="020B0702040204020203" pitchFamily="34" charset="0"/>
            </a:endParaRP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D90A74E4-D033-244F-8BBF-AB016E603C6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5995" y="881209"/>
            <a:ext cx="11653518" cy="482763"/>
          </a:xfrm>
        </p:spPr>
        <p:txBody>
          <a:bodyPr/>
          <a:lstStyle/>
          <a:p>
            <a:r>
              <a:rPr lang="en-US" dirty="0"/>
              <a:t>What do you need to run you resources?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A78D8B18-2C28-6B43-B3A0-D2E53B6355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5995" y="433143"/>
            <a:ext cx="11303917" cy="813704"/>
          </a:xfrm>
        </p:spPr>
        <p:txBody>
          <a:bodyPr/>
          <a:lstStyle/>
          <a:p>
            <a:r>
              <a:rPr lang="en-US" dirty="0"/>
              <a:t>Landing Zone</a:t>
            </a:r>
          </a:p>
        </p:txBody>
      </p:sp>
      <p:sp>
        <p:nvSpPr>
          <p:cNvPr id="3" name="bk object 17">
            <a:extLst>
              <a:ext uri="{FF2B5EF4-FFF2-40B4-BE49-F238E27FC236}">
                <a16:creationId xmlns:a16="http://schemas.microsoft.com/office/drawing/2014/main" id="{407B5CDC-D413-4E99-A645-F0412DF2C438}"/>
              </a:ext>
            </a:extLst>
          </p:cNvPr>
          <p:cNvSpPr/>
          <p:nvPr/>
        </p:nvSpPr>
        <p:spPr>
          <a:xfrm>
            <a:off x="0" y="6497955"/>
            <a:ext cx="12192000" cy="360045"/>
          </a:xfrm>
          <a:custGeom>
            <a:avLst/>
            <a:gdLst/>
            <a:ahLst/>
            <a:cxnLst/>
            <a:rect l="l" t="t" r="r" b="b"/>
            <a:pathLst>
              <a:path w="12434570" h="360045">
                <a:moveTo>
                  <a:pt x="0" y="359994"/>
                </a:moveTo>
                <a:lnTo>
                  <a:pt x="12434404" y="359994"/>
                </a:lnTo>
                <a:lnTo>
                  <a:pt x="12434404" y="0"/>
                </a:lnTo>
                <a:lnTo>
                  <a:pt x="0" y="0"/>
                </a:lnTo>
                <a:lnTo>
                  <a:pt x="0" y="359994"/>
                </a:lnTo>
                <a:close/>
              </a:path>
            </a:pathLst>
          </a:custGeom>
          <a:solidFill>
            <a:srgbClr val="007FBA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5CE847B4-938E-47E7-9154-2FC09972926D}"/>
              </a:ext>
            </a:extLst>
          </p:cNvPr>
          <p:cNvSpPr txBox="1"/>
          <p:nvPr/>
        </p:nvSpPr>
        <p:spPr>
          <a:xfrm>
            <a:off x="7278010" y="6591175"/>
            <a:ext cx="425867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100" b="0" i="0" kern="0" spc="-20" baseline="0" dirty="0">
                <a:solidFill>
                  <a:schemeClr val="bg1"/>
                </a:solidFill>
                <a:latin typeface="Segoe UI Semibold" charset="0"/>
              </a:rPr>
              <a:t>Microsoft Azure    </a:t>
            </a:r>
            <a:r>
              <a:rPr lang="en-US" sz="1100" b="0" i="0" kern="0" spc="-20" baseline="0" dirty="0">
                <a:solidFill>
                  <a:schemeClr val="bg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|  @</a:t>
            </a:r>
            <a:r>
              <a:rPr lang="en-US" sz="1100" b="0" i="0" kern="0" spc="-20" baseline="0" dirty="0" err="1">
                <a:solidFill>
                  <a:schemeClr val="bg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Techielass</a:t>
            </a:r>
            <a:endParaRPr lang="en-US" sz="1100" b="0" i="0" kern="0" spc="-20" baseline="0" dirty="0">
              <a:solidFill>
                <a:schemeClr val="bg1"/>
              </a:solidFill>
              <a:latin typeface="Segoe UI Semilight" panose="020B0402040204020203" pitchFamily="34" charset="0"/>
              <a:ea typeface="Segoe UI Semilight" charset="0"/>
              <a:cs typeface="Segoe UI Semilight" panose="020B0402040204020203" pitchFamily="34" charset="0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DF97D934-C634-4A60-847E-8B9444AFB787}"/>
              </a:ext>
            </a:extLst>
          </p:cNvPr>
          <p:cNvSpPr txBox="1"/>
          <p:nvPr/>
        </p:nvSpPr>
        <p:spPr>
          <a:xfrm>
            <a:off x="0" y="5279302"/>
            <a:ext cx="12192000" cy="683264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en-GB" sz="2800" dirty="0">
                <a:solidFill>
                  <a:srgbClr val="0078D4"/>
                </a:solidFill>
              </a:rPr>
              <a:t>https://aka.ms/azurelive/landingzone</a:t>
            </a:r>
          </a:p>
        </p:txBody>
      </p:sp>
      <p:pic>
        <p:nvPicPr>
          <p:cNvPr id="2" name="Graphic 1" descr="Clipboard Partially Checked">
            <a:extLst>
              <a:ext uri="{FF2B5EF4-FFF2-40B4-BE49-F238E27FC236}">
                <a16:creationId xmlns:a16="http://schemas.microsoft.com/office/drawing/2014/main" id="{80072B61-4486-4663-B811-DC57C0243E3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47432" y="107497"/>
            <a:ext cx="1044568" cy="1044568"/>
          </a:xfrm>
          <a:prstGeom prst="rect">
            <a:avLst/>
          </a:prstGeom>
        </p:spPr>
      </p:pic>
      <p:pic>
        <p:nvPicPr>
          <p:cNvPr id="2050" name="Picture 2" descr="Enterprise-Scale with connectivity">
            <a:extLst>
              <a:ext uri="{FF2B5EF4-FFF2-40B4-BE49-F238E27FC236}">
                <a16:creationId xmlns:a16="http://schemas.microsoft.com/office/drawing/2014/main" id="{C27364E1-0277-4D87-B6A3-2C8F95B4DA3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56516" y="1457192"/>
            <a:ext cx="7578835" cy="37245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59642061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" name="TextBox 48">
            <a:extLst>
              <a:ext uri="{FF2B5EF4-FFF2-40B4-BE49-F238E27FC236}">
                <a16:creationId xmlns:a16="http://schemas.microsoft.com/office/drawing/2014/main" id="{15A9FCE9-BC28-4698-8E8B-2FB3E9765637}"/>
              </a:ext>
            </a:extLst>
          </p:cNvPr>
          <p:cNvSpPr txBox="1"/>
          <p:nvPr/>
        </p:nvSpPr>
        <p:spPr>
          <a:xfrm>
            <a:off x="376348" y="1395973"/>
            <a:ext cx="11160332" cy="10002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/>
            </a:pPr>
            <a:r>
              <a:rPr lang="en-US" sz="1800" dirty="0">
                <a:solidFill>
                  <a:srgbClr val="0078D4"/>
                </a:solidFill>
                <a:latin typeface="Segoe UI Semibold"/>
              </a:rPr>
              <a:t>Azure Reservations are a 1 or 3-year commitment to specific Azure services.</a:t>
            </a:r>
          </a:p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Segoe UI (Body)"/>
              </a:rPr>
              <a:t>In exchange for committing to use the service in a predesignated way, Microsoft provides significant cost savings to the customer. 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A78D8B18-2C28-6B43-B3A0-D2E53B6355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5995" y="433143"/>
            <a:ext cx="11303917" cy="813704"/>
          </a:xfrm>
        </p:spPr>
        <p:txBody>
          <a:bodyPr/>
          <a:lstStyle/>
          <a:p>
            <a:r>
              <a:rPr lang="en-US" dirty="0"/>
              <a:t>What are Azure Reservations?</a:t>
            </a:r>
          </a:p>
        </p:txBody>
      </p:sp>
      <p:sp>
        <p:nvSpPr>
          <p:cNvPr id="21" name="bk object 17">
            <a:extLst>
              <a:ext uri="{FF2B5EF4-FFF2-40B4-BE49-F238E27FC236}">
                <a16:creationId xmlns:a16="http://schemas.microsoft.com/office/drawing/2014/main" id="{13B2B0A2-4CA9-469A-AA4C-9EB63873DC76}"/>
              </a:ext>
            </a:extLst>
          </p:cNvPr>
          <p:cNvSpPr/>
          <p:nvPr/>
        </p:nvSpPr>
        <p:spPr>
          <a:xfrm>
            <a:off x="0" y="6497955"/>
            <a:ext cx="12192000" cy="360045"/>
          </a:xfrm>
          <a:custGeom>
            <a:avLst/>
            <a:gdLst/>
            <a:ahLst/>
            <a:cxnLst/>
            <a:rect l="l" t="t" r="r" b="b"/>
            <a:pathLst>
              <a:path w="12434570" h="360045">
                <a:moveTo>
                  <a:pt x="0" y="359994"/>
                </a:moveTo>
                <a:lnTo>
                  <a:pt x="12434404" y="359994"/>
                </a:lnTo>
                <a:lnTo>
                  <a:pt x="12434404" y="0"/>
                </a:lnTo>
                <a:lnTo>
                  <a:pt x="0" y="0"/>
                </a:lnTo>
                <a:lnTo>
                  <a:pt x="0" y="359994"/>
                </a:lnTo>
                <a:close/>
              </a:path>
            </a:pathLst>
          </a:custGeom>
          <a:solidFill>
            <a:srgbClr val="007FBA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FC0529C4-2B7D-4B56-A8E3-775F6CECAE2B}"/>
              </a:ext>
            </a:extLst>
          </p:cNvPr>
          <p:cNvSpPr txBox="1"/>
          <p:nvPr/>
        </p:nvSpPr>
        <p:spPr>
          <a:xfrm>
            <a:off x="7278010" y="6591175"/>
            <a:ext cx="425867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100" b="0" i="0" kern="0" spc="-20" baseline="0" dirty="0">
                <a:solidFill>
                  <a:schemeClr val="bg1"/>
                </a:solidFill>
                <a:latin typeface="Segoe UI Semibold" charset="0"/>
              </a:rPr>
              <a:t>Microsoft Azure    </a:t>
            </a:r>
            <a:r>
              <a:rPr lang="en-US" sz="1100" b="0" i="0" kern="0" spc="-20" baseline="0" dirty="0">
                <a:solidFill>
                  <a:schemeClr val="bg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|  @</a:t>
            </a:r>
            <a:r>
              <a:rPr lang="en-US" sz="1100" b="0" i="0" kern="0" spc="-20" baseline="0" dirty="0" err="1">
                <a:solidFill>
                  <a:schemeClr val="bg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Techielass</a:t>
            </a:r>
            <a:endParaRPr lang="en-US" sz="1100" b="0" i="0" kern="0" spc="-20" baseline="0" dirty="0">
              <a:solidFill>
                <a:schemeClr val="bg1"/>
              </a:solidFill>
              <a:latin typeface="Segoe UI Semilight" panose="020B0402040204020203" pitchFamily="34" charset="0"/>
              <a:ea typeface="Segoe UI Semilight" charset="0"/>
              <a:cs typeface="Segoe UI Semilight" panose="020B0402040204020203" pitchFamily="34" charset="0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71FD1313-EB6B-4F75-9F6E-A1CC7FCB4ACC}"/>
              </a:ext>
            </a:extLst>
          </p:cNvPr>
          <p:cNvSpPr txBox="1"/>
          <p:nvPr/>
        </p:nvSpPr>
        <p:spPr>
          <a:xfrm>
            <a:off x="6314278" y="3437091"/>
            <a:ext cx="3601044" cy="400110"/>
          </a:xfrm>
          <a:prstGeom prst="rect">
            <a:avLst/>
          </a:prstGeom>
          <a:noFill/>
        </p:spPr>
        <p:txBody>
          <a:bodyPr wrap="square" lIns="91440" tIns="45720" rIns="91440" bIns="45720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Segoe UI (Body)"/>
              </a:rPr>
              <a:t>Azure Databrick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194ED85A-38FE-419E-80D8-1BFA46C08BF3}"/>
              </a:ext>
            </a:extLst>
          </p:cNvPr>
          <p:cNvSpPr txBox="1"/>
          <p:nvPr/>
        </p:nvSpPr>
        <p:spPr>
          <a:xfrm>
            <a:off x="6314278" y="4253995"/>
            <a:ext cx="3601044" cy="287352"/>
          </a:xfrm>
          <a:prstGeom prst="rect">
            <a:avLst/>
          </a:prstGeom>
          <a:noFill/>
        </p:spPr>
        <p:txBody>
          <a:bodyPr wrap="square" lIns="91440" tIns="45720" rIns="91440" bIns="45720" rtlCol="0" anchor="ctr">
            <a:noAutofit/>
          </a:bodyPr>
          <a:lstStyle>
            <a:defPPr>
              <a:defRPr lang="en-US"/>
            </a:defPPr>
            <a:lvl1pPr>
              <a:spcAft>
                <a:spcPts val="600"/>
              </a:spcAft>
              <a:defRPr sz="16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Segoe UI (Body)"/>
              </a:rPr>
              <a:t>App Services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41507267-5767-478C-9D59-CFA7B8694C9D}"/>
              </a:ext>
            </a:extLst>
          </p:cNvPr>
          <p:cNvSpPr txBox="1"/>
          <p:nvPr/>
        </p:nvSpPr>
        <p:spPr>
          <a:xfrm>
            <a:off x="2712108" y="2732945"/>
            <a:ext cx="3144944" cy="287352"/>
          </a:xfrm>
          <a:prstGeom prst="rect">
            <a:avLst/>
          </a:prstGeom>
          <a:noFill/>
        </p:spPr>
        <p:txBody>
          <a:bodyPr wrap="square" lIns="91440" tIns="45720" rIns="91440" bIns="4572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Segoe UI (Body)"/>
              </a:rPr>
              <a:t>Virtual Machines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EECF7FF8-03FD-43B4-8C57-1BB5834A939F}"/>
              </a:ext>
            </a:extLst>
          </p:cNvPr>
          <p:cNvSpPr txBox="1"/>
          <p:nvPr/>
        </p:nvSpPr>
        <p:spPr>
          <a:xfrm>
            <a:off x="2712108" y="5775045"/>
            <a:ext cx="3144944" cy="287352"/>
          </a:xfrm>
          <a:prstGeom prst="rect">
            <a:avLst/>
          </a:prstGeom>
          <a:noFill/>
        </p:spPr>
        <p:txBody>
          <a:bodyPr wrap="square" lIns="91440" tIns="45720" rIns="91440" bIns="4572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Segoe UI (Body)"/>
              </a:rPr>
              <a:t>Cosmos DB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93BE9310-8599-4B8E-9741-257BF87EF235}"/>
              </a:ext>
            </a:extLst>
          </p:cNvPr>
          <p:cNvSpPr txBox="1"/>
          <p:nvPr/>
        </p:nvSpPr>
        <p:spPr>
          <a:xfrm>
            <a:off x="2712108" y="3493470"/>
            <a:ext cx="3144944" cy="287352"/>
          </a:xfrm>
          <a:prstGeom prst="rect">
            <a:avLst/>
          </a:prstGeom>
          <a:noFill/>
        </p:spPr>
        <p:txBody>
          <a:bodyPr wrap="square" lIns="91440" tIns="45720" rIns="91440" bIns="4572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Segoe UI (Body)"/>
              </a:rPr>
              <a:t>SQL Database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6473BFC2-50E7-4F5E-AA4A-A27A72388E83}"/>
              </a:ext>
            </a:extLst>
          </p:cNvPr>
          <p:cNvSpPr txBox="1"/>
          <p:nvPr/>
        </p:nvSpPr>
        <p:spPr>
          <a:xfrm>
            <a:off x="2712108" y="4253995"/>
            <a:ext cx="3144944" cy="287352"/>
          </a:xfrm>
          <a:prstGeom prst="rect">
            <a:avLst/>
          </a:prstGeom>
          <a:noFill/>
        </p:spPr>
        <p:txBody>
          <a:bodyPr wrap="square" lIns="91440" tIns="45720" rIns="91440" bIns="4572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Segoe UI (Body)"/>
              </a:rPr>
              <a:t>SQL Data Warehouse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75871F99-F871-4801-A183-CC2281BA3272}"/>
              </a:ext>
            </a:extLst>
          </p:cNvPr>
          <p:cNvSpPr txBox="1"/>
          <p:nvPr/>
        </p:nvSpPr>
        <p:spPr>
          <a:xfrm>
            <a:off x="2712108" y="5014520"/>
            <a:ext cx="3144944" cy="287352"/>
          </a:xfrm>
          <a:prstGeom prst="rect">
            <a:avLst/>
          </a:prstGeom>
          <a:noFill/>
        </p:spPr>
        <p:txBody>
          <a:bodyPr wrap="square" lIns="91440" tIns="45720" rIns="91440" bIns="4572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Segoe UI (Body)"/>
              </a:rPr>
              <a:t>Azure Storage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575118D4-DF76-4427-B05C-CA62A3C20DF5}"/>
              </a:ext>
            </a:extLst>
          </p:cNvPr>
          <p:cNvSpPr txBox="1"/>
          <p:nvPr/>
        </p:nvSpPr>
        <p:spPr>
          <a:xfrm>
            <a:off x="6314278" y="2732945"/>
            <a:ext cx="3601044" cy="287352"/>
          </a:xfrm>
          <a:prstGeom prst="rect">
            <a:avLst/>
          </a:prstGeom>
          <a:noFill/>
        </p:spPr>
        <p:txBody>
          <a:bodyPr wrap="square" lIns="91440" tIns="45720" rIns="91440" bIns="4572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Segoe UI (Body)"/>
              </a:rPr>
              <a:t>Azure Data Explorer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960C3554-B148-4BDF-AA7C-00487AE98D58}"/>
              </a:ext>
            </a:extLst>
          </p:cNvPr>
          <p:cNvSpPr txBox="1"/>
          <p:nvPr/>
        </p:nvSpPr>
        <p:spPr>
          <a:xfrm>
            <a:off x="6314278" y="4777932"/>
            <a:ext cx="3601044" cy="728996"/>
          </a:xfrm>
          <a:prstGeom prst="rect">
            <a:avLst/>
          </a:prstGeom>
          <a:noFill/>
        </p:spPr>
        <p:txBody>
          <a:bodyPr wrap="square" lIns="91440" tIns="45720" rIns="91440" bIns="4572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Segoe UI (Body)"/>
              </a:rPr>
              <a:t>Red Hat, SUSE &amp; VMware by </a:t>
            </a:r>
            <a:r>
              <a:rPr kumimoji="0" lang="en-US" sz="2000" b="0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Segoe UI (Body)"/>
              </a:rPr>
              <a:t>CloudSimple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Segoe UI (Body)"/>
              </a:rPr>
              <a:t> software plans</a:t>
            </a:r>
          </a:p>
        </p:txBody>
      </p: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3A50C142-9A6D-4D97-A55D-DF2BBCCDFC2D}"/>
              </a:ext>
            </a:extLst>
          </p:cNvPr>
          <p:cNvCxnSpPr>
            <a:cxnSpLocks/>
          </p:cNvCxnSpPr>
          <p:nvPr/>
        </p:nvCxnSpPr>
        <p:spPr>
          <a:xfrm>
            <a:off x="2804157" y="3256884"/>
            <a:ext cx="2794435" cy="0"/>
          </a:xfrm>
          <a:prstGeom prst="line">
            <a:avLst/>
          </a:prstGeom>
          <a:ln w="3175">
            <a:solidFill>
              <a:schemeClr val="bg1">
                <a:lumMod val="75000"/>
              </a:schemeClr>
            </a:solidFill>
            <a:prstDash val="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B96483C8-3EAD-4E5B-93EB-6AB50EE25314}"/>
              </a:ext>
            </a:extLst>
          </p:cNvPr>
          <p:cNvCxnSpPr>
            <a:cxnSpLocks/>
          </p:cNvCxnSpPr>
          <p:nvPr/>
        </p:nvCxnSpPr>
        <p:spPr>
          <a:xfrm>
            <a:off x="2804157" y="4017409"/>
            <a:ext cx="2794435" cy="0"/>
          </a:xfrm>
          <a:prstGeom prst="line">
            <a:avLst/>
          </a:prstGeom>
          <a:ln w="3175">
            <a:solidFill>
              <a:schemeClr val="bg1">
                <a:lumMod val="75000"/>
              </a:schemeClr>
            </a:solidFill>
            <a:prstDash val="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id="{3D89614D-7AA2-407C-9EA8-7F4C424870E2}"/>
              </a:ext>
            </a:extLst>
          </p:cNvPr>
          <p:cNvCxnSpPr>
            <a:cxnSpLocks/>
          </p:cNvCxnSpPr>
          <p:nvPr/>
        </p:nvCxnSpPr>
        <p:spPr>
          <a:xfrm>
            <a:off x="2804157" y="4777934"/>
            <a:ext cx="2794435" cy="0"/>
          </a:xfrm>
          <a:prstGeom prst="line">
            <a:avLst/>
          </a:prstGeom>
          <a:ln w="3175">
            <a:solidFill>
              <a:schemeClr val="bg1">
                <a:lumMod val="75000"/>
              </a:schemeClr>
            </a:solidFill>
            <a:prstDash val="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EACC5044-5339-43E4-9B0B-867E0070F325}"/>
              </a:ext>
            </a:extLst>
          </p:cNvPr>
          <p:cNvCxnSpPr>
            <a:cxnSpLocks/>
          </p:cNvCxnSpPr>
          <p:nvPr/>
        </p:nvCxnSpPr>
        <p:spPr>
          <a:xfrm>
            <a:off x="2804157" y="5538459"/>
            <a:ext cx="2794435" cy="0"/>
          </a:xfrm>
          <a:prstGeom prst="line">
            <a:avLst/>
          </a:prstGeom>
          <a:ln w="3175">
            <a:solidFill>
              <a:schemeClr val="bg1">
                <a:lumMod val="75000"/>
              </a:schemeClr>
            </a:solidFill>
            <a:prstDash val="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traight Connector 40">
            <a:extLst>
              <a:ext uri="{FF2B5EF4-FFF2-40B4-BE49-F238E27FC236}">
                <a16:creationId xmlns:a16="http://schemas.microsoft.com/office/drawing/2014/main" id="{BB18D044-A298-4B07-81B4-80DE6D0B3177}"/>
              </a:ext>
            </a:extLst>
          </p:cNvPr>
          <p:cNvCxnSpPr>
            <a:cxnSpLocks/>
          </p:cNvCxnSpPr>
          <p:nvPr/>
        </p:nvCxnSpPr>
        <p:spPr>
          <a:xfrm>
            <a:off x="6420036" y="3256884"/>
            <a:ext cx="3000322" cy="0"/>
          </a:xfrm>
          <a:prstGeom prst="line">
            <a:avLst/>
          </a:prstGeom>
          <a:ln w="3175">
            <a:solidFill>
              <a:schemeClr val="bg1">
                <a:lumMod val="75000"/>
              </a:schemeClr>
            </a:solidFill>
            <a:prstDash val="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id="{99212262-DCD3-4714-B682-8E7946AF8781}"/>
              </a:ext>
            </a:extLst>
          </p:cNvPr>
          <p:cNvCxnSpPr>
            <a:cxnSpLocks/>
          </p:cNvCxnSpPr>
          <p:nvPr/>
        </p:nvCxnSpPr>
        <p:spPr>
          <a:xfrm>
            <a:off x="6420036" y="4017409"/>
            <a:ext cx="3000322" cy="0"/>
          </a:xfrm>
          <a:prstGeom prst="line">
            <a:avLst/>
          </a:prstGeom>
          <a:ln w="3175">
            <a:solidFill>
              <a:schemeClr val="bg1">
                <a:lumMod val="75000"/>
              </a:schemeClr>
            </a:solidFill>
            <a:prstDash val="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Connector 44">
            <a:extLst>
              <a:ext uri="{FF2B5EF4-FFF2-40B4-BE49-F238E27FC236}">
                <a16:creationId xmlns:a16="http://schemas.microsoft.com/office/drawing/2014/main" id="{861A462D-01BC-4411-869D-1EC4D2114032}"/>
              </a:ext>
            </a:extLst>
          </p:cNvPr>
          <p:cNvCxnSpPr>
            <a:cxnSpLocks/>
          </p:cNvCxnSpPr>
          <p:nvPr/>
        </p:nvCxnSpPr>
        <p:spPr>
          <a:xfrm>
            <a:off x="6420036" y="4777934"/>
            <a:ext cx="3000322" cy="0"/>
          </a:xfrm>
          <a:prstGeom prst="line">
            <a:avLst/>
          </a:prstGeom>
          <a:ln w="3175">
            <a:solidFill>
              <a:schemeClr val="bg1">
                <a:lumMod val="75000"/>
              </a:schemeClr>
            </a:solidFill>
            <a:prstDash val="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7" name="Picture 46" descr="Icon&#10;&#10;Description automatically generated">
            <a:extLst>
              <a:ext uri="{FF2B5EF4-FFF2-40B4-BE49-F238E27FC236}">
                <a16:creationId xmlns:a16="http://schemas.microsoft.com/office/drawing/2014/main" id="{44AB7F92-A230-4792-972C-695945637A5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26752" y="4157013"/>
            <a:ext cx="558001" cy="569680"/>
          </a:xfrm>
          <a:prstGeom prst="rect">
            <a:avLst/>
          </a:prstGeom>
        </p:spPr>
      </p:pic>
      <p:pic>
        <p:nvPicPr>
          <p:cNvPr id="51" name="Picture 50" descr="Icon&#10;&#10;Description automatically generated">
            <a:extLst>
              <a:ext uri="{FF2B5EF4-FFF2-40B4-BE49-F238E27FC236}">
                <a16:creationId xmlns:a16="http://schemas.microsoft.com/office/drawing/2014/main" id="{7F21F7CC-997D-4381-992B-889E0A82712B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28555" y="2619759"/>
            <a:ext cx="656714" cy="548316"/>
          </a:xfrm>
          <a:prstGeom prst="rect">
            <a:avLst/>
          </a:prstGeom>
        </p:spPr>
      </p:pic>
      <p:pic>
        <p:nvPicPr>
          <p:cNvPr id="53" name="Picture 52" descr="Icon&#10;&#10;Description automatically generated">
            <a:extLst>
              <a:ext uri="{FF2B5EF4-FFF2-40B4-BE49-F238E27FC236}">
                <a16:creationId xmlns:a16="http://schemas.microsoft.com/office/drawing/2014/main" id="{54E4C3BB-CAA8-4087-8214-0E997AC9E4E8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26752" y="2662189"/>
            <a:ext cx="613980" cy="569680"/>
          </a:xfrm>
          <a:prstGeom prst="rect">
            <a:avLst/>
          </a:prstGeom>
        </p:spPr>
      </p:pic>
      <p:pic>
        <p:nvPicPr>
          <p:cNvPr id="55" name="Picture 54" descr="Icon&#10;&#10;Description automatically generated">
            <a:extLst>
              <a:ext uri="{FF2B5EF4-FFF2-40B4-BE49-F238E27FC236}">
                <a16:creationId xmlns:a16="http://schemas.microsoft.com/office/drawing/2014/main" id="{88B6AA3D-E320-4089-B478-15E87CD10038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72072" y="4157013"/>
            <a:ext cx="569680" cy="569680"/>
          </a:xfrm>
          <a:prstGeom prst="rect">
            <a:avLst/>
          </a:prstGeom>
        </p:spPr>
      </p:pic>
      <p:pic>
        <p:nvPicPr>
          <p:cNvPr id="57" name="Picture 56" descr="Icon&#10;&#10;Description automatically generated">
            <a:extLst>
              <a:ext uri="{FF2B5EF4-FFF2-40B4-BE49-F238E27FC236}">
                <a16:creationId xmlns:a16="http://schemas.microsoft.com/office/drawing/2014/main" id="{8626D61C-2D26-4B9D-A660-CFE8F0882A24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18691" y="4942680"/>
            <a:ext cx="593417" cy="483437"/>
          </a:xfrm>
          <a:prstGeom prst="rect">
            <a:avLst/>
          </a:prstGeom>
        </p:spPr>
      </p:pic>
      <p:pic>
        <p:nvPicPr>
          <p:cNvPr id="59" name="Picture 58" descr="Icon&#10;&#10;Description automatically generated">
            <a:extLst>
              <a:ext uri="{FF2B5EF4-FFF2-40B4-BE49-F238E27FC236}">
                <a16:creationId xmlns:a16="http://schemas.microsoft.com/office/drawing/2014/main" id="{4CC82B2E-3CE7-4CD8-8612-09AAA0CE8404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94388" y="5668532"/>
            <a:ext cx="572735" cy="569680"/>
          </a:xfrm>
          <a:prstGeom prst="rect">
            <a:avLst/>
          </a:prstGeom>
        </p:spPr>
      </p:pic>
      <p:pic>
        <p:nvPicPr>
          <p:cNvPr id="61" name="Picture 60" descr="Icon&#10;&#10;Description automatically generated">
            <a:extLst>
              <a:ext uri="{FF2B5EF4-FFF2-40B4-BE49-F238E27FC236}">
                <a16:creationId xmlns:a16="http://schemas.microsoft.com/office/drawing/2014/main" id="{4C2F57C2-A0D3-4B02-8323-1A2625FE0D45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14923" y="3388041"/>
            <a:ext cx="437635" cy="569680"/>
          </a:xfrm>
          <a:prstGeom prst="rect">
            <a:avLst/>
          </a:prstGeom>
        </p:spPr>
      </p:pic>
      <p:pic>
        <p:nvPicPr>
          <p:cNvPr id="63" name="Picture 62" descr="Icon&#10;&#10;Description automatically generated">
            <a:extLst>
              <a:ext uri="{FF2B5EF4-FFF2-40B4-BE49-F238E27FC236}">
                <a16:creationId xmlns:a16="http://schemas.microsoft.com/office/drawing/2014/main" id="{E55259B0-B0C1-4A37-B046-E167007D18DF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86098" y="3388041"/>
            <a:ext cx="528180" cy="569680"/>
          </a:xfrm>
          <a:prstGeom prst="rect">
            <a:avLst/>
          </a:prstGeom>
        </p:spPr>
      </p:pic>
      <p:pic>
        <p:nvPicPr>
          <p:cNvPr id="65" name="Picture 64" descr="Icon&#10;&#10;Description automatically generated">
            <a:extLst>
              <a:ext uri="{FF2B5EF4-FFF2-40B4-BE49-F238E27FC236}">
                <a16:creationId xmlns:a16="http://schemas.microsoft.com/office/drawing/2014/main" id="{63638C20-8D3B-41CB-AD1E-87D2BB2F3992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72072" y="4920532"/>
            <a:ext cx="521031" cy="483437"/>
          </a:xfrm>
          <a:prstGeom prst="rect">
            <a:avLst/>
          </a:prstGeom>
        </p:spPr>
      </p:pic>
      <p:pic>
        <p:nvPicPr>
          <p:cNvPr id="67" name="Graphic 66" descr="Clipboard Partially Checked">
            <a:extLst>
              <a:ext uri="{FF2B5EF4-FFF2-40B4-BE49-F238E27FC236}">
                <a16:creationId xmlns:a16="http://schemas.microsoft.com/office/drawing/2014/main" id="{C0107B43-1DC4-4F94-8561-E1ACC03A2484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11147432" y="107497"/>
            <a:ext cx="1044568" cy="10445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873417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78E9AD5-37FF-4D0D-B5BF-72CC084F72D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78070" y="-994684"/>
            <a:ext cx="7454643" cy="3558191"/>
          </a:xfr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>
              <a:lnSpc>
                <a:spcPct val="90000"/>
              </a:lnSpc>
            </a:pPr>
            <a:r>
              <a:rPr lang="en-US" dirty="0">
                <a:gradFill flip="none" rotWithShape="1">
                  <a:gsLst>
                    <a:gs pos="12000">
                      <a:srgbClr val="0078D4"/>
                    </a:gs>
                    <a:gs pos="100000">
                      <a:srgbClr val="50E6FF"/>
                    </a:gs>
                  </a:gsLst>
                  <a:lin ang="18900000" scaled="1"/>
                  <a:tileRect/>
                </a:gradFill>
                <a:cs typeface="+mn-cs"/>
              </a:rPr>
              <a:t>Azure Hybrid Benefit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CDC81795-C33B-468F-860F-3D9A6AAF1F63}"/>
              </a:ext>
            </a:extLst>
          </p:cNvPr>
          <p:cNvSpPr txBox="1"/>
          <p:nvPr/>
        </p:nvSpPr>
        <p:spPr>
          <a:xfrm>
            <a:off x="1478070" y="3030771"/>
            <a:ext cx="8444645" cy="1015663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Segoe UI"/>
                <a:ea typeface="+mn-ea"/>
                <a:cs typeface="+mn-cs"/>
              </a:rPr>
              <a:t>A licensing benefit that lets you bring your on-premises Windows Server and SQL Server licenses with active Software Assurance to Azure and helps to </a:t>
            </a:r>
            <a:r>
              <a:rPr kumimoji="0" lang="en-US" sz="2000" b="1" i="0" u="none" strike="noStrike" kern="1200" cap="none" spc="-50" normalizeH="0" baseline="0" noProof="0" dirty="0">
                <a:ln w="3175">
                  <a:noFill/>
                </a:ln>
                <a:gradFill flip="none" rotWithShape="1">
                  <a:gsLst>
                    <a:gs pos="12000">
                      <a:srgbClr val="0078D4"/>
                    </a:gs>
                    <a:gs pos="100000">
                      <a:srgbClr val="50E6FF"/>
                    </a:gs>
                  </a:gsLst>
                  <a:lin ang="18900000" scaled="1"/>
                  <a:tileRect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significantly reduce the costs 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Segoe UI"/>
                <a:ea typeface="+mn-ea"/>
                <a:cs typeface="+mn-cs"/>
              </a:rPr>
              <a:t>of running your workloads in the cloud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. 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49FB5A8D-D3EC-4E8D-AB95-9AE9A35C803E}"/>
              </a:ext>
            </a:extLst>
          </p:cNvPr>
          <p:cNvSpPr/>
          <p:nvPr/>
        </p:nvSpPr>
        <p:spPr>
          <a:xfrm>
            <a:off x="0" y="6494753"/>
            <a:ext cx="12192000" cy="361507"/>
          </a:xfrm>
          <a:prstGeom prst="rect">
            <a:avLst/>
          </a:prstGeom>
          <a:solidFill>
            <a:srgbClr val="007FB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9869E0D-E4F1-46F8-82CB-9D64733FC2A7}"/>
              </a:ext>
            </a:extLst>
          </p:cNvPr>
          <p:cNvSpPr txBox="1"/>
          <p:nvPr/>
        </p:nvSpPr>
        <p:spPr>
          <a:xfrm>
            <a:off x="9520101" y="6536826"/>
            <a:ext cx="2397642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b="0" i="0" kern="0" spc="-20" baseline="0" dirty="0">
                <a:solidFill>
                  <a:schemeClr val="bg1"/>
                </a:solidFill>
                <a:latin typeface="Segoe UI Semibold" charset="0"/>
              </a:rPr>
              <a:t>Microsoft Azure    </a:t>
            </a:r>
            <a:r>
              <a:rPr lang="en-US" sz="1100" b="0" i="0" kern="0" spc="-20" baseline="0" dirty="0">
                <a:solidFill>
                  <a:schemeClr val="bg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|  @Techielass</a:t>
            </a:r>
            <a:endParaRPr lang="en-US" sz="1100" b="0" i="0" kern="0" spc="-20" baseline="0" dirty="0">
              <a:solidFill>
                <a:schemeClr val="bg1"/>
              </a:solidFill>
              <a:latin typeface="Segoe UI Semilight" panose="020B0402040204020203" pitchFamily="34" charset="0"/>
              <a:ea typeface="Segoe UI Semilight" charset="0"/>
              <a:cs typeface="Segoe UI Semilight" panose="020B0402040204020203" pitchFamily="34" charset="0"/>
            </a:endParaRPr>
          </a:p>
          <a:p>
            <a:endParaRPr lang="en-GB" sz="1100" b="1" dirty="0">
              <a:solidFill>
                <a:schemeClr val="bg1"/>
              </a:solidFill>
            </a:endParaRPr>
          </a:p>
        </p:txBody>
      </p:sp>
      <p:pic>
        <p:nvPicPr>
          <p:cNvPr id="4" name="Graphic 3" descr="Clipboard Partially Checked">
            <a:extLst>
              <a:ext uri="{FF2B5EF4-FFF2-40B4-BE49-F238E27FC236}">
                <a16:creationId xmlns:a16="http://schemas.microsoft.com/office/drawing/2014/main" id="{35246235-AA12-456F-A94B-7367636C431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147432" y="107497"/>
            <a:ext cx="1044568" cy="10445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8658467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3.125E-6 -1.85185E-6 L -3.125E-6 0.04167 " pathEditMode="relative" rAng="0" ptsTypes="AA">
                                      <p:cBhvr>
                                        <p:cTn id="9" dur="750" spd="-100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2083"/>
                                    </p:animMotion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42" presetClass="path" presetSubtype="0" decel="100000" fill="hold" grpId="1" nodeType="withEffect">
                                  <p:stCondLst>
                                    <p:cond delay="250"/>
                                  </p:stCondLst>
                                  <p:childTnLst>
                                    <p:animMotion origin="layout" path="M 1.875E-6 -2.22222E-6 L 1.875E-6 0.04167 " pathEditMode="relative" rAng="0" ptsTypes="AA">
                                      <p:cBhvr>
                                        <p:cTn id="14" dur="750" spd="-100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2083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2" grpId="1"/>
      <p:bldP spid="8" grpId="0"/>
      <p:bldP spid="8" grpId="1"/>
    </p:bld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" name="TextBox 48">
            <a:extLst>
              <a:ext uri="{FF2B5EF4-FFF2-40B4-BE49-F238E27FC236}">
                <a16:creationId xmlns:a16="http://schemas.microsoft.com/office/drawing/2014/main" id="{15A9FCE9-BC28-4698-8E8B-2FB3E9765637}"/>
              </a:ext>
            </a:extLst>
          </p:cNvPr>
          <p:cNvSpPr txBox="1"/>
          <p:nvPr/>
        </p:nvSpPr>
        <p:spPr>
          <a:xfrm>
            <a:off x="486232" y="2323275"/>
            <a:ext cx="6073758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defTabSz="914192">
              <a:buFont typeface="Arial" panose="020B0604020202020204" pitchFamily="34" charset="0"/>
              <a:buChar char="•"/>
              <a:defRPr/>
            </a:pPr>
            <a:r>
              <a:rPr lang="en-US" sz="2000" dirty="0">
                <a:solidFill>
                  <a:srgbClr val="4C4C5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Don’t start with your most important workload</a:t>
            </a:r>
          </a:p>
          <a:p>
            <a:pPr marL="285750" indent="-285750" defTabSz="914192">
              <a:buFont typeface="Arial" panose="020B0604020202020204" pitchFamily="34" charset="0"/>
              <a:buChar char="•"/>
              <a:defRPr/>
            </a:pPr>
            <a:r>
              <a:rPr lang="en-US" sz="2000" dirty="0">
                <a:solidFill>
                  <a:srgbClr val="4C4C5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ommunication</a:t>
            </a:r>
          </a:p>
          <a:p>
            <a:pPr marL="285750" indent="-285750" defTabSz="914192">
              <a:buFont typeface="Arial" panose="020B0604020202020204" pitchFamily="34" charset="0"/>
              <a:buChar char="•"/>
              <a:defRPr/>
            </a:pPr>
            <a:r>
              <a:rPr lang="en-US" sz="2000" dirty="0">
                <a:solidFill>
                  <a:srgbClr val="4C4C5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Iterate and learn</a:t>
            </a:r>
          </a:p>
          <a:p>
            <a:pPr defTabSz="914192">
              <a:defRPr/>
            </a:pPr>
            <a:endParaRPr lang="en-US" sz="2000" dirty="0">
              <a:solidFill>
                <a:srgbClr val="4C4C5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8" name="Title 1">
            <a:extLst>
              <a:ext uri="{FF2B5EF4-FFF2-40B4-BE49-F238E27FC236}">
                <a16:creationId xmlns:a16="http://schemas.microsoft.com/office/drawing/2014/main" id="{BECD9960-6DF9-4966-B2D6-F0D932774082}"/>
              </a:ext>
            </a:extLst>
          </p:cNvPr>
          <p:cNvSpPr txBox="1">
            <a:spLocks/>
          </p:cNvSpPr>
          <p:nvPr/>
        </p:nvSpPr>
        <p:spPr>
          <a:xfrm>
            <a:off x="486232" y="5795732"/>
            <a:ext cx="11373365" cy="553841"/>
          </a:xfrm>
          <a:prstGeom prst="rect">
            <a:avLst/>
          </a:prstGeom>
        </p:spPr>
        <p:txBody>
          <a:bodyPr vert="horz" wrap="square" lIns="0" tIns="89630" rIns="143407" bIns="89630" rtlCol="0" anchor="t">
            <a:noAutofit/>
          </a:bodyPr>
          <a:lstStyle>
            <a:lvl1pPr algn="l" defTabSz="93256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800" b="0" kern="1200" cap="none" spc="-50" baseline="0" dirty="0" smtClean="0">
                <a:ln w="3175">
                  <a:noFill/>
                </a:ln>
                <a:solidFill>
                  <a:srgbClr val="000000"/>
                </a:soli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defTabSz="932384"/>
            <a:endParaRPr lang="en-US" sz="2745" dirty="0">
              <a:latin typeface="Segoe UI Semibold (Headings)"/>
              <a:cs typeface="Segoe UI Semibold" panose="020B0702040204020203" pitchFamily="34" charset="0"/>
            </a:endParaRP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D90A74E4-D033-244F-8BBF-AB016E603C6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5995" y="881209"/>
            <a:ext cx="11653518" cy="482763"/>
          </a:xfrm>
        </p:spPr>
        <p:txBody>
          <a:bodyPr/>
          <a:lstStyle/>
          <a:p>
            <a:r>
              <a:rPr lang="en-US" dirty="0"/>
              <a:t>Time to move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A78D8B18-2C28-6B43-B3A0-D2E53B6355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5995" y="433143"/>
            <a:ext cx="11303917" cy="813704"/>
          </a:xfrm>
        </p:spPr>
        <p:txBody>
          <a:bodyPr/>
          <a:lstStyle/>
          <a:p>
            <a:r>
              <a:rPr lang="en-US" dirty="0"/>
              <a:t>Migrate</a:t>
            </a:r>
          </a:p>
        </p:txBody>
      </p:sp>
      <p:sp>
        <p:nvSpPr>
          <p:cNvPr id="3" name="bk object 17">
            <a:extLst>
              <a:ext uri="{FF2B5EF4-FFF2-40B4-BE49-F238E27FC236}">
                <a16:creationId xmlns:a16="http://schemas.microsoft.com/office/drawing/2014/main" id="{407B5CDC-D413-4E99-A645-F0412DF2C438}"/>
              </a:ext>
            </a:extLst>
          </p:cNvPr>
          <p:cNvSpPr/>
          <p:nvPr/>
        </p:nvSpPr>
        <p:spPr>
          <a:xfrm>
            <a:off x="0" y="6497955"/>
            <a:ext cx="12192000" cy="360045"/>
          </a:xfrm>
          <a:custGeom>
            <a:avLst/>
            <a:gdLst/>
            <a:ahLst/>
            <a:cxnLst/>
            <a:rect l="l" t="t" r="r" b="b"/>
            <a:pathLst>
              <a:path w="12434570" h="360045">
                <a:moveTo>
                  <a:pt x="0" y="359994"/>
                </a:moveTo>
                <a:lnTo>
                  <a:pt x="12434404" y="359994"/>
                </a:lnTo>
                <a:lnTo>
                  <a:pt x="12434404" y="0"/>
                </a:lnTo>
                <a:lnTo>
                  <a:pt x="0" y="0"/>
                </a:lnTo>
                <a:lnTo>
                  <a:pt x="0" y="359994"/>
                </a:lnTo>
                <a:close/>
              </a:path>
            </a:pathLst>
          </a:custGeom>
          <a:solidFill>
            <a:srgbClr val="007FBA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5CE847B4-938E-47E7-9154-2FC09972926D}"/>
              </a:ext>
            </a:extLst>
          </p:cNvPr>
          <p:cNvSpPr txBox="1"/>
          <p:nvPr/>
        </p:nvSpPr>
        <p:spPr>
          <a:xfrm>
            <a:off x="7278010" y="6591175"/>
            <a:ext cx="425867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100" b="0" i="0" kern="0" spc="-20" baseline="0" dirty="0">
                <a:solidFill>
                  <a:schemeClr val="bg1"/>
                </a:solidFill>
                <a:latin typeface="Segoe UI Semibold" charset="0"/>
              </a:rPr>
              <a:t>Microsoft Azure    </a:t>
            </a:r>
            <a:r>
              <a:rPr lang="en-US" sz="1100" b="0" i="0" kern="0" spc="-20" baseline="0" dirty="0">
                <a:solidFill>
                  <a:schemeClr val="bg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|  @</a:t>
            </a:r>
            <a:r>
              <a:rPr lang="en-US" sz="1100" b="0" i="0" kern="0" spc="-20" baseline="0" dirty="0" err="1">
                <a:solidFill>
                  <a:schemeClr val="bg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Techielass</a:t>
            </a:r>
            <a:endParaRPr lang="en-US" sz="1100" b="0" i="0" kern="0" spc="-20" baseline="0" dirty="0">
              <a:solidFill>
                <a:schemeClr val="bg1"/>
              </a:solidFill>
              <a:latin typeface="Segoe UI Semilight" panose="020B0402040204020203" pitchFamily="34" charset="0"/>
              <a:ea typeface="Segoe UI Semilight" charset="0"/>
              <a:cs typeface="Segoe UI Semilight" panose="020B0402040204020203" pitchFamily="34" charset="0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DF97D934-C634-4A60-847E-8B9444AFB787}"/>
              </a:ext>
            </a:extLst>
          </p:cNvPr>
          <p:cNvSpPr txBox="1"/>
          <p:nvPr/>
        </p:nvSpPr>
        <p:spPr>
          <a:xfrm>
            <a:off x="0" y="5279302"/>
            <a:ext cx="12192000" cy="683264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en-GB" sz="2800" dirty="0">
                <a:solidFill>
                  <a:srgbClr val="0078D4"/>
                </a:solidFill>
              </a:rPr>
              <a:t>https://aka.ms/azurelive/migrate</a:t>
            </a:r>
          </a:p>
        </p:txBody>
      </p:sp>
      <p:pic>
        <p:nvPicPr>
          <p:cNvPr id="2" name="Graphic 1" descr="Fast Forward">
            <a:extLst>
              <a:ext uri="{FF2B5EF4-FFF2-40B4-BE49-F238E27FC236}">
                <a16:creationId xmlns:a16="http://schemas.microsoft.com/office/drawing/2014/main" id="{1E5AF092-8C5B-4AF4-8A47-CC2292E4E59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711439" y="40294"/>
            <a:ext cx="1323678" cy="1323678"/>
          </a:xfrm>
          <a:prstGeom prst="rect">
            <a:avLst/>
          </a:prstGeom>
        </p:spPr>
      </p:pic>
      <p:pic>
        <p:nvPicPr>
          <p:cNvPr id="9" name="Graphic 8" descr="Truck outline">
            <a:extLst>
              <a:ext uri="{FF2B5EF4-FFF2-40B4-BE49-F238E27FC236}">
                <a16:creationId xmlns:a16="http://schemas.microsoft.com/office/drawing/2014/main" id="{3D456595-5D76-4577-9541-25EA9B9C7F60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6897010" y="1483289"/>
            <a:ext cx="3442446" cy="34424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5656948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Rectangle 38">
            <a:extLst>
              <a:ext uri="{FF2B5EF4-FFF2-40B4-BE49-F238E27FC236}">
                <a16:creationId xmlns:a16="http://schemas.microsoft.com/office/drawing/2014/main" id="{1AA77D91-89FA-4BBE-9914-51B92D2CA618}"/>
              </a:ext>
            </a:extLst>
          </p:cNvPr>
          <p:cNvSpPr/>
          <p:nvPr/>
        </p:nvSpPr>
        <p:spPr bwMode="auto">
          <a:xfrm>
            <a:off x="6324224" y="487"/>
            <a:ext cx="5867777" cy="6857027"/>
          </a:xfrm>
          <a:prstGeom prst="rect">
            <a:avLst/>
          </a:prstGeom>
          <a:solidFill>
            <a:srgbClr val="FFFFFF">
              <a:lumMod val="95000"/>
            </a:srgb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2353" ker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/>
              <a:ea typeface="Segoe UI" pitchFamily="34" charset="0"/>
              <a:cs typeface="Segoe UI" pitchFamily="34" charset="0"/>
            </a:endParaRP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431264D5-5BED-4428-AFE5-682B453B1775}"/>
              </a:ext>
            </a:extLst>
          </p:cNvPr>
          <p:cNvGrpSpPr/>
          <p:nvPr/>
        </p:nvGrpSpPr>
        <p:grpSpPr>
          <a:xfrm>
            <a:off x="2147332" y="1808949"/>
            <a:ext cx="2071100" cy="2069512"/>
            <a:chOff x="1622425" y="1333500"/>
            <a:chExt cx="2071688" cy="2070100"/>
          </a:xfrm>
          <a:effectLst>
            <a:outerShdw blurRad="381000" sx="81000" sy="81000" algn="ctr" rotWithShape="0">
              <a:prstClr val="black">
                <a:alpha val="16000"/>
              </a:prstClr>
            </a:outerShdw>
          </a:effectLst>
        </p:grpSpPr>
        <p:grpSp>
          <p:nvGrpSpPr>
            <p:cNvPr id="15" name="Group 14">
              <a:extLst>
                <a:ext uri="{FF2B5EF4-FFF2-40B4-BE49-F238E27FC236}">
                  <a16:creationId xmlns:a16="http://schemas.microsoft.com/office/drawing/2014/main" id="{0BF1F10B-6802-4187-AEBB-00BB0D2A2DA9}"/>
                </a:ext>
              </a:extLst>
            </p:cNvPr>
            <p:cNvGrpSpPr/>
            <p:nvPr/>
          </p:nvGrpSpPr>
          <p:grpSpPr>
            <a:xfrm>
              <a:off x="1622425" y="1333500"/>
              <a:ext cx="2071688" cy="2070100"/>
              <a:chOff x="1622425" y="1333500"/>
              <a:chExt cx="2071688" cy="2070100"/>
            </a:xfrm>
          </p:grpSpPr>
          <p:sp>
            <p:nvSpPr>
              <p:cNvPr id="17" name="AutoShape 6">
                <a:extLst>
                  <a:ext uri="{FF2B5EF4-FFF2-40B4-BE49-F238E27FC236}">
                    <a16:creationId xmlns:a16="http://schemas.microsoft.com/office/drawing/2014/main" id="{ED0AA760-CA8B-4741-B5BC-93C1A756DC09}"/>
                  </a:ext>
                </a:extLst>
              </p:cNvPr>
              <p:cNvSpPr>
                <a:spLocks noChangeAspect="1" noChangeArrowheads="1" noTextEdit="1"/>
              </p:cNvSpPr>
              <p:nvPr/>
            </p:nvSpPr>
            <p:spPr bwMode="auto">
              <a:xfrm>
                <a:off x="1622425" y="1333500"/>
                <a:ext cx="2068513" cy="207010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14" tIns="45706" rIns="91414" bIns="45706" numCol="1" anchor="t" anchorCtr="0" compatLnSpc="1">
                <a:prstTxWarp prst="textNoShape">
                  <a:avLst/>
                </a:prstTxWarp>
              </a:bodyPr>
              <a:lstStyle/>
              <a:p>
                <a:pPr defTabSz="914016">
                  <a:defRPr/>
                </a:pPr>
                <a:endParaRPr lang="en-US" sz="1765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18" name="Freeform 8">
                <a:extLst>
                  <a:ext uri="{FF2B5EF4-FFF2-40B4-BE49-F238E27FC236}">
                    <a16:creationId xmlns:a16="http://schemas.microsoft.com/office/drawing/2014/main" id="{261D00AC-DD83-4A37-B91F-0796ECA4A4F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87513" y="1528763"/>
                <a:ext cx="2006600" cy="1255713"/>
              </a:xfrm>
              <a:custGeom>
                <a:avLst/>
                <a:gdLst>
                  <a:gd name="T0" fmla="*/ 100 w 400"/>
                  <a:gd name="T1" fmla="*/ 50 h 250"/>
                  <a:gd name="T2" fmla="*/ 100 w 400"/>
                  <a:gd name="T3" fmla="*/ 50 h 250"/>
                  <a:gd name="T4" fmla="*/ 61 w 400"/>
                  <a:gd name="T5" fmla="*/ 58 h 250"/>
                  <a:gd name="T6" fmla="*/ 29 w 400"/>
                  <a:gd name="T7" fmla="*/ 79 h 250"/>
                  <a:gd name="T8" fmla="*/ 8 w 400"/>
                  <a:gd name="T9" fmla="*/ 111 h 250"/>
                  <a:gd name="T10" fmla="*/ 0 w 400"/>
                  <a:gd name="T11" fmla="*/ 150 h 250"/>
                  <a:gd name="T12" fmla="*/ 8 w 400"/>
                  <a:gd name="T13" fmla="*/ 189 h 250"/>
                  <a:gd name="T14" fmla="*/ 29 w 400"/>
                  <a:gd name="T15" fmla="*/ 221 h 250"/>
                  <a:gd name="T16" fmla="*/ 61 w 400"/>
                  <a:gd name="T17" fmla="*/ 242 h 250"/>
                  <a:gd name="T18" fmla="*/ 100 w 400"/>
                  <a:gd name="T19" fmla="*/ 250 h 250"/>
                  <a:gd name="T20" fmla="*/ 106 w 400"/>
                  <a:gd name="T21" fmla="*/ 250 h 250"/>
                  <a:gd name="T22" fmla="*/ 200 w 400"/>
                  <a:gd name="T23" fmla="*/ 156 h 250"/>
                  <a:gd name="T24" fmla="*/ 294 w 400"/>
                  <a:gd name="T25" fmla="*/ 250 h 250"/>
                  <a:gd name="T26" fmla="*/ 325 w 400"/>
                  <a:gd name="T27" fmla="*/ 250 h 250"/>
                  <a:gd name="T28" fmla="*/ 354 w 400"/>
                  <a:gd name="T29" fmla="*/ 244 h 250"/>
                  <a:gd name="T30" fmla="*/ 378 w 400"/>
                  <a:gd name="T31" fmla="*/ 228 h 250"/>
                  <a:gd name="T32" fmla="*/ 394 w 400"/>
                  <a:gd name="T33" fmla="*/ 204 h 250"/>
                  <a:gd name="T34" fmla="*/ 400 w 400"/>
                  <a:gd name="T35" fmla="*/ 175 h 250"/>
                  <a:gd name="T36" fmla="*/ 394 w 400"/>
                  <a:gd name="T37" fmla="*/ 146 h 250"/>
                  <a:gd name="T38" fmla="*/ 378 w 400"/>
                  <a:gd name="T39" fmla="*/ 122 h 250"/>
                  <a:gd name="T40" fmla="*/ 354 w 400"/>
                  <a:gd name="T41" fmla="*/ 106 h 250"/>
                  <a:gd name="T42" fmla="*/ 324 w 400"/>
                  <a:gd name="T43" fmla="*/ 100 h 250"/>
                  <a:gd name="T44" fmla="*/ 312 w 400"/>
                  <a:gd name="T45" fmla="*/ 60 h 250"/>
                  <a:gd name="T46" fmla="*/ 287 w 400"/>
                  <a:gd name="T47" fmla="*/ 29 h 250"/>
                  <a:gd name="T48" fmla="*/ 253 w 400"/>
                  <a:gd name="T49" fmla="*/ 8 h 250"/>
                  <a:gd name="T50" fmla="*/ 212 w 400"/>
                  <a:gd name="T51" fmla="*/ 0 h 250"/>
                  <a:gd name="T52" fmla="*/ 184 w 400"/>
                  <a:gd name="T53" fmla="*/ 4 h 250"/>
                  <a:gd name="T54" fmla="*/ 158 w 400"/>
                  <a:gd name="T55" fmla="*/ 14 h 250"/>
                  <a:gd name="T56" fmla="*/ 136 w 400"/>
                  <a:gd name="T57" fmla="*/ 30 h 250"/>
                  <a:gd name="T58" fmla="*/ 118 w 400"/>
                  <a:gd name="T59" fmla="*/ 52 h 250"/>
                  <a:gd name="T60" fmla="*/ 100 w 400"/>
                  <a:gd name="T61" fmla="*/ 50 h 2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400" h="250">
                    <a:moveTo>
                      <a:pt x="100" y="50"/>
                    </a:moveTo>
                    <a:lnTo>
                      <a:pt x="100" y="50"/>
                    </a:lnTo>
                    <a:cubicBezTo>
                      <a:pt x="86" y="50"/>
                      <a:pt x="73" y="53"/>
                      <a:pt x="61" y="58"/>
                    </a:cubicBezTo>
                    <a:cubicBezTo>
                      <a:pt x="49" y="63"/>
                      <a:pt x="38" y="70"/>
                      <a:pt x="29" y="79"/>
                    </a:cubicBezTo>
                    <a:cubicBezTo>
                      <a:pt x="20" y="88"/>
                      <a:pt x="13" y="99"/>
                      <a:pt x="8" y="111"/>
                    </a:cubicBezTo>
                    <a:cubicBezTo>
                      <a:pt x="2" y="123"/>
                      <a:pt x="0" y="136"/>
                      <a:pt x="0" y="150"/>
                    </a:cubicBezTo>
                    <a:cubicBezTo>
                      <a:pt x="0" y="164"/>
                      <a:pt x="2" y="177"/>
                      <a:pt x="8" y="189"/>
                    </a:cubicBezTo>
                    <a:cubicBezTo>
                      <a:pt x="13" y="201"/>
                      <a:pt x="20" y="212"/>
                      <a:pt x="29" y="221"/>
                    </a:cubicBezTo>
                    <a:cubicBezTo>
                      <a:pt x="38" y="230"/>
                      <a:pt x="49" y="237"/>
                      <a:pt x="61" y="242"/>
                    </a:cubicBezTo>
                    <a:cubicBezTo>
                      <a:pt x="73" y="247"/>
                      <a:pt x="86" y="250"/>
                      <a:pt x="100" y="250"/>
                    </a:cubicBezTo>
                    <a:lnTo>
                      <a:pt x="106" y="250"/>
                    </a:lnTo>
                    <a:lnTo>
                      <a:pt x="200" y="156"/>
                    </a:lnTo>
                    <a:lnTo>
                      <a:pt x="294" y="250"/>
                    </a:lnTo>
                    <a:lnTo>
                      <a:pt x="325" y="250"/>
                    </a:lnTo>
                    <a:cubicBezTo>
                      <a:pt x="335" y="250"/>
                      <a:pt x="345" y="248"/>
                      <a:pt x="354" y="244"/>
                    </a:cubicBezTo>
                    <a:cubicBezTo>
                      <a:pt x="363" y="240"/>
                      <a:pt x="371" y="235"/>
                      <a:pt x="378" y="228"/>
                    </a:cubicBezTo>
                    <a:cubicBezTo>
                      <a:pt x="385" y="221"/>
                      <a:pt x="390" y="213"/>
                      <a:pt x="394" y="204"/>
                    </a:cubicBezTo>
                    <a:cubicBezTo>
                      <a:pt x="398" y="195"/>
                      <a:pt x="400" y="185"/>
                      <a:pt x="400" y="175"/>
                    </a:cubicBezTo>
                    <a:cubicBezTo>
                      <a:pt x="400" y="164"/>
                      <a:pt x="398" y="155"/>
                      <a:pt x="394" y="146"/>
                    </a:cubicBezTo>
                    <a:cubicBezTo>
                      <a:pt x="390" y="136"/>
                      <a:pt x="384" y="129"/>
                      <a:pt x="378" y="122"/>
                    </a:cubicBezTo>
                    <a:cubicBezTo>
                      <a:pt x="371" y="115"/>
                      <a:pt x="363" y="110"/>
                      <a:pt x="354" y="106"/>
                    </a:cubicBezTo>
                    <a:cubicBezTo>
                      <a:pt x="344" y="102"/>
                      <a:pt x="335" y="100"/>
                      <a:pt x="324" y="100"/>
                    </a:cubicBezTo>
                    <a:cubicBezTo>
                      <a:pt x="322" y="86"/>
                      <a:pt x="318" y="73"/>
                      <a:pt x="312" y="60"/>
                    </a:cubicBezTo>
                    <a:cubicBezTo>
                      <a:pt x="305" y="48"/>
                      <a:pt x="297" y="38"/>
                      <a:pt x="287" y="29"/>
                    </a:cubicBezTo>
                    <a:cubicBezTo>
                      <a:pt x="277" y="20"/>
                      <a:pt x="266" y="13"/>
                      <a:pt x="253" y="8"/>
                    </a:cubicBezTo>
                    <a:cubicBezTo>
                      <a:pt x="240" y="3"/>
                      <a:pt x="227" y="0"/>
                      <a:pt x="212" y="0"/>
                    </a:cubicBezTo>
                    <a:cubicBezTo>
                      <a:pt x="203" y="0"/>
                      <a:pt x="193" y="1"/>
                      <a:pt x="184" y="4"/>
                    </a:cubicBezTo>
                    <a:cubicBezTo>
                      <a:pt x="175" y="6"/>
                      <a:pt x="166" y="9"/>
                      <a:pt x="158" y="14"/>
                    </a:cubicBezTo>
                    <a:cubicBezTo>
                      <a:pt x="150" y="18"/>
                      <a:pt x="143" y="24"/>
                      <a:pt x="136" y="30"/>
                    </a:cubicBezTo>
                    <a:cubicBezTo>
                      <a:pt x="129" y="36"/>
                      <a:pt x="123" y="44"/>
                      <a:pt x="118" y="52"/>
                    </a:cubicBezTo>
                    <a:cubicBezTo>
                      <a:pt x="112" y="51"/>
                      <a:pt x="106" y="50"/>
                      <a:pt x="100" y="50"/>
                    </a:cubicBezTo>
                    <a:close/>
                  </a:path>
                </a:pathLst>
              </a:custGeom>
              <a:solidFill>
                <a:srgbClr val="0078D4"/>
              </a:solidFill>
              <a:ln w="0">
                <a:solidFill>
                  <a:srgbClr val="0078D4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14" tIns="45706" rIns="91414" bIns="45706" numCol="1" anchor="t" anchorCtr="0" compatLnSpc="1">
                <a:prstTxWarp prst="textNoShape">
                  <a:avLst/>
                </a:prstTxWarp>
              </a:bodyPr>
              <a:lstStyle/>
              <a:p>
                <a:pPr defTabSz="914016">
                  <a:defRPr/>
                </a:pPr>
                <a:endParaRPr lang="en-US" sz="1765">
                  <a:solidFill>
                    <a:srgbClr val="1A1A1A"/>
                  </a:solidFill>
                  <a:latin typeface="Segoe UI"/>
                </a:endParaRPr>
              </a:p>
            </p:txBody>
          </p:sp>
        </p:grpSp>
        <p:sp>
          <p:nvSpPr>
            <p:cNvPr id="16" name="Freeform 9">
              <a:extLst>
                <a:ext uri="{FF2B5EF4-FFF2-40B4-BE49-F238E27FC236}">
                  <a16:creationId xmlns:a16="http://schemas.microsoft.com/office/drawing/2014/main" id="{3A78FC47-FC6B-4B65-98BA-2D0F9081F62E}"/>
                </a:ext>
              </a:extLst>
            </p:cNvPr>
            <p:cNvSpPr>
              <a:spLocks/>
            </p:cNvSpPr>
            <p:nvPr/>
          </p:nvSpPr>
          <p:spPr bwMode="auto">
            <a:xfrm>
              <a:off x="2374900" y="2533650"/>
              <a:ext cx="631825" cy="692150"/>
            </a:xfrm>
            <a:custGeom>
              <a:avLst/>
              <a:gdLst>
                <a:gd name="T0" fmla="*/ 76 w 126"/>
                <a:gd name="T1" fmla="*/ 138 h 138"/>
                <a:gd name="T2" fmla="*/ 76 w 126"/>
                <a:gd name="T3" fmla="*/ 138 h 138"/>
                <a:gd name="T4" fmla="*/ 76 w 126"/>
                <a:gd name="T5" fmla="*/ 51 h 138"/>
                <a:gd name="T6" fmla="*/ 107 w 126"/>
                <a:gd name="T7" fmla="*/ 81 h 138"/>
                <a:gd name="T8" fmla="*/ 126 w 126"/>
                <a:gd name="T9" fmla="*/ 62 h 138"/>
                <a:gd name="T10" fmla="*/ 63 w 126"/>
                <a:gd name="T11" fmla="*/ 0 h 138"/>
                <a:gd name="T12" fmla="*/ 0 w 126"/>
                <a:gd name="T13" fmla="*/ 62 h 138"/>
                <a:gd name="T14" fmla="*/ 19 w 126"/>
                <a:gd name="T15" fmla="*/ 81 h 138"/>
                <a:gd name="T16" fmla="*/ 49 w 126"/>
                <a:gd name="T17" fmla="*/ 51 h 138"/>
                <a:gd name="T18" fmla="*/ 49 w 126"/>
                <a:gd name="T19" fmla="*/ 138 h 138"/>
                <a:gd name="T20" fmla="*/ 76 w 126"/>
                <a:gd name="T21" fmla="*/ 138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26" h="138">
                  <a:moveTo>
                    <a:pt x="76" y="138"/>
                  </a:moveTo>
                  <a:lnTo>
                    <a:pt x="76" y="138"/>
                  </a:lnTo>
                  <a:lnTo>
                    <a:pt x="76" y="51"/>
                  </a:lnTo>
                  <a:lnTo>
                    <a:pt x="107" y="81"/>
                  </a:lnTo>
                  <a:lnTo>
                    <a:pt x="126" y="62"/>
                  </a:lnTo>
                  <a:lnTo>
                    <a:pt x="63" y="0"/>
                  </a:lnTo>
                  <a:lnTo>
                    <a:pt x="0" y="62"/>
                  </a:lnTo>
                  <a:lnTo>
                    <a:pt x="19" y="81"/>
                  </a:lnTo>
                  <a:lnTo>
                    <a:pt x="49" y="51"/>
                  </a:lnTo>
                  <a:lnTo>
                    <a:pt x="49" y="138"/>
                  </a:lnTo>
                  <a:lnTo>
                    <a:pt x="76" y="138"/>
                  </a:lnTo>
                  <a:close/>
                </a:path>
              </a:pathLst>
            </a:custGeom>
            <a:solidFill>
              <a:schemeClr val="tx1"/>
            </a:solidFill>
            <a:ln w="19050">
              <a:noFill/>
              <a:prstDash val="solid"/>
              <a:round/>
              <a:headEnd/>
              <a:tailEnd/>
            </a:ln>
          </p:spPr>
          <p:txBody>
            <a:bodyPr vert="horz" wrap="square" lIns="91414" tIns="45706" rIns="91414" bIns="45706" numCol="1" anchor="t" anchorCtr="0" compatLnSpc="1">
              <a:prstTxWarp prst="textNoShape">
                <a:avLst/>
              </a:prstTxWarp>
            </a:bodyPr>
            <a:lstStyle/>
            <a:p>
              <a:pPr defTabSz="914016">
                <a:defRPr/>
              </a:pPr>
              <a:endParaRPr lang="en-US" sz="1765">
                <a:solidFill>
                  <a:srgbClr val="1A1A1A"/>
                </a:solidFill>
                <a:latin typeface="Segoe UI"/>
              </a:endParaRPr>
            </a:p>
          </p:txBody>
        </p:sp>
      </p:grpSp>
      <p:grpSp>
        <p:nvGrpSpPr>
          <p:cNvPr id="19" name="Group 12">
            <a:extLst>
              <a:ext uri="{FF2B5EF4-FFF2-40B4-BE49-F238E27FC236}">
                <a16:creationId xmlns:a16="http://schemas.microsoft.com/office/drawing/2014/main" id="{DFDB7EE7-4FB7-4CCE-BC92-AE053B2E966B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2881461" y="3961312"/>
            <a:ext cx="647462" cy="644395"/>
            <a:chOff x="1297" y="2230"/>
            <a:chExt cx="633" cy="630"/>
          </a:xfrm>
        </p:grpSpPr>
        <p:sp>
          <p:nvSpPr>
            <p:cNvPr id="21" name="Freeform 13">
              <a:extLst>
                <a:ext uri="{FF2B5EF4-FFF2-40B4-BE49-F238E27FC236}">
                  <a16:creationId xmlns:a16="http://schemas.microsoft.com/office/drawing/2014/main" id="{5639C982-94A8-4AB8-AB22-31847A8EA8E1}"/>
                </a:ext>
              </a:extLst>
            </p:cNvPr>
            <p:cNvSpPr>
              <a:spLocks/>
            </p:cNvSpPr>
            <p:nvPr/>
          </p:nvSpPr>
          <p:spPr bwMode="auto">
            <a:xfrm>
              <a:off x="1297" y="2230"/>
              <a:ext cx="633" cy="474"/>
            </a:xfrm>
            <a:custGeom>
              <a:avLst/>
              <a:gdLst>
                <a:gd name="T0" fmla="*/ 416 w 426"/>
                <a:gd name="T1" fmla="*/ 8 h 319"/>
                <a:gd name="T2" fmla="*/ 416 w 426"/>
                <a:gd name="T3" fmla="*/ 8 h 319"/>
                <a:gd name="T4" fmla="*/ 406 w 426"/>
                <a:gd name="T5" fmla="*/ 2 h 319"/>
                <a:gd name="T6" fmla="*/ 393 w 426"/>
                <a:gd name="T7" fmla="*/ 0 h 319"/>
                <a:gd name="T8" fmla="*/ 33 w 426"/>
                <a:gd name="T9" fmla="*/ 0 h 319"/>
                <a:gd name="T10" fmla="*/ 20 w 426"/>
                <a:gd name="T11" fmla="*/ 2 h 319"/>
                <a:gd name="T12" fmla="*/ 9 w 426"/>
                <a:gd name="T13" fmla="*/ 8 h 319"/>
                <a:gd name="T14" fmla="*/ 2 w 426"/>
                <a:gd name="T15" fmla="*/ 19 h 319"/>
                <a:gd name="T16" fmla="*/ 0 w 426"/>
                <a:gd name="T17" fmla="*/ 32 h 319"/>
                <a:gd name="T18" fmla="*/ 0 w 426"/>
                <a:gd name="T19" fmla="*/ 285 h 319"/>
                <a:gd name="T20" fmla="*/ 2 w 426"/>
                <a:gd name="T21" fmla="*/ 298 h 319"/>
                <a:gd name="T22" fmla="*/ 9 w 426"/>
                <a:gd name="T23" fmla="*/ 309 h 319"/>
                <a:gd name="T24" fmla="*/ 20 w 426"/>
                <a:gd name="T25" fmla="*/ 316 h 319"/>
                <a:gd name="T26" fmla="*/ 33 w 426"/>
                <a:gd name="T27" fmla="*/ 319 h 319"/>
                <a:gd name="T28" fmla="*/ 193 w 426"/>
                <a:gd name="T29" fmla="*/ 319 h 319"/>
                <a:gd name="T30" fmla="*/ 196 w 426"/>
                <a:gd name="T31" fmla="*/ 317 h 319"/>
                <a:gd name="T32" fmla="*/ 180 w 426"/>
                <a:gd name="T33" fmla="*/ 307 h 319"/>
                <a:gd name="T34" fmla="*/ 186 w 426"/>
                <a:gd name="T35" fmla="*/ 292 h 319"/>
                <a:gd name="T36" fmla="*/ 33 w 426"/>
                <a:gd name="T37" fmla="*/ 292 h 319"/>
                <a:gd name="T38" fmla="*/ 28 w 426"/>
                <a:gd name="T39" fmla="*/ 290 h 319"/>
                <a:gd name="T40" fmla="*/ 26 w 426"/>
                <a:gd name="T41" fmla="*/ 285 h 319"/>
                <a:gd name="T42" fmla="*/ 26 w 426"/>
                <a:gd name="T43" fmla="*/ 32 h 319"/>
                <a:gd name="T44" fmla="*/ 28 w 426"/>
                <a:gd name="T45" fmla="*/ 27 h 319"/>
                <a:gd name="T46" fmla="*/ 33 w 426"/>
                <a:gd name="T47" fmla="*/ 25 h 319"/>
                <a:gd name="T48" fmla="*/ 393 w 426"/>
                <a:gd name="T49" fmla="*/ 25 h 319"/>
                <a:gd name="T50" fmla="*/ 398 w 426"/>
                <a:gd name="T51" fmla="*/ 27 h 319"/>
                <a:gd name="T52" fmla="*/ 399 w 426"/>
                <a:gd name="T53" fmla="*/ 32 h 319"/>
                <a:gd name="T54" fmla="*/ 399 w 426"/>
                <a:gd name="T55" fmla="*/ 206 h 319"/>
                <a:gd name="T56" fmla="*/ 411 w 426"/>
                <a:gd name="T57" fmla="*/ 211 h 319"/>
                <a:gd name="T58" fmla="*/ 407 w 426"/>
                <a:gd name="T59" fmla="*/ 230 h 319"/>
                <a:gd name="T60" fmla="*/ 425 w 426"/>
                <a:gd name="T61" fmla="*/ 225 h 319"/>
                <a:gd name="T62" fmla="*/ 426 w 426"/>
                <a:gd name="T63" fmla="*/ 227 h 319"/>
                <a:gd name="T64" fmla="*/ 426 w 426"/>
                <a:gd name="T65" fmla="*/ 32 h 319"/>
                <a:gd name="T66" fmla="*/ 424 w 426"/>
                <a:gd name="T67" fmla="*/ 19 h 319"/>
                <a:gd name="T68" fmla="*/ 416 w 426"/>
                <a:gd name="T69" fmla="*/ 8 h 3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26" h="319">
                  <a:moveTo>
                    <a:pt x="416" y="8"/>
                  </a:moveTo>
                  <a:lnTo>
                    <a:pt x="416" y="8"/>
                  </a:lnTo>
                  <a:cubicBezTo>
                    <a:pt x="413" y="5"/>
                    <a:pt x="410" y="3"/>
                    <a:pt x="406" y="2"/>
                  </a:cubicBezTo>
                  <a:cubicBezTo>
                    <a:pt x="402" y="0"/>
                    <a:pt x="397" y="0"/>
                    <a:pt x="393" y="0"/>
                  </a:cubicBezTo>
                  <a:lnTo>
                    <a:pt x="33" y="0"/>
                  </a:lnTo>
                  <a:cubicBezTo>
                    <a:pt x="28" y="0"/>
                    <a:pt x="24" y="0"/>
                    <a:pt x="20" y="2"/>
                  </a:cubicBezTo>
                  <a:cubicBezTo>
                    <a:pt x="16" y="3"/>
                    <a:pt x="12" y="5"/>
                    <a:pt x="9" y="8"/>
                  </a:cubicBezTo>
                  <a:cubicBezTo>
                    <a:pt x="6" y="11"/>
                    <a:pt x="4" y="15"/>
                    <a:pt x="2" y="19"/>
                  </a:cubicBezTo>
                  <a:cubicBezTo>
                    <a:pt x="0" y="23"/>
                    <a:pt x="0" y="27"/>
                    <a:pt x="0" y="32"/>
                  </a:cubicBezTo>
                  <a:lnTo>
                    <a:pt x="0" y="285"/>
                  </a:lnTo>
                  <a:cubicBezTo>
                    <a:pt x="0" y="290"/>
                    <a:pt x="0" y="294"/>
                    <a:pt x="2" y="298"/>
                  </a:cubicBezTo>
                  <a:cubicBezTo>
                    <a:pt x="4" y="302"/>
                    <a:pt x="6" y="306"/>
                    <a:pt x="9" y="309"/>
                  </a:cubicBezTo>
                  <a:cubicBezTo>
                    <a:pt x="12" y="312"/>
                    <a:pt x="16" y="314"/>
                    <a:pt x="20" y="316"/>
                  </a:cubicBezTo>
                  <a:cubicBezTo>
                    <a:pt x="24" y="318"/>
                    <a:pt x="28" y="319"/>
                    <a:pt x="33" y="319"/>
                  </a:cubicBezTo>
                  <a:lnTo>
                    <a:pt x="193" y="319"/>
                  </a:lnTo>
                  <a:lnTo>
                    <a:pt x="196" y="317"/>
                  </a:lnTo>
                  <a:lnTo>
                    <a:pt x="180" y="307"/>
                  </a:lnTo>
                  <a:lnTo>
                    <a:pt x="186" y="292"/>
                  </a:lnTo>
                  <a:lnTo>
                    <a:pt x="33" y="292"/>
                  </a:lnTo>
                  <a:cubicBezTo>
                    <a:pt x="31" y="292"/>
                    <a:pt x="29" y="291"/>
                    <a:pt x="28" y="290"/>
                  </a:cubicBezTo>
                  <a:cubicBezTo>
                    <a:pt x="27" y="289"/>
                    <a:pt x="26" y="287"/>
                    <a:pt x="26" y="285"/>
                  </a:cubicBezTo>
                  <a:lnTo>
                    <a:pt x="26" y="32"/>
                  </a:lnTo>
                  <a:cubicBezTo>
                    <a:pt x="26" y="30"/>
                    <a:pt x="27" y="28"/>
                    <a:pt x="28" y="27"/>
                  </a:cubicBezTo>
                  <a:cubicBezTo>
                    <a:pt x="29" y="26"/>
                    <a:pt x="31" y="25"/>
                    <a:pt x="33" y="25"/>
                  </a:cubicBezTo>
                  <a:lnTo>
                    <a:pt x="393" y="25"/>
                  </a:lnTo>
                  <a:cubicBezTo>
                    <a:pt x="395" y="25"/>
                    <a:pt x="396" y="26"/>
                    <a:pt x="398" y="27"/>
                  </a:cubicBezTo>
                  <a:cubicBezTo>
                    <a:pt x="399" y="28"/>
                    <a:pt x="399" y="30"/>
                    <a:pt x="399" y="32"/>
                  </a:cubicBezTo>
                  <a:lnTo>
                    <a:pt x="399" y="206"/>
                  </a:lnTo>
                  <a:lnTo>
                    <a:pt x="411" y="211"/>
                  </a:lnTo>
                  <a:lnTo>
                    <a:pt x="407" y="230"/>
                  </a:lnTo>
                  <a:lnTo>
                    <a:pt x="425" y="225"/>
                  </a:lnTo>
                  <a:lnTo>
                    <a:pt x="426" y="227"/>
                  </a:lnTo>
                  <a:lnTo>
                    <a:pt x="426" y="32"/>
                  </a:lnTo>
                  <a:cubicBezTo>
                    <a:pt x="426" y="27"/>
                    <a:pt x="425" y="23"/>
                    <a:pt x="424" y="19"/>
                  </a:cubicBezTo>
                  <a:cubicBezTo>
                    <a:pt x="422" y="15"/>
                    <a:pt x="419" y="11"/>
                    <a:pt x="416" y="8"/>
                  </a:cubicBezTo>
                  <a:close/>
                </a:path>
              </a:pathLst>
            </a:custGeom>
            <a:solidFill>
              <a:schemeClr val="tx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14" tIns="45706" rIns="91414" bIns="45706" numCol="1" anchor="t" anchorCtr="0" compatLnSpc="1">
              <a:prstTxWarp prst="textNoShape">
                <a:avLst/>
              </a:prstTxWarp>
            </a:bodyPr>
            <a:lstStyle/>
            <a:p>
              <a:pPr defTabSz="914016">
                <a:defRPr/>
              </a:pPr>
              <a:endParaRPr lang="en-US" sz="1765">
                <a:solidFill>
                  <a:srgbClr val="1A1A1A"/>
                </a:solidFill>
                <a:latin typeface="Segoe UI"/>
              </a:endParaRPr>
            </a:p>
          </p:txBody>
        </p:sp>
        <p:sp>
          <p:nvSpPr>
            <p:cNvPr id="22" name="Freeform 14">
              <a:extLst>
                <a:ext uri="{FF2B5EF4-FFF2-40B4-BE49-F238E27FC236}">
                  <a16:creationId xmlns:a16="http://schemas.microsoft.com/office/drawing/2014/main" id="{30E57CD9-5BC7-464F-B29E-10855B5560AA}"/>
                </a:ext>
              </a:extLst>
            </p:cNvPr>
            <p:cNvSpPr>
              <a:spLocks/>
            </p:cNvSpPr>
            <p:nvPr/>
          </p:nvSpPr>
          <p:spPr bwMode="auto">
            <a:xfrm>
              <a:off x="1533" y="2585"/>
              <a:ext cx="73" cy="38"/>
            </a:xfrm>
            <a:custGeom>
              <a:avLst/>
              <a:gdLst>
                <a:gd name="T0" fmla="*/ 0 w 49"/>
                <a:gd name="T1" fmla="*/ 0 h 26"/>
                <a:gd name="T2" fmla="*/ 0 w 49"/>
                <a:gd name="T3" fmla="*/ 0 h 26"/>
                <a:gd name="T4" fmla="*/ 0 w 49"/>
                <a:gd name="T5" fmla="*/ 26 h 26"/>
                <a:gd name="T6" fmla="*/ 27 w 49"/>
                <a:gd name="T7" fmla="*/ 26 h 26"/>
                <a:gd name="T8" fmla="*/ 38 w 49"/>
                <a:gd name="T9" fmla="*/ 26 h 26"/>
                <a:gd name="T10" fmla="*/ 49 w 49"/>
                <a:gd name="T11" fmla="*/ 0 h 26"/>
                <a:gd name="T12" fmla="*/ 27 w 49"/>
                <a:gd name="T13" fmla="*/ 0 h 26"/>
                <a:gd name="T14" fmla="*/ 0 w 49"/>
                <a:gd name="T15" fmla="*/ 0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9" h="26">
                  <a:moveTo>
                    <a:pt x="0" y="0"/>
                  </a:moveTo>
                  <a:lnTo>
                    <a:pt x="0" y="0"/>
                  </a:lnTo>
                  <a:lnTo>
                    <a:pt x="0" y="26"/>
                  </a:lnTo>
                  <a:lnTo>
                    <a:pt x="27" y="26"/>
                  </a:lnTo>
                  <a:lnTo>
                    <a:pt x="38" y="26"/>
                  </a:lnTo>
                  <a:lnTo>
                    <a:pt x="49" y="0"/>
                  </a:lnTo>
                  <a:lnTo>
                    <a:pt x="27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14" tIns="45706" rIns="91414" bIns="45706" numCol="1" anchor="t" anchorCtr="0" compatLnSpc="1">
              <a:prstTxWarp prst="textNoShape">
                <a:avLst/>
              </a:prstTxWarp>
            </a:bodyPr>
            <a:lstStyle/>
            <a:p>
              <a:pPr defTabSz="914016">
                <a:defRPr/>
              </a:pPr>
              <a:endParaRPr lang="en-US" sz="1765">
                <a:solidFill>
                  <a:srgbClr val="1A1A1A"/>
                </a:solidFill>
                <a:latin typeface="Segoe UI"/>
              </a:endParaRPr>
            </a:p>
          </p:txBody>
        </p:sp>
        <p:sp>
          <p:nvSpPr>
            <p:cNvPr id="23" name="Freeform 15">
              <a:extLst>
                <a:ext uri="{FF2B5EF4-FFF2-40B4-BE49-F238E27FC236}">
                  <a16:creationId xmlns:a16="http://schemas.microsoft.com/office/drawing/2014/main" id="{621A59A3-5D0F-4FA0-B01F-EF15D282FE84}"/>
                </a:ext>
              </a:extLst>
            </p:cNvPr>
            <p:cNvSpPr>
              <a:spLocks/>
            </p:cNvSpPr>
            <p:nvPr/>
          </p:nvSpPr>
          <p:spPr bwMode="auto">
            <a:xfrm>
              <a:off x="1927" y="2667"/>
              <a:ext cx="3" cy="6"/>
            </a:xfrm>
            <a:custGeom>
              <a:avLst/>
              <a:gdLst>
                <a:gd name="T0" fmla="*/ 2 w 2"/>
                <a:gd name="T1" fmla="*/ 3 h 4"/>
                <a:gd name="T2" fmla="*/ 2 w 2"/>
                <a:gd name="T3" fmla="*/ 3 h 4"/>
                <a:gd name="T4" fmla="*/ 1 w 2"/>
                <a:gd name="T5" fmla="*/ 0 h 4"/>
                <a:gd name="T6" fmla="*/ 0 w 2"/>
                <a:gd name="T7" fmla="*/ 4 h 4"/>
                <a:gd name="T8" fmla="*/ 2 w 2"/>
                <a:gd name="T9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" h="4">
                  <a:moveTo>
                    <a:pt x="2" y="3"/>
                  </a:moveTo>
                  <a:lnTo>
                    <a:pt x="2" y="3"/>
                  </a:lnTo>
                  <a:lnTo>
                    <a:pt x="1" y="0"/>
                  </a:lnTo>
                  <a:cubicBezTo>
                    <a:pt x="1" y="1"/>
                    <a:pt x="0" y="3"/>
                    <a:pt x="0" y="4"/>
                  </a:cubicBezTo>
                  <a:lnTo>
                    <a:pt x="2" y="3"/>
                  </a:lnTo>
                  <a:close/>
                </a:path>
              </a:pathLst>
            </a:custGeom>
            <a:solidFill>
              <a:srgbClr val="C1C1C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14" tIns="45706" rIns="91414" bIns="45706" numCol="1" anchor="t" anchorCtr="0" compatLnSpc="1">
              <a:prstTxWarp prst="textNoShape">
                <a:avLst/>
              </a:prstTxWarp>
            </a:bodyPr>
            <a:lstStyle/>
            <a:p>
              <a:pPr defTabSz="914016">
                <a:defRPr/>
              </a:pPr>
              <a:endParaRPr lang="en-US" sz="1765">
                <a:solidFill>
                  <a:srgbClr val="1A1A1A"/>
                </a:solidFill>
                <a:latin typeface="Segoe UI"/>
              </a:endParaRPr>
            </a:p>
          </p:txBody>
        </p:sp>
        <p:sp>
          <p:nvSpPr>
            <p:cNvPr id="24" name="Freeform 16">
              <a:extLst>
                <a:ext uri="{FF2B5EF4-FFF2-40B4-BE49-F238E27FC236}">
                  <a16:creationId xmlns:a16="http://schemas.microsoft.com/office/drawing/2014/main" id="{5E1756DF-95A7-462F-B897-F04ABB87BCD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14" y="2543"/>
              <a:ext cx="316" cy="317"/>
            </a:xfrm>
            <a:custGeom>
              <a:avLst/>
              <a:gdLst>
                <a:gd name="T0" fmla="*/ 146 w 213"/>
                <a:gd name="T1" fmla="*/ 108 h 213"/>
                <a:gd name="T2" fmla="*/ 134 w 213"/>
                <a:gd name="T3" fmla="*/ 134 h 213"/>
                <a:gd name="T4" fmla="*/ 106 w 213"/>
                <a:gd name="T5" fmla="*/ 146 h 213"/>
                <a:gd name="T6" fmla="*/ 79 w 213"/>
                <a:gd name="T7" fmla="*/ 134 h 213"/>
                <a:gd name="T8" fmla="*/ 67 w 213"/>
                <a:gd name="T9" fmla="*/ 108 h 213"/>
                <a:gd name="T10" fmla="*/ 70 w 213"/>
                <a:gd name="T11" fmla="*/ 91 h 213"/>
                <a:gd name="T12" fmla="*/ 79 w 213"/>
                <a:gd name="T13" fmla="*/ 78 h 213"/>
                <a:gd name="T14" fmla="*/ 106 w 213"/>
                <a:gd name="T15" fmla="*/ 67 h 213"/>
                <a:gd name="T16" fmla="*/ 134 w 213"/>
                <a:gd name="T17" fmla="*/ 78 h 213"/>
                <a:gd name="T18" fmla="*/ 143 w 213"/>
                <a:gd name="T19" fmla="*/ 91 h 213"/>
                <a:gd name="T20" fmla="*/ 146 w 213"/>
                <a:gd name="T21" fmla="*/ 108 h 213"/>
                <a:gd name="T22" fmla="*/ 212 w 213"/>
                <a:gd name="T23" fmla="*/ 83 h 213"/>
                <a:gd name="T24" fmla="*/ 187 w 213"/>
                <a:gd name="T25" fmla="*/ 48 h 213"/>
                <a:gd name="T26" fmla="*/ 160 w 213"/>
                <a:gd name="T27" fmla="*/ 47 h 213"/>
                <a:gd name="T28" fmla="*/ 127 w 213"/>
                <a:gd name="T29" fmla="*/ 0 h 213"/>
                <a:gd name="T30" fmla="*/ 108 w 213"/>
                <a:gd name="T31" fmla="*/ 27 h 213"/>
                <a:gd name="T32" fmla="*/ 105 w 213"/>
                <a:gd name="T33" fmla="*/ 27 h 213"/>
                <a:gd name="T34" fmla="*/ 86 w 213"/>
                <a:gd name="T35" fmla="*/ 0 h 213"/>
                <a:gd name="T36" fmla="*/ 48 w 213"/>
                <a:gd name="T37" fmla="*/ 28 h 213"/>
                <a:gd name="T38" fmla="*/ 48 w 213"/>
                <a:gd name="T39" fmla="*/ 53 h 213"/>
                <a:gd name="T40" fmla="*/ 16 w 213"/>
                <a:gd name="T41" fmla="*/ 45 h 213"/>
                <a:gd name="T42" fmla="*/ 2 w 213"/>
                <a:gd name="T43" fmla="*/ 81 h 213"/>
                <a:gd name="T44" fmla="*/ 27 w 213"/>
                <a:gd name="T45" fmla="*/ 102 h 213"/>
                <a:gd name="T46" fmla="*/ 27 w 213"/>
                <a:gd name="T47" fmla="*/ 106 h 213"/>
                <a:gd name="T48" fmla="*/ 27 w 213"/>
                <a:gd name="T49" fmla="*/ 108 h 213"/>
                <a:gd name="T50" fmla="*/ 0 w 213"/>
                <a:gd name="T51" fmla="*/ 127 h 213"/>
                <a:gd name="T52" fmla="*/ 48 w 213"/>
                <a:gd name="T53" fmla="*/ 160 h 213"/>
                <a:gd name="T54" fmla="*/ 46 w 213"/>
                <a:gd name="T55" fmla="*/ 196 h 213"/>
                <a:gd name="T56" fmla="*/ 103 w 213"/>
                <a:gd name="T57" fmla="*/ 186 h 213"/>
                <a:gd name="T58" fmla="*/ 106 w 213"/>
                <a:gd name="T59" fmla="*/ 186 h 213"/>
                <a:gd name="T60" fmla="*/ 110 w 213"/>
                <a:gd name="T61" fmla="*/ 186 h 213"/>
                <a:gd name="T62" fmla="*/ 167 w 213"/>
                <a:gd name="T63" fmla="*/ 196 h 213"/>
                <a:gd name="T64" fmla="*/ 165 w 213"/>
                <a:gd name="T65" fmla="*/ 160 h 213"/>
                <a:gd name="T66" fmla="*/ 213 w 213"/>
                <a:gd name="T67" fmla="*/ 127 h 213"/>
                <a:gd name="T68" fmla="*/ 186 w 213"/>
                <a:gd name="T69" fmla="*/ 108 h 213"/>
                <a:gd name="T70" fmla="*/ 186 w 213"/>
                <a:gd name="T71" fmla="*/ 106 h 213"/>
                <a:gd name="T72" fmla="*/ 186 w 213"/>
                <a:gd name="T73" fmla="*/ 102 h 213"/>
                <a:gd name="T74" fmla="*/ 212 w 213"/>
                <a:gd name="T75" fmla="*/ 83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213" h="213">
                  <a:moveTo>
                    <a:pt x="146" y="108"/>
                  </a:moveTo>
                  <a:lnTo>
                    <a:pt x="146" y="108"/>
                  </a:lnTo>
                  <a:cubicBezTo>
                    <a:pt x="146" y="112"/>
                    <a:pt x="145" y="117"/>
                    <a:pt x="143" y="122"/>
                  </a:cubicBezTo>
                  <a:cubicBezTo>
                    <a:pt x="141" y="126"/>
                    <a:pt x="138" y="130"/>
                    <a:pt x="134" y="134"/>
                  </a:cubicBezTo>
                  <a:cubicBezTo>
                    <a:pt x="131" y="138"/>
                    <a:pt x="127" y="140"/>
                    <a:pt x="122" y="142"/>
                  </a:cubicBezTo>
                  <a:cubicBezTo>
                    <a:pt x="117" y="145"/>
                    <a:pt x="112" y="146"/>
                    <a:pt x="106" y="146"/>
                  </a:cubicBezTo>
                  <a:cubicBezTo>
                    <a:pt x="101" y="146"/>
                    <a:pt x="96" y="145"/>
                    <a:pt x="91" y="142"/>
                  </a:cubicBezTo>
                  <a:cubicBezTo>
                    <a:pt x="86" y="140"/>
                    <a:pt x="82" y="138"/>
                    <a:pt x="79" y="134"/>
                  </a:cubicBezTo>
                  <a:cubicBezTo>
                    <a:pt x="75" y="130"/>
                    <a:pt x="72" y="126"/>
                    <a:pt x="70" y="122"/>
                  </a:cubicBezTo>
                  <a:cubicBezTo>
                    <a:pt x="68" y="117"/>
                    <a:pt x="67" y="112"/>
                    <a:pt x="67" y="108"/>
                  </a:cubicBezTo>
                  <a:cubicBezTo>
                    <a:pt x="67" y="107"/>
                    <a:pt x="67" y="107"/>
                    <a:pt x="67" y="106"/>
                  </a:cubicBezTo>
                  <a:cubicBezTo>
                    <a:pt x="67" y="101"/>
                    <a:pt x="68" y="96"/>
                    <a:pt x="70" y="91"/>
                  </a:cubicBezTo>
                  <a:cubicBezTo>
                    <a:pt x="72" y="87"/>
                    <a:pt x="74" y="84"/>
                    <a:pt x="76" y="81"/>
                  </a:cubicBezTo>
                  <a:cubicBezTo>
                    <a:pt x="77" y="80"/>
                    <a:pt x="78" y="79"/>
                    <a:pt x="79" y="78"/>
                  </a:cubicBezTo>
                  <a:cubicBezTo>
                    <a:pt x="82" y="75"/>
                    <a:pt x="86" y="72"/>
                    <a:pt x="91" y="70"/>
                  </a:cubicBezTo>
                  <a:cubicBezTo>
                    <a:pt x="96" y="68"/>
                    <a:pt x="101" y="67"/>
                    <a:pt x="106" y="67"/>
                  </a:cubicBezTo>
                  <a:cubicBezTo>
                    <a:pt x="112" y="67"/>
                    <a:pt x="117" y="68"/>
                    <a:pt x="122" y="70"/>
                  </a:cubicBezTo>
                  <a:cubicBezTo>
                    <a:pt x="127" y="72"/>
                    <a:pt x="131" y="75"/>
                    <a:pt x="134" y="78"/>
                  </a:cubicBezTo>
                  <a:cubicBezTo>
                    <a:pt x="135" y="79"/>
                    <a:pt x="136" y="80"/>
                    <a:pt x="136" y="81"/>
                  </a:cubicBezTo>
                  <a:cubicBezTo>
                    <a:pt x="139" y="84"/>
                    <a:pt x="141" y="87"/>
                    <a:pt x="143" y="91"/>
                  </a:cubicBezTo>
                  <a:cubicBezTo>
                    <a:pt x="145" y="96"/>
                    <a:pt x="146" y="101"/>
                    <a:pt x="146" y="106"/>
                  </a:cubicBezTo>
                  <a:cubicBezTo>
                    <a:pt x="146" y="107"/>
                    <a:pt x="146" y="107"/>
                    <a:pt x="146" y="108"/>
                  </a:cubicBezTo>
                  <a:close/>
                  <a:moveTo>
                    <a:pt x="212" y="83"/>
                  </a:moveTo>
                  <a:lnTo>
                    <a:pt x="212" y="83"/>
                  </a:lnTo>
                  <a:lnTo>
                    <a:pt x="196" y="45"/>
                  </a:lnTo>
                  <a:lnTo>
                    <a:pt x="187" y="48"/>
                  </a:lnTo>
                  <a:lnTo>
                    <a:pt x="165" y="53"/>
                  </a:lnTo>
                  <a:cubicBezTo>
                    <a:pt x="164" y="51"/>
                    <a:pt x="162" y="49"/>
                    <a:pt x="160" y="47"/>
                  </a:cubicBezTo>
                  <a:lnTo>
                    <a:pt x="167" y="16"/>
                  </a:lnTo>
                  <a:lnTo>
                    <a:pt x="127" y="0"/>
                  </a:lnTo>
                  <a:lnTo>
                    <a:pt x="110" y="27"/>
                  </a:lnTo>
                  <a:cubicBezTo>
                    <a:pt x="110" y="27"/>
                    <a:pt x="109" y="27"/>
                    <a:pt x="108" y="27"/>
                  </a:cubicBezTo>
                  <a:cubicBezTo>
                    <a:pt x="108" y="27"/>
                    <a:pt x="107" y="27"/>
                    <a:pt x="106" y="27"/>
                  </a:cubicBezTo>
                  <a:cubicBezTo>
                    <a:pt x="106" y="27"/>
                    <a:pt x="105" y="27"/>
                    <a:pt x="105" y="27"/>
                  </a:cubicBezTo>
                  <a:cubicBezTo>
                    <a:pt x="104" y="27"/>
                    <a:pt x="103" y="27"/>
                    <a:pt x="103" y="27"/>
                  </a:cubicBezTo>
                  <a:lnTo>
                    <a:pt x="86" y="0"/>
                  </a:lnTo>
                  <a:lnTo>
                    <a:pt x="46" y="16"/>
                  </a:lnTo>
                  <a:lnTo>
                    <a:pt x="48" y="28"/>
                  </a:lnTo>
                  <a:lnTo>
                    <a:pt x="53" y="47"/>
                  </a:lnTo>
                  <a:cubicBezTo>
                    <a:pt x="51" y="49"/>
                    <a:pt x="49" y="51"/>
                    <a:pt x="48" y="53"/>
                  </a:cubicBezTo>
                  <a:lnTo>
                    <a:pt x="27" y="48"/>
                  </a:lnTo>
                  <a:lnTo>
                    <a:pt x="16" y="45"/>
                  </a:lnTo>
                  <a:lnTo>
                    <a:pt x="13" y="54"/>
                  </a:lnTo>
                  <a:lnTo>
                    <a:pt x="2" y="81"/>
                  </a:lnTo>
                  <a:lnTo>
                    <a:pt x="0" y="86"/>
                  </a:lnTo>
                  <a:lnTo>
                    <a:pt x="27" y="102"/>
                  </a:lnTo>
                  <a:cubicBezTo>
                    <a:pt x="27" y="103"/>
                    <a:pt x="27" y="104"/>
                    <a:pt x="27" y="104"/>
                  </a:cubicBezTo>
                  <a:cubicBezTo>
                    <a:pt x="27" y="105"/>
                    <a:pt x="27" y="106"/>
                    <a:pt x="27" y="106"/>
                  </a:cubicBezTo>
                  <a:cubicBezTo>
                    <a:pt x="27" y="107"/>
                    <a:pt x="27" y="107"/>
                    <a:pt x="27" y="108"/>
                  </a:cubicBezTo>
                  <a:cubicBezTo>
                    <a:pt x="27" y="108"/>
                    <a:pt x="27" y="108"/>
                    <a:pt x="27" y="108"/>
                  </a:cubicBezTo>
                  <a:cubicBezTo>
                    <a:pt x="27" y="109"/>
                    <a:pt x="27" y="109"/>
                    <a:pt x="27" y="110"/>
                  </a:cubicBezTo>
                  <a:lnTo>
                    <a:pt x="0" y="127"/>
                  </a:lnTo>
                  <a:lnTo>
                    <a:pt x="16" y="167"/>
                  </a:lnTo>
                  <a:lnTo>
                    <a:pt x="48" y="160"/>
                  </a:lnTo>
                  <a:cubicBezTo>
                    <a:pt x="49" y="162"/>
                    <a:pt x="51" y="163"/>
                    <a:pt x="53" y="165"/>
                  </a:cubicBezTo>
                  <a:lnTo>
                    <a:pt x="46" y="196"/>
                  </a:lnTo>
                  <a:lnTo>
                    <a:pt x="86" y="213"/>
                  </a:lnTo>
                  <a:lnTo>
                    <a:pt x="103" y="186"/>
                  </a:lnTo>
                  <a:cubicBezTo>
                    <a:pt x="103" y="186"/>
                    <a:pt x="104" y="186"/>
                    <a:pt x="105" y="186"/>
                  </a:cubicBezTo>
                  <a:cubicBezTo>
                    <a:pt x="105" y="186"/>
                    <a:pt x="106" y="186"/>
                    <a:pt x="106" y="186"/>
                  </a:cubicBezTo>
                  <a:cubicBezTo>
                    <a:pt x="107" y="186"/>
                    <a:pt x="108" y="186"/>
                    <a:pt x="108" y="186"/>
                  </a:cubicBezTo>
                  <a:cubicBezTo>
                    <a:pt x="109" y="186"/>
                    <a:pt x="110" y="186"/>
                    <a:pt x="110" y="186"/>
                  </a:cubicBezTo>
                  <a:lnTo>
                    <a:pt x="127" y="213"/>
                  </a:lnTo>
                  <a:lnTo>
                    <a:pt x="167" y="196"/>
                  </a:lnTo>
                  <a:lnTo>
                    <a:pt x="160" y="165"/>
                  </a:lnTo>
                  <a:cubicBezTo>
                    <a:pt x="162" y="163"/>
                    <a:pt x="164" y="162"/>
                    <a:pt x="165" y="160"/>
                  </a:cubicBezTo>
                  <a:lnTo>
                    <a:pt x="196" y="167"/>
                  </a:lnTo>
                  <a:lnTo>
                    <a:pt x="213" y="127"/>
                  </a:lnTo>
                  <a:lnTo>
                    <a:pt x="186" y="110"/>
                  </a:lnTo>
                  <a:cubicBezTo>
                    <a:pt x="186" y="109"/>
                    <a:pt x="186" y="109"/>
                    <a:pt x="186" y="108"/>
                  </a:cubicBezTo>
                  <a:cubicBezTo>
                    <a:pt x="186" y="108"/>
                    <a:pt x="186" y="107"/>
                    <a:pt x="186" y="107"/>
                  </a:cubicBezTo>
                  <a:cubicBezTo>
                    <a:pt x="186" y="107"/>
                    <a:pt x="186" y="106"/>
                    <a:pt x="186" y="106"/>
                  </a:cubicBezTo>
                  <a:cubicBezTo>
                    <a:pt x="186" y="106"/>
                    <a:pt x="186" y="105"/>
                    <a:pt x="186" y="104"/>
                  </a:cubicBezTo>
                  <a:cubicBezTo>
                    <a:pt x="186" y="104"/>
                    <a:pt x="186" y="103"/>
                    <a:pt x="186" y="102"/>
                  </a:cubicBezTo>
                  <a:lnTo>
                    <a:pt x="211" y="87"/>
                  </a:lnTo>
                  <a:cubicBezTo>
                    <a:pt x="211" y="86"/>
                    <a:pt x="212" y="84"/>
                    <a:pt x="212" y="83"/>
                  </a:cubicBezTo>
                  <a:close/>
                </a:path>
              </a:pathLst>
            </a:custGeom>
            <a:solidFill>
              <a:schemeClr val="tx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14" tIns="45706" rIns="91414" bIns="45706" numCol="1" anchor="t" anchorCtr="0" compatLnSpc="1">
              <a:prstTxWarp prst="textNoShape">
                <a:avLst/>
              </a:prstTxWarp>
            </a:bodyPr>
            <a:lstStyle/>
            <a:p>
              <a:pPr defTabSz="914016">
                <a:defRPr/>
              </a:pPr>
              <a:endParaRPr lang="en-US" sz="1765">
                <a:solidFill>
                  <a:srgbClr val="1A1A1A"/>
                </a:solidFill>
                <a:latin typeface="Segoe UI"/>
              </a:endParaRPr>
            </a:p>
          </p:txBody>
        </p:sp>
        <p:sp>
          <p:nvSpPr>
            <p:cNvPr id="25" name="Freeform 17">
              <a:extLst>
                <a:ext uri="{FF2B5EF4-FFF2-40B4-BE49-F238E27FC236}">
                  <a16:creationId xmlns:a16="http://schemas.microsoft.com/office/drawing/2014/main" id="{EDB27DE5-9079-42B5-9A46-56DA2B837A40}"/>
                </a:ext>
              </a:extLst>
            </p:cNvPr>
            <p:cNvSpPr>
              <a:spLocks/>
            </p:cNvSpPr>
            <p:nvPr/>
          </p:nvSpPr>
          <p:spPr bwMode="auto">
            <a:xfrm>
              <a:off x="1753" y="2681"/>
              <a:ext cx="38" cy="39"/>
            </a:xfrm>
            <a:custGeom>
              <a:avLst/>
              <a:gdLst>
                <a:gd name="T0" fmla="*/ 21 w 25"/>
                <a:gd name="T1" fmla="*/ 4 h 26"/>
                <a:gd name="T2" fmla="*/ 21 w 25"/>
                <a:gd name="T3" fmla="*/ 4 h 26"/>
                <a:gd name="T4" fmla="*/ 17 w 25"/>
                <a:gd name="T5" fmla="*/ 1 h 26"/>
                <a:gd name="T6" fmla="*/ 12 w 25"/>
                <a:gd name="T7" fmla="*/ 0 h 26"/>
                <a:gd name="T8" fmla="*/ 8 w 25"/>
                <a:gd name="T9" fmla="*/ 1 h 26"/>
                <a:gd name="T10" fmla="*/ 3 w 25"/>
                <a:gd name="T11" fmla="*/ 4 h 26"/>
                <a:gd name="T12" fmla="*/ 1 w 25"/>
                <a:gd name="T13" fmla="*/ 8 h 26"/>
                <a:gd name="T14" fmla="*/ 0 w 25"/>
                <a:gd name="T15" fmla="*/ 13 h 26"/>
                <a:gd name="T16" fmla="*/ 0 w 25"/>
                <a:gd name="T17" fmla="*/ 15 h 26"/>
                <a:gd name="T18" fmla="*/ 1 w 25"/>
                <a:gd name="T19" fmla="*/ 18 h 26"/>
                <a:gd name="T20" fmla="*/ 3 w 25"/>
                <a:gd name="T21" fmla="*/ 22 h 26"/>
                <a:gd name="T22" fmla="*/ 8 w 25"/>
                <a:gd name="T23" fmla="*/ 25 h 26"/>
                <a:gd name="T24" fmla="*/ 12 w 25"/>
                <a:gd name="T25" fmla="*/ 26 h 26"/>
                <a:gd name="T26" fmla="*/ 17 w 25"/>
                <a:gd name="T27" fmla="*/ 25 h 26"/>
                <a:gd name="T28" fmla="*/ 21 w 25"/>
                <a:gd name="T29" fmla="*/ 22 h 26"/>
                <a:gd name="T30" fmla="*/ 24 w 25"/>
                <a:gd name="T31" fmla="*/ 18 h 26"/>
                <a:gd name="T32" fmla="*/ 25 w 25"/>
                <a:gd name="T33" fmla="*/ 15 h 26"/>
                <a:gd name="T34" fmla="*/ 25 w 25"/>
                <a:gd name="T35" fmla="*/ 13 h 26"/>
                <a:gd name="T36" fmla="*/ 24 w 25"/>
                <a:gd name="T37" fmla="*/ 8 h 26"/>
                <a:gd name="T38" fmla="*/ 21 w 25"/>
                <a:gd name="T39" fmla="*/ 4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25" h="26">
                  <a:moveTo>
                    <a:pt x="21" y="4"/>
                  </a:moveTo>
                  <a:lnTo>
                    <a:pt x="21" y="4"/>
                  </a:lnTo>
                  <a:cubicBezTo>
                    <a:pt x="20" y="3"/>
                    <a:pt x="19" y="2"/>
                    <a:pt x="17" y="1"/>
                  </a:cubicBezTo>
                  <a:cubicBezTo>
                    <a:pt x="16" y="1"/>
                    <a:pt x="14" y="0"/>
                    <a:pt x="12" y="0"/>
                  </a:cubicBezTo>
                  <a:cubicBezTo>
                    <a:pt x="11" y="0"/>
                    <a:pt x="9" y="1"/>
                    <a:pt x="8" y="1"/>
                  </a:cubicBezTo>
                  <a:cubicBezTo>
                    <a:pt x="6" y="2"/>
                    <a:pt x="5" y="3"/>
                    <a:pt x="3" y="4"/>
                  </a:cubicBezTo>
                  <a:cubicBezTo>
                    <a:pt x="2" y="5"/>
                    <a:pt x="1" y="7"/>
                    <a:pt x="1" y="8"/>
                  </a:cubicBezTo>
                  <a:cubicBezTo>
                    <a:pt x="0" y="10"/>
                    <a:pt x="0" y="11"/>
                    <a:pt x="0" y="13"/>
                  </a:cubicBezTo>
                  <a:cubicBezTo>
                    <a:pt x="0" y="14"/>
                    <a:pt x="0" y="14"/>
                    <a:pt x="0" y="15"/>
                  </a:cubicBezTo>
                  <a:cubicBezTo>
                    <a:pt x="0" y="16"/>
                    <a:pt x="0" y="17"/>
                    <a:pt x="1" y="18"/>
                  </a:cubicBezTo>
                  <a:cubicBezTo>
                    <a:pt x="1" y="20"/>
                    <a:pt x="2" y="21"/>
                    <a:pt x="3" y="22"/>
                  </a:cubicBezTo>
                  <a:cubicBezTo>
                    <a:pt x="5" y="23"/>
                    <a:pt x="6" y="24"/>
                    <a:pt x="8" y="25"/>
                  </a:cubicBezTo>
                  <a:cubicBezTo>
                    <a:pt x="9" y="26"/>
                    <a:pt x="11" y="26"/>
                    <a:pt x="12" y="26"/>
                  </a:cubicBezTo>
                  <a:cubicBezTo>
                    <a:pt x="14" y="26"/>
                    <a:pt x="16" y="26"/>
                    <a:pt x="17" y="25"/>
                  </a:cubicBezTo>
                  <a:cubicBezTo>
                    <a:pt x="19" y="24"/>
                    <a:pt x="20" y="23"/>
                    <a:pt x="21" y="22"/>
                  </a:cubicBezTo>
                  <a:cubicBezTo>
                    <a:pt x="23" y="21"/>
                    <a:pt x="24" y="20"/>
                    <a:pt x="24" y="18"/>
                  </a:cubicBezTo>
                  <a:cubicBezTo>
                    <a:pt x="25" y="17"/>
                    <a:pt x="25" y="16"/>
                    <a:pt x="25" y="15"/>
                  </a:cubicBezTo>
                  <a:cubicBezTo>
                    <a:pt x="25" y="14"/>
                    <a:pt x="25" y="14"/>
                    <a:pt x="25" y="13"/>
                  </a:cubicBezTo>
                  <a:cubicBezTo>
                    <a:pt x="25" y="11"/>
                    <a:pt x="25" y="10"/>
                    <a:pt x="24" y="8"/>
                  </a:cubicBezTo>
                  <a:cubicBezTo>
                    <a:pt x="24" y="7"/>
                    <a:pt x="23" y="5"/>
                    <a:pt x="21" y="4"/>
                  </a:cubicBezTo>
                  <a:close/>
                </a:path>
              </a:pathLst>
            </a:custGeom>
            <a:solidFill>
              <a:srgbClr val="0078D4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14" tIns="45706" rIns="91414" bIns="45706" numCol="1" anchor="t" anchorCtr="0" compatLnSpc="1">
              <a:prstTxWarp prst="textNoShape">
                <a:avLst/>
              </a:prstTxWarp>
            </a:bodyPr>
            <a:lstStyle/>
            <a:p>
              <a:pPr defTabSz="914016">
                <a:defRPr/>
              </a:pPr>
              <a:endParaRPr lang="en-US" sz="1765">
                <a:solidFill>
                  <a:srgbClr val="1A1A1A"/>
                </a:solidFill>
                <a:latin typeface="Segoe UI"/>
              </a:endParaRPr>
            </a:p>
          </p:txBody>
        </p:sp>
      </p:grpSp>
      <p:grpSp>
        <p:nvGrpSpPr>
          <p:cNvPr id="26" name="Group 25">
            <a:extLst>
              <a:ext uri="{FF2B5EF4-FFF2-40B4-BE49-F238E27FC236}">
                <a16:creationId xmlns:a16="http://schemas.microsoft.com/office/drawing/2014/main" id="{2EE889BD-F530-4881-8050-B1611A26055C}"/>
              </a:ext>
            </a:extLst>
          </p:cNvPr>
          <p:cNvGrpSpPr/>
          <p:nvPr/>
        </p:nvGrpSpPr>
        <p:grpSpPr>
          <a:xfrm>
            <a:off x="2511374" y="4734619"/>
            <a:ext cx="1322884" cy="578051"/>
            <a:chOff x="1671603" y="4900917"/>
            <a:chExt cx="1323259" cy="578215"/>
          </a:xfrm>
        </p:grpSpPr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4F509B40-7AC1-459F-8721-026834B9E3BE}"/>
                </a:ext>
              </a:extLst>
            </p:cNvPr>
            <p:cNvGrpSpPr/>
            <p:nvPr/>
          </p:nvGrpSpPr>
          <p:grpSpPr>
            <a:xfrm>
              <a:off x="1671603" y="4900917"/>
              <a:ext cx="627183" cy="578215"/>
              <a:chOff x="2501959" y="5037105"/>
              <a:chExt cx="627183" cy="578215"/>
            </a:xfrm>
          </p:grpSpPr>
          <p:sp>
            <p:nvSpPr>
              <p:cNvPr id="34" name="Freeform 5">
                <a:extLst>
                  <a:ext uri="{FF2B5EF4-FFF2-40B4-BE49-F238E27FC236}">
                    <a16:creationId xmlns:a16="http://schemas.microsoft.com/office/drawing/2014/main" id="{106C5096-2551-4FF8-B4B8-589FE87B17E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01959" y="5037105"/>
                <a:ext cx="627183" cy="578215"/>
              </a:xfrm>
              <a:custGeom>
                <a:avLst/>
                <a:gdLst>
                  <a:gd name="T0" fmla="*/ 0 w 426"/>
                  <a:gd name="T1" fmla="*/ 12 h 333"/>
                  <a:gd name="T2" fmla="*/ 0 w 426"/>
                  <a:gd name="T3" fmla="*/ 12 h 333"/>
                  <a:gd name="T4" fmla="*/ 0 w 426"/>
                  <a:gd name="T5" fmla="*/ 255 h 333"/>
                  <a:gd name="T6" fmla="*/ 12 w 426"/>
                  <a:gd name="T7" fmla="*/ 268 h 333"/>
                  <a:gd name="T8" fmla="*/ 195 w 426"/>
                  <a:gd name="T9" fmla="*/ 268 h 333"/>
                  <a:gd name="T10" fmla="*/ 195 w 426"/>
                  <a:gd name="T11" fmla="*/ 306 h 333"/>
                  <a:gd name="T12" fmla="*/ 130 w 426"/>
                  <a:gd name="T13" fmla="*/ 306 h 333"/>
                  <a:gd name="T14" fmla="*/ 130 w 426"/>
                  <a:gd name="T15" fmla="*/ 333 h 333"/>
                  <a:gd name="T16" fmla="*/ 293 w 426"/>
                  <a:gd name="T17" fmla="*/ 333 h 333"/>
                  <a:gd name="T18" fmla="*/ 293 w 426"/>
                  <a:gd name="T19" fmla="*/ 306 h 333"/>
                  <a:gd name="T20" fmla="*/ 228 w 426"/>
                  <a:gd name="T21" fmla="*/ 306 h 333"/>
                  <a:gd name="T22" fmla="*/ 228 w 426"/>
                  <a:gd name="T23" fmla="*/ 268 h 333"/>
                  <a:gd name="T24" fmla="*/ 413 w 426"/>
                  <a:gd name="T25" fmla="*/ 268 h 333"/>
                  <a:gd name="T26" fmla="*/ 426 w 426"/>
                  <a:gd name="T27" fmla="*/ 255 h 333"/>
                  <a:gd name="T28" fmla="*/ 426 w 426"/>
                  <a:gd name="T29" fmla="*/ 12 h 333"/>
                  <a:gd name="T30" fmla="*/ 413 w 426"/>
                  <a:gd name="T31" fmla="*/ 0 h 333"/>
                  <a:gd name="T32" fmla="*/ 12 w 426"/>
                  <a:gd name="T33" fmla="*/ 0 h 333"/>
                  <a:gd name="T34" fmla="*/ 0 w 426"/>
                  <a:gd name="T35" fmla="*/ 12 h 3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426" h="333">
                    <a:moveTo>
                      <a:pt x="0" y="12"/>
                    </a:moveTo>
                    <a:lnTo>
                      <a:pt x="0" y="12"/>
                    </a:lnTo>
                    <a:lnTo>
                      <a:pt x="0" y="255"/>
                    </a:lnTo>
                    <a:cubicBezTo>
                      <a:pt x="0" y="262"/>
                      <a:pt x="5" y="268"/>
                      <a:pt x="12" y="268"/>
                    </a:cubicBezTo>
                    <a:lnTo>
                      <a:pt x="195" y="268"/>
                    </a:lnTo>
                    <a:lnTo>
                      <a:pt x="195" y="306"/>
                    </a:lnTo>
                    <a:lnTo>
                      <a:pt x="130" y="306"/>
                    </a:lnTo>
                    <a:lnTo>
                      <a:pt x="130" y="333"/>
                    </a:lnTo>
                    <a:lnTo>
                      <a:pt x="293" y="333"/>
                    </a:lnTo>
                    <a:lnTo>
                      <a:pt x="293" y="306"/>
                    </a:lnTo>
                    <a:lnTo>
                      <a:pt x="228" y="306"/>
                    </a:lnTo>
                    <a:lnTo>
                      <a:pt x="228" y="268"/>
                    </a:lnTo>
                    <a:lnTo>
                      <a:pt x="413" y="268"/>
                    </a:lnTo>
                    <a:cubicBezTo>
                      <a:pt x="420" y="268"/>
                      <a:pt x="426" y="262"/>
                      <a:pt x="426" y="255"/>
                    </a:cubicBezTo>
                    <a:lnTo>
                      <a:pt x="426" y="12"/>
                    </a:lnTo>
                    <a:cubicBezTo>
                      <a:pt x="426" y="5"/>
                      <a:pt x="420" y="0"/>
                      <a:pt x="413" y="0"/>
                    </a:cubicBezTo>
                    <a:lnTo>
                      <a:pt x="12" y="0"/>
                    </a:lnTo>
                    <a:cubicBezTo>
                      <a:pt x="5" y="0"/>
                      <a:pt x="0" y="5"/>
                      <a:pt x="0" y="12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1905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14" tIns="45706" rIns="91414" bIns="45706" numCol="1" anchor="t" anchorCtr="0" compatLnSpc="1">
                <a:prstTxWarp prst="textNoShape">
                  <a:avLst/>
                </a:prstTxWarp>
              </a:bodyPr>
              <a:lstStyle/>
              <a:p>
                <a:pPr defTabSz="914016">
                  <a:defRPr/>
                </a:pPr>
                <a:endParaRPr lang="en-US" sz="1765">
                  <a:solidFill>
                    <a:srgbClr val="1A1A1A"/>
                  </a:solidFill>
                  <a:latin typeface="Segoe UI"/>
                </a:endParaRPr>
              </a:p>
            </p:txBody>
          </p:sp>
          <p:pic>
            <p:nvPicPr>
              <p:cNvPr id="35" name="Picture 34">
                <a:extLst>
                  <a:ext uri="{FF2B5EF4-FFF2-40B4-BE49-F238E27FC236}">
                    <a16:creationId xmlns:a16="http://schemas.microsoft.com/office/drawing/2014/main" id="{4C4B7162-7B50-4C28-8A1F-6412FC862E3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2667438" y="5132878"/>
                <a:ext cx="279838" cy="302928"/>
              </a:xfrm>
              <a:prstGeom prst="rect">
                <a:avLst/>
              </a:prstGeom>
            </p:spPr>
          </p:pic>
        </p:grpSp>
        <p:grpSp>
          <p:nvGrpSpPr>
            <p:cNvPr id="29" name="Group 28">
              <a:extLst>
                <a:ext uri="{FF2B5EF4-FFF2-40B4-BE49-F238E27FC236}">
                  <a16:creationId xmlns:a16="http://schemas.microsoft.com/office/drawing/2014/main" id="{65AB3586-9AE9-461F-8289-D8A2B226EC08}"/>
                </a:ext>
              </a:extLst>
            </p:cNvPr>
            <p:cNvGrpSpPr/>
            <p:nvPr/>
          </p:nvGrpSpPr>
          <p:grpSpPr>
            <a:xfrm>
              <a:off x="2367679" y="4900917"/>
              <a:ext cx="627183" cy="578215"/>
              <a:chOff x="2501959" y="5037105"/>
              <a:chExt cx="627183" cy="578215"/>
            </a:xfrm>
          </p:grpSpPr>
          <p:sp>
            <p:nvSpPr>
              <p:cNvPr id="30" name="Freeform 5">
                <a:extLst>
                  <a:ext uri="{FF2B5EF4-FFF2-40B4-BE49-F238E27FC236}">
                    <a16:creationId xmlns:a16="http://schemas.microsoft.com/office/drawing/2014/main" id="{0580E11C-FEE3-4436-B666-F05B6F08398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01959" y="5037105"/>
                <a:ext cx="627183" cy="578215"/>
              </a:xfrm>
              <a:custGeom>
                <a:avLst/>
                <a:gdLst>
                  <a:gd name="T0" fmla="*/ 0 w 426"/>
                  <a:gd name="T1" fmla="*/ 12 h 333"/>
                  <a:gd name="T2" fmla="*/ 0 w 426"/>
                  <a:gd name="T3" fmla="*/ 12 h 333"/>
                  <a:gd name="T4" fmla="*/ 0 w 426"/>
                  <a:gd name="T5" fmla="*/ 255 h 333"/>
                  <a:gd name="T6" fmla="*/ 12 w 426"/>
                  <a:gd name="T7" fmla="*/ 268 h 333"/>
                  <a:gd name="T8" fmla="*/ 195 w 426"/>
                  <a:gd name="T9" fmla="*/ 268 h 333"/>
                  <a:gd name="T10" fmla="*/ 195 w 426"/>
                  <a:gd name="T11" fmla="*/ 306 h 333"/>
                  <a:gd name="T12" fmla="*/ 130 w 426"/>
                  <a:gd name="T13" fmla="*/ 306 h 333"/>
                  <a:gd name="T14" fmla="*/ 130 w 426"/>
                  <a:gd name="T15" fmla="*/ 333 h 333"/>
                  <a:gd name="T16" fmla="*/ 293 w 426"/>
                  <a:gd name="T17" fmla="*/ 333 h 333"/>
                  <a:gd name="T18" fmla="*/ 293 w 426"/>
                  <a:gd name="T19" fmla="*/ 306 h 333"/>
                  <a:gd name="T20" fmla="*/ 228 w 426"/>
                  <a:gd name="T21" fmla="*/ 306 h 333"/>
                  <a:gd name="T22" fmla="*/ 228 w 426"/>
                  <a:gd name="T23" fmla="*/ 268 h 333"/>
                  <a:gd name="T24" fmla="*/ 413 w 426"/>
                  <a:gd name="T25" fmla="*/ 268 h 333"/>
                  <a:gd name="T26" fmla="*/ 426 w 426"/>
                  <a:gd name="T27" fmla="*/ 255 h 333"/>
                  <a:gd name="T28" fmla="*/ 426 w 426"/>
                  <a:gd name="T29" fmla="*/ 12 h 333"/>
                  <a:gd name="T30" fmla="*/ 413 w 426"/>
                  <a:gd name="T31" fmla="*/ 0 h 333"/>
                  <a:gd name="T32" fmla="*/ 12 w 426"/>
                  <a:gd name="T33" fmla="*/ 0 h 333"/>
                  <a:gd name="T34" fmla="*/ 0 w 426"/>
                  <a:gd name="T35" fmla="*/ 12 h 3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426" h="333">
                    <a:moveTo>
                      <a:pt x="0" y="12"/>
                    </a:moveTo>
                    <a:lnTo>
                      <a:pt x="0" y="12"/>
                    </a:lnTo>
                    <a:lnTo>
                      <a:pt x="0" y="255"/>
                    </a:lnTo>
                    <a:cubicBezTo>
                      <a:pt x="0" y="262"/>
                      <a:pt x="5" y="268"/>
                      <a:pt x="12" y="268"/>
                    </a:cubicBezTo>
                    <a:lnTo>
                      <a:pt x="195" y="268"/>
                    </a:lnTo>
                    <a:lnTo>
                      <a:pt x="195" y="306"/>
                    </a:lnTo>
                    <a:lnTo>
                      <a:pt x="130" y="306"/>
                    </a:lnTo>
                    <a:lnTo>
                      <a:pt x="130" y="333"/>
                    </a:lnTo>
                    <a:lnTo>
                      <a:pt x="293" y="333"/>
                    </a:lnTo>
                    <a:lnTo>
                      <a:pt x="293" y="306"/>
                    </a:lnTo>
                    <a:lnTo>
                      <a:pt x="228" y="306"/>
                    </a:lnTo>
                    <a:lnTo>
                      <a:pt x="228" y="268"/>
                    </a:lnTo>
                    <a:lnTo>
                      <a:pt x="413" y="268"/>
                    </a:lnTo>
                    <a:cubicBezTo>
                      <a:pt x="420" y="268"/>
                      <a:pt x="426" y="262"/>
                      <a:pt x="426" y="255"/>
                    </a:cubicBezTo>
                    <a:lnTo>
                      <a:pt x="426" y="12"/>
                    </a:lnTo>
                    <a:cubicBezTo>
                      <a:pt x="426" y="5"/>
                      <a:pt x="420" y="0"/>
                      <a:pt x="413" y="0"/>
                    </a:cubicBezTo>
                    <a:lnTo>
                      <a:pt x="12" y="0"/>
                    </a:lnTo>
                    <a:cubicBezTo>
                      <a:pt x="5" y="0"/>
                      <a:pt x="0" y="5"/>
                      <a:pt x="0" y="12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1905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14" tIns="45706" rIns="91414" bIns="45706" numCol="1" anchor="t" anchorCtr="0" compatLnSpc="1">
                <a:prstTxWarp prst="textNoShape">
                  <a:avLst/>
                </a:prstTxWarp>
              </a:bodyPr>
              <a:lstStyle/>
              <a:p>
                <a:pPr defTabSz="914016">
                  <a:defRPr/>
                </a:pPr>
                <a:endParaRPr lang="en-US" sz="1765">
                  <a:solidFill>
                    <a:srgbClr val="1A1A1A"/>
                  </a:solidFill>
                  <a:latin typeface="Segoe UI"/>
                </a:endParaRPr>
              </a:p>
            </p:txBody>
          </p:sp>
          <p:pic>
            <p:nvPicPr>
              <p:cNvPr id="31" name="Picture 30">
                <a:extLst>
                  <a:ext uri="{FF2B5EF4-FFF2-40B4-BE49-F238E27FC236}">
                    <a16:creationId xmlns:a16="http://schemas.microsoft.com/office/drawing/2014/main" id="{72A11EB0-80BF-46A5-8543-9D494ACF037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2681505" y="5132878"/>
                <a:ext cx="256062" cy="275758"/>
              </a:xfrm>
              <a:prstGeom prst="rect">
                <a:avLst/>
              </a:prstGeom>
            </p:spPr>
          </p:pic>
        </p:grpSp>
      </p:grpSp>
      <p:sp>
        <p:nvSpPr>
          <p:cNvPr id="51" name="Text Placeholder 4">
            <a:extLst>
              <a:ext uri="{FF2B5EF4-FFF2-40B4-BE49-F238E27FC236}">
                <a16:creationId xmlns:a16="http://schemas.microsoft.com/office/drawing/2014/main" id="{CA1426B1-F541-43D0-B30C-00CB61A270EE}"/>
              </a:ext>
            </a:extLst>
          </p:cNvPr>
          <p:cNvSpPr txBox="1">
            <a:spLocks/>
          </p:cNvSpPr>
          <p:nvPr/>
        </p:nvSpPr>
        <p:spPr>
          <a:xfrm>
            <a:off x="7035512" y="856719"/>
            <a:ext cx="4309369" cy="5144564"/>
          </a:xfrm>
          <a:prstGeom prst="rect">
            <a:avLst/>
          </a:prstGeom>
        </p:spPr>
        <p:txBody>
          <a:bodyPr anchor="ctr"/>
          <a:lstStyle>
            <a:lvl1pPr marL="228600" marR="0" indent="-22860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28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defRPr>
            </a:lvl1pPr>
            <a:lvl2pPr marL="457200" marR="0" indent="-22860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20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657225" marR="0" indent="-20002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16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842963" marR="0" indent="-18097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14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1023938" marR="0" indent="-16827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14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896181" fontAlgn="base">
              <a:spcBef>
                <a:spcPct val="0"/>
              </a:spcBef>
              <a:spcAft>
                <a:spcPct val="0"/>
              </a:spcAft>
              <a:buSzTx/>
              <a:buNone/>
            </a:pPr>
            <a:r>
              <a:rPr lang="en-US" altLang="en-US" sz="1961" dirty="0">
                <a:solidFill>
                  <a:srgbClr val="0070C0"/>
                </a:solidFill>
                <a:latin typeface="Segoe UI"/>
              </a:rPr>
              <a:t>Deploy and configure </a:t>
            </a:r>
            <a:r>
              <a:rPr lang="en-US" altLang="en-US" sz="1961" dirty="0">
                <a:solidFill>
                  <a:prstClr val="black"/>
                </a:solidFill>
                <a:latin typeface="Segoe UI"/>
              </a:rPr>
              <a:t>the Azure Migrate appliance for VMware and complete server discovery</a:t>
            </a:r>
          </a:p>
          <a:p>
            <a:pPr marL="0" indent="0" defTabSz="896181" fontAlgn="base">
              <a:spcBef>
                <a:spcPct val="0"/>
              </a:spcBef>
              <a:spcAft>
                <a:spcPct val="0"/>
              </a:spcAft>
              <a:buSzTx/>
              <a:buNone/>
            </a:pPr>
            <a:endParaRPr lang="en-US" altLang="en-US" sz="1961" dirty="0">
              <a:solidFill>
                <a:prstClr val="black"/>
              </a:solidFill>
              <a:latin typeface="Segoe UI"/>
            </a:endParaRPr>
          </a:p>
          <a:p>
            <a:pPr marL="0" indent="0" defTabSz="896181" fontAlgn="base">
              <a:spcBef>
                <a:spcPct val="0"/>
              </a:spcBef>
              <a:spcAft>
                <a:spcPct val="0"/>
              </a:spcAft>
              <a:buSzTx/>
              <a:buNone/>
            </a:pPr>
            <a:r>
              <a:rPr lang="en-US" altLang="en-US" sz="1961" dirty="0">
                <a:solidFill>
                  <a:srgbClr val="0070C0"/>
                </a:solidFill>
                <a:latin typeface="Segoe UI"/>
              </a:rPr>
              <a:t>Start replicating </a:t>
            </a:r>
            <a:r>
              <a:rPr lang="en-US" altLang="en-US" sz="1961" dirty="0">
                <a:gradFill>
                  <a:gsLst>
                    <a:gs pos="2917">
                      <a:srgbClr val="1A1A1A"/>
                    </a:gs>
                    <a:gs pos="30000">
                      <a:srgbClr val="1A1A1A"/>
                    </a:gs>
                  </a:gsLst>
                  <a:lin ang="5400000" scaled="0"/>
                </a:gradFill>
                <a:latin typeface="Segoe UI"/>
              </a:rPr>
              <a:t>your Windows and Linux servers</a:t>
            </a:r>
          </a:p>
          <a:p>
            <a:pPr marL="0" indent="0" defTabSz="896181" fontAlgn="base">
              <a:spcBef>
                <a:spcPct val="0"/>
              </a:spcBef>
              <a:spcAft>
                <a:spcPct val="0"/>
              </a:spcAft>
              <a:buSzTx/>
              <a:buNone/>
            </a:pPr>
            <a:endParaRPr lang="en-US" altLang="en-US" sz="1961" dirty="0">
              <a:gradFill>
                <a:gsLst>
                  <a:gs pos="2917">
                    <a:srgbClr val="1A1A1A"/>
                  </a:gs>
                  <a:gs pos="30000">
                    <a:srgbClr val="1A1A1A"/>
                  </a:gs>
                </a:gsLst>
                <a:lin ang="5400000" scaled="0"/>
              </a:gradFill>
              <a:latin typeface="Segoe UI"/>
            </a:endParaRPr>
          </a:p>
          <a:p>
            <a:pPr marL="0" indent="0" defTabSz="896181" fontAlgn="base">
              <a:spcBef>
                <a:spcPct val="0"/>
              </a:spcBef>
              <a:spcAft>
                <a:spcPct val="0"/>
              </a:spcAft>
              <a:buSzTx/>
              <a:buNone/>
            </a:pPr>
            <a:r>
              <a:rPr lang="en-US" altLang="en-US" sz="1961" dirty="0">
                <a:solidFill>
                  <a:srgbClr val="0070C0"/>
                </a:solidFill>
                <a:latin typeface="Segoe UI"/>
              </a:rPr>
              <a:t>The Azure Migrate appliance orchestrates </a:t>
            </a:r>
            <a:r>
              <a:rPr lang="en-US" altLang="en-US" sz="1961" dirty="0">
                <a:solidFill>
                  <a:prstClr val="black"/>
                </a:solidFill>
                <a:latin typeface="Segoe UI"/>
              </a:rPr>
              <a:t>the replication of your VM data to your Azure subscription</a:t>
            </a:r>
          </a:p>
          <a:p>
            <a:pPr marL="0" indent="0" defTabSz="896181" fontAlgn="base">
              <a:spcBef>
                <a:spcPct val="0"/>
              </a:spcBef>
              <a:spcAft>
                <a:spcPct val="0"/>
              </a:spcAft>
              <a:buSzTx/>
              <a:buNone/>
            </a:pPr>
            <a:endParaRPr lang="en-US" altLang="en-US" sz="1961" dirty="0">
              <a:gradFill>
                <a:gsLst>
                  <a:gs pos="2917">
                    <a:srgbClr val="1A1A1A"/>
                  </a:gs>
                  <a:gs pos="30000">
                    <a:srgbClr val="1A1A1A"/>
                  </a:gs>
                </a:gsLst>
                <a:lin ang="5400000" scaled="0"/>
              </a:gradFill>
              <a:latin typeface="Segoe UI"/>
            </a:endParaRPr>
          </a:p>
          <a:p>
            <a:pPr marL="0" indent="0" defTabSz="896181" fontAlgn="base">
              <a:spcBef>
                <a:spcPct val="0"/>
              </a:spcBef>
              <a:spcAft>
                <a:spcPct val="0"/>
              </a:spcAft>
              <a:buSzTx/>
              <a:buNone/>
            </a:pPr>
            <a:r>
              <a:rPr lang="en-US" altLang="en-US" sz="1961" dirty="0">
                <a:solidFill>
                  <a:srgbClr val="0070C0"/>
                </a:solidFill>
                <a:latin typeface="Segoe UI"/>
              </a:rPr>
              <a:t>Perform test migrations </a:t>
            </a:r>
            <a:r>
              <a:rPr lang="en-US" altLang="en-US" sz="1961" dirty="0">
                <a:solidFill>
                  <a:prstClr val="black"/>
                </a:solidFill>
                <a:latin typeface="Segoe UI"/>
              </a:rPr>
              <a:t>(optional, but highly recommended) </a:t>
            </a:r>
            <a:r>
              <a:rPr lang="en-US" altLang="en-US" sz="1961" dirty="0">
                <a:gradFill>
                  <a:gsLst>
                    <a:gs pos="2917">
                      <a:srgbClr val="1A1A1A"/>
                    </a:gs>
                    <a:gs pos="30000">
                      <a:srgbClr val="1A1A1A"/>
                    </a:gs>
                  </a:gsLst>
                  <a:lin ang="5400000" scaled="0"/>
                </a:gradFill>
                <a:latin typeface="Segoe UI"/>
              </a:rPr>
              <a:t>to a sandbox environment with no impact to production to validate migration</a:t>
            </a:r>
          </a:p>
          <a:p>
            <a:pPr marL="0" indent="0" defTabSz="896181" fontAlgn="base">
              <a:spcBef>
                <a:spcPct val="0"/>
              </a:spcBef>
              <a:spcAft>
                <a:spcPct val="0"/>
              </a:spcAft>
              <a:buSzTx/>
              <a:buNone/>
            </a:pPr>
            <a:endParaRPr lang="en-US" altLang="en-US" sz="1961" dirty="0">
              <a:gradFill>
                <a:gsLst>
                  <a:gs pos="2917">
                    <a:srgbClr val="1A1A1A"/>
                  </a:gs>
                  <a:gs pos="30000">
                    <a:srgbClr val="1A1A1A"/>
                  </a:gs>
                </a:gsLst>
                <a:lin ang="5400000" scaled="0"/>
              </a:gradFill>
              <a:latin typeface="Segoe UI"/>
            </a:endParaRPr>
          </a:p>
          <a:p>
            <a:pPr marL="0" indent="0" defTabSz="896181" fontAlgn="base">
              <a:spcBef>
                <a:spcPct val="0"/>
              </a:spcBef>
              <a:spcAft>
                <a:spcPct val="0"/>
              </a:spcAft>
              <a:buSzTx/>
              <a:buNone/>
            </a:pPr>
            <a:r>
              <a:rPr lang="en-US" altLang="en-US" sz="1961" dirty="0">
                <a:solidFill>
                  <a:srgbClr val="0070C0"/>
                </a:solidFill>
                <a:latin typeface="Segoe UI"/>
              </a:rPr>
              <a:t>Migrate to Azure </a:t>
            </a:r>
            <a:r>
              <a:rPr lang="en-US" altLang="en-US" sz="1961" dirty="0">
                <a:gradFill>
                  <a:gsLst>
                    <a:gs pos="2917">
                      <a:srgbClr val="1A1A1A"/>
                    </a:gs>
                    <a:gs pos="30000">
                      <a:srgbClr val="1A1A1A"/>
                    </a:gs>
                  </a:gsLst>
                  <a:lin ang="5400000" scaled="0"/>
                </a:gradFill>
                <a:latin typeface="Segoe UI"/>
              </a:rPr>
              <a:t>with zero data loss and minimal downtime</a:t>
            </a: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6E9B4347-37B4-42CB-9150-2F561058EBCA}"/>
              </a:ext>
            </a:extLst>
          </p:cNvPr>
          <p:cNvSpPr txBox="1">
            <a:spLocks/>
          </p:cNvSpPr>
          <p:nvPr/>
        </p:nvSpPr>
        <p:spPr>
          <a:xfrm>
            <a:off x="589825" y="442548"/>
            <a:ext cx="11015394" cy="553841"/>
          </a:xfrm>
          <a:prstGeom prst="rect">
            <a:avLst/>
          </a:prstGeom>
        </p:spPr>
        <p:txBody>
          <a:bodyPr vert="horz" wrap="square" lIns="0" tIns="89630" rIns="143407" bIns="89630" rtlCol="0" anchor="t">
            <a:noAutofit/>
          </a:bodyPr>
          <a:lstStyle>
            <a:lvl1pPr algn="l" defTabSz="93256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800" b="0" kern="1200" cap="none" spc="-50" baseline="0" dirty="0" smtClean="0">
                <a:ln w="3175">
                  <a:noFill/>
                </a:ln>
                <a:solidFill>
                  <a:srgbClr val="000000"/>
                </a:soli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defTabSz="914225">
              <a:lnSpc>
                <a:spcPct val="100000"/>
              </a:lnSpc>
              <a:spcBef>
                <a:spcPts val="0"/>
              </a:spcBef>
              <a:defRPr/>
            </a:pPr>
            <a:r>
              <a:rPr lang="en-US" sz="2745" dirty="0">
                <a:latin typeface="Segoe UI Semibold (Headings)"/>
              </a:rPr>
              <a:t>Agentless VMware: Process</a:t>
            </a:r>
          </a:p>
        </p:txBody>
      </p: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529EAAEE-CD07-41B7-A147-1BDB464F829E}"/>
              </a:ext>
            </a:extLst>
          </p:cNvPr>
          <p:cNvCxnSpPr>
            <a:cxnSpLocks/>
          </p:cNvCxnSpPr>
          <p:nvPr/>
        </p:nvCxnSpPr>
        <p:spPr>
          <a:xfrm>
            <a:off x="7035513" y="1814430"/>
            <a:ext cx="4592072" cy="0"/>
          </a:xfrm>
          <a:prstGeom prst="line">
            <a:avLst/>
          </a:prstGeom>
          <a:noFill/>
          <a:ln w="12700" cap="flat" cmpd="sng" algn="ctr">
            <a:solidFill>
              <a:schemeClr val="bg1">
                <a:lumMod val="75000"/>
              </a:schemeClr>
            </a:solidFill>
            <a:prstDash val="solid"/>
            <a:headEnd type="none"/>
            <a:tailEnd type="none"/>
          </a:ln>
          <a:effectLst/>
        </p:spPr>
      </p:cxnSp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id="{3EA52B32-733B-E643-A63C-3CABCBA364F2}"/>
              </a:ext>
            </a:extLst>
          </p:cNvPr>
          <p:cNvCxnSpPr>
            <a:cxnSpLocks/>
          </p:cNvCxnSpPr>
          <p:nvPr/>
        </p:nvCxnSpPr>
        <p:spPr>
          <a:xfrm>
            <a:off x="7035513" y="2709404"/>
            <a:ext cx="4592072" cy="0"/>
          </a:xfrm>
          <a:prstGeom prst="line">
            <a:avLst/>
          </a:prstGeom>
          <a:noFill/>
          <a:ln w="12700" cap="flat" cmpd="sng" algn="ctr">
            <a:solidFill>
              <a:schemeClr val="bg1">
                <a:lumMod val="75000"/>
              </a:schemeClr>
            </a:solidFill>
            <a:prstDash val="solid"/>
            <a:headEnd type="none"/>
            <a:tailEnd type="none"/>
          </a:ln>
          <a:effectLst/>
        </p:spPr>
      </p:cxnSp>
      <p:pic>
        <p:nvPicPr>
          <p:cNvPr id="47" name="Picture 4" descr="Image result for vmware icon transparent">
            <a:extLst>
              <a:ext uri="{FF2B5EF4-FFF2-40B4-BE49-F238E27FC236}">
                <a16:creationId xmlns:a16="http://schemas.microsoft.com/office/drawing/2014/main" id="{56FB57D3-F963-5141-A37E-5BB6561DEB0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416145" y="5757826"/>
            <a:ext cx="1530300" cy="2494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A6E5B707-880A-434C-83DC-EC4923D0DE1B}"/>
              </a:ext>
            </a:extLst>
          </p:cNvPr>
          <p:cNvCxnSpPr>
            <a:cxnSpLocks/>
          </p:cNvCxnSpPr>
          <p:nvPr/>
        </p:nvCxnSpPr>
        <p:spPr>
          <a:xfrm>
            <a:off x="7035513" y="3887265"/>
            <a:ext cx="4592072" cy="0"/>
          </a:xfrm>
          <a:prstGeom prst="line">
            <a:avLst/>
          </a:prstGeom>
          <a:noFill/>
          <a:ln w="12700" cap="flat" cmpd="sng" algn="ctr">
            <a:solidFill>
              <a:schemeClr val="bg1">
                <a:lumMod val="75000"/>
              </a:schemeClr>
            </a:solidFill>
            <a:prstDash val="solid"/>
            <a:headEnd type="none"/>
            <a:tailEnd type="none"/>
          </a:ln>
          <a:effectLst/>
        </p:spPr>
      </p:cxnSp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id="{835D1FB6-B457-E343-8CFE-3197625F5303}"/>
              </a:ext>
            </a:extLst>
          </p:cNvPr>
          <p:cNvCxnSpPr>
            <a:cxnSpLocks/>
          </p:cNvCxnSpPr>
          <p:nvPr/>
        </p:nvCxnSpPr>
        <p:spPr>
          <a:xfrm>
            <a:off x="7035513" y="5388255"/>
            <a:ext cx="4592072" cy="0"/>
          </a:xfrm>
          <a:prstGeom prst="line">
            <a:avLst/>
          </a:prstGeom>
          <a:noFill/>
          <a:ln w="12700" cap="flat" cmpd="sng" algn="ctr">
            <a:solidFill>
              <a:schemeClr val="bg1">
                <a:lumMod val="75000"/>
              </a:schemeClr>
            </a:solidFill>
            <a:prstDash val="solid"/>
            <a:headEnd type="none"/>
            <a:tailEnd type="none"/>
          </a:ln>
          <a:effectLst/>
        </p:spPr>
      </p:cxnSp>
      <p:grpSp>
        <p:nvGrpSpPr>
          <p:cNvPr id="41" name="Group 40">
            <a:extLst>
              <a:ext uri="{FF2B5EF4-FFF2-40B4-BE49-F238E27FC236}">
                <a16:creationId xmlns:a16="http://schemas.microsoft.com/office/drawing/2014/main" id="{E003E2FB-C940-3843-897F-9E11FEF25577}"/>
              </a:ext>
            </a:extLst>
          </p:cNvPr>
          <p:cNvGrpSpPr/>
          <p:nvPr/>
        </p:nvGrpSpPr>
        <p:grpSpPr>
          <a:xfrm>
            <a:off x="4491847" y="2649910"/>
            <a:ext cx="1322884" cy="578051"/>
            <a:chOff x="1671603" y="4900917"/>
            <a:chExt cx="1323259" cy="578215"/>
          </a:xfrm>
        </p:grpSpPr>
        <p:grpSp>
          <p:nvGrpSpPr>
            <p:cNvPr id="42" name="Group 41">
              <a:extLst>
                <a:ext uri="{FF2B5EF4-FFF2-40B4-BE49-F238E27FC236}">
                  <a16:creationId xmlns:a16="http://schemas.microsoft.com/office/drawing/2014/main" id="{1F3479A6-B186-8E43-990D-C7C608CCDFE6}"/>
                </a:ext>
              </a:extLst>
            </p:cNvPr>
            <p:cNvGrpSpPr/>
            <p:nvPr/>
          </p:nvGrpSpPr>
          <p:grpSpPr>
            <a:xfrm>
              <a:off x="1671603" y="4900917"/>
              <a:ext cx="627183" cy="578215"/>
              <a:chOff x="2501959" y="5037105"/>
              <a:chExt cx="627183" cy="578215"/>
            </a:xfrm>
          </p:grpSpPr>
          <p:sp>
            <p:nvSpPr>
              <p:cNvPr id="52" name="Freeform 5">
                <a:extLst>
                  <a:ext uri="{FF2B5EF4-FFF2-40B4-BE49-F238E27FC236}">
                    <a16:creationId xmlns:a16="http://schemas.microsoft.com/office/drawing/2014/main" id="{633EA602-CEDA-1345-A29A-D4A10C1EC98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01959" y="5037105"/>
                <a:ext cx="627183" cy="578215"/>
              </a:xfrm>
              <a:custGeom>
                <a:avLst/>
                <a:gdLst>
                  <a:gd name="T0" fmla="*/ 0 w 426"/>
                  <a:gd name="T1" fmla="*/ 12 h 333"/>
                  <a:gd name="T2" fmla="*/ 0 w 426"/>
                  <a:gd name="T3" fmla="*/ 12 h 333"/>
                  <a:gd name="T4" fmla="*/ 0 w 426"/>
                  <a:gd name="T5" fmla="*/ 255 h 333"/>
                  <a:gd name="T6" fmla="*/ 12 w 426"/>
                  <a:gd name="T7" fmla="*/ 268 h 333"/>
                  <a:gd name="T8" fmla="*/ 195 w 426"/>
                  <a:gd name="T9" fmla="*/ 268 h 333"/>
                  <a:gd name="T10" fmla="*/ 195 w 426"/>
                  <a:gd name="T11" fmla="*/ 306 h 333"/>
                  <a:gd name="T12" fmla="*/ 130 w 426"/>
                  <a:gd name="T13" fmla="*/ 306 h 333"/>
                  <a:gd name="T14" fmla="*/ 130 w 426"/>
                  <a:gd name="T15" fmla="*/ 333 h 333"/>
                  <a:gd name="T16" fmla="*/ 293 w 426"/>
                  <a:gd name="T17" fmla="*/ 333 h 333"/>
                  <a:gd name="T18" fmla="*/ 293 w 426"/>
                  <a:gd name="T19" fmla="*/ 306 h 333"/>
                  <a:gd name="T20" fmla="*/ 228 w 426"/>
                  <a:gd name="T21" fmla="*/ 306 h 333"/>
                  <a:gd name="T22" fmla="*/ 228 w 426"/>
                  <a:gd name="T23" fmla="*/ 268 h 333"/>
                  <a:gd name="T24" fmla="*/ 413 w 426"/>
                  <a:gd name="T25" fmla="*/ 268 h 333"/>
                  <a:gd name="T26" fmla="*/ 426 w 426"/>
                  <a:gd name="T27" fmla="*/ 255 h 333"/>
                  <a:gd name="T28" fmla="*/ 426 w 426"/>
                  <a:gd name="T29" fmla="*/ 12 h 333"/>
                  <a:gd name="T30" fmla="*/ 413 w 426"/>
                  <a:gd name="T31" fmla="*/ 0 h 333"/>
                  <a:gd name="T32" fmla="*/ 12 w 426"/>
                  <a:gd name="T33" fmla="*/ 0 h 333"/>
                  <a:gd name="T34" fmla="*/ 0 w 426"/>
                  <a:gd name="T35" fmla="*/ 12 h 3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426" h="333">
                    <a:moveTo>
                      <a:pt x="0" y="12"/>
                    </a:moveTo>
                    <a:lnTo>
                      <a:pt x="0" y="12"/>
                    </a:lnTo>
                    <a:lnTo>
                      <a:pt x="0" y="255"/>
                    </a:lnTo>
                    <a:cubicBezTo>
                      <a:pt x="0" y="262"/>
                      <a:pt x="5" y="268"/>
                      <a:pt x="12" y="268"/>
                    </a:cubicBezTo>
                    <a:lnTo>
                      <a:pt x="195" y="268"/>
                    </a:lnTo>
                    <a:lnTo>
                      <a:pt x="195" y="306"/>
                    </a:lnTo>
                    <a:lnTo>
                      <a:pt x="130" y="306"/>
                    </a:lnTo>
                    <a:lnTo>
                      <a:pt x="130" y="333"/>
                    </a:lnTo>
                    <a:lnTo>
                      <a:pt x="293" y="333"/>
                    </a:lnTo>
                    <a:lnTo>
                      <a:pt x="293" y="306"/>
                    </a:lnTo>
                    <a:lnTo>
                      <a:pt x="228" y="306"/>
                    </a:lnTo>
                    <a:lnTo>
                      <a:pt x="228" y="268"/>
                    </a:lnTo>
                    <a:lnTo>
                      <a:pt x="413" y="268"/>
                    </a:lnTo>
                    <a:cubicBezTo>
                      <a:pt x="420" y="268"/>
                      <a:pt x="426" y="262"/>
                      <a:pt x="426" y="255"/>
                    </a:cubicBezTo>
                    <a:lnTo>
                      <a:pt x="426" y="12"/>
                    </a:lnTo>
                    <a:cubicBezTo>
                      <a:pt x="426" y="5"/>
                      <a:pt x="420" y="0"/>
                      <a:pt x="413" y="0"/>
                    </a:cubicBezTo>
                    <a:lnTo>
                      <a:pt x="12" y="0"/>
                    </a:lnTo>
                    <a:cubicBezTo>
                      <a:pt x="5" y="0"/>
                      <a:pt x="0" y="5"/>
                      <a:pt x="0" y="12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1905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14" tIns="45706" rIns="91414" bIns="45706" numCol="1" anchor="t" anchorCtr="0" compatLnSpc="1">
                <a:prstTxWarp prst="textNoShape">
                  <a:avLst/>
                </a:prstTxWarp>
              </a:bodyPr>
              <a:lstStyle/>
              <a:p>
                <a:pPr defTabSz="914016">
                  <a:defRPr/>
                </a:pPr>
                <a:endParaRPr lang="en-US" sz="1765">
                  <a:solidFill>
                    <a:srgbClr val="1A1A1A"/>
                  </a:solidFill>
                  <a:latin typeface="Segoe UI"/>
                </a:endParaRPr>
              </a:p>
            </p:txBody>
          </p:sp>
          <p:pic>
            <p:nvPicPr>
              <p:cNvPr id="53" name="Picture 52">
                <a:extLst>
                  <a:ext uri="{FF2B5EF4-FFF2-40B4-BE49-F238E27FC236}">
                    <a16:creationId xmlns:a16="http://schemas.microsoft.com/office/drawing/2014/main" id="{ABB5B067-AA34-1C47-8E4E-F6011B00F5B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2667438" y="5132878"/>
                <a:ext cx="279838" cy="302928"/>
              </a:xfrm>
              <a:prstGeom prst="rect">
                <a:avLst/>
              </a:prstGeom>
            </p:spPr>
          </p:pic>
        </p:grpSp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0858FE65-9663-C74F-A4DD-4929B5F57D3E}"/>
                </a:ext>
              </a:extLst>
            </p:cNvPr>
            <p:cNvGrpSpPr/>
            <p:nvPr/>
          </p:nvGrpSpPr>
          <p:grpSpPr>
            <a:xfrm>
              <a:off x="2367679" y="4900917"/>
              <a:ext cx="627183" cy="578215"/>
              <a:chOff x="2501959" y="5037105"/>
              <a:chExt cx="627183" cy="578215"/>
            </a:xfrm>
          </p:grpSpPr>
          <p:sp>
            <p:nvSpPr>
              <p:cNvPr id="44" name="Freeform 5">
                <a:extLst>
                  <a:ext uri="{FF2B5EF4-FFF2-40B4-BE49-F238E27FC236}">
                    <a16:creationId xmlns:a16="http://schemas.microsoft.com/office/drawing/2014/main" id="{54606938-ECD8-0443-BE3D-B3B4052CC94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01959" y="5037105"/>
                <a:ext cx="627183" cy="578215"/>
              </a:xfrm>
              <a:custGeom>
                <a:avLst/>
                <a:gdLst>
                  <a:gd name="T0" fmla="*/ 0 w 426"/>
                  <a:gd name="T1" fmla="*/ 12 h 333"/>
                  <a:gd name="T2" fmla="*/ 0 w 426"/>
                  <a:gd name="T3" fmla="*/ 12 h 333"/>
                  <a:gd name="T4" fmla="*/ 0 w 426"/>
                  <a:gd name="T5" fmla="*/ 255 h 333"/>
                  <a:gd name="T6" fmla="*/ 12 w 426"/>
                  <a:gd name="T7" fmla="*/ 268 h 333"/>
                  <a:gd name="T8" fmla="*/ 195 w 426"/>
                  <a:gd name="T9" fmla="*/ 268 h 333"/>
                  <a:gd name="T10" fmla="*/ 195 w 426"/>
                  <a:gd name="T11" fmla="*/ 306 h 333"/>
                  <a:gd name="T12" fmla="*/ 130 w 426"/>
                  <a:gd name="T13" fmla="*/ 306 h 333"/>
                  <a:gd name="T14" fmla="*/ 130 w 426"/>
                  <a:gd name="T15" fmla="*/ 333 h 333"/>
                  <a:gd name="T16" fmla="*/ 293 w 426"/>
                  <a:gd name="T17" fmla="*/ 333 h 333"/>
                  <a:gd name="T18" fmla="*/ 293 w 426"/>
                  <a:gd name="T19" fmla="*/ 306 h 333"/>
                  <a:gd name="T20" fmla="*/ 228 w 426"/>
                  <a:gd name="T21" fmla="*/ 306 h 333"/>
                  <a:gd name="T22" fmla="*/ 228 w 426"/>
                  <a:gd name="T23" fmla="*/ 268 h 333"/>
                  <a:gd name="T24" fmla="*/ 413 w 426"/>
                  <a:gd name="T25" fmla="*/ 268 h 333"/>
                  <a:gd name="T26" fmla="*/ 426 w 426"/>
                  <a:gd name="T27" fmla="*/ 255 h 333"/>
                  <a:gd name="T28" fmla="*/ 426 w 426"/>
                  <a:gd name="T29" fmla="*/ 12 h 333"/>
                  <a:gd name="T30" fmla="*/ 413 w 426"/>
                  <a:gd name="T31" fmla="*/ 0 h 333"/>
                  <a:gd name="T32" fmla="*/ 12 w 426"/>
                  <a:gd name="T33" fmla="*/ 0 h 333"/>
                  <a:gd name="T34" fmla="*/ 0 w 426"/>
                  <a:gd name="T35" fmla="*/ 12 h 3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426" h="333">
                    <a:moveTo>
                      <a:pt x="0" y="12"/>
                    </a:moveTo>
                    <a:lnTo>
                      <a:pt x="0" y="12"/>
                    </a:lnTo>
                    <a:lnTo>
                      <a:pt x="0" y="255"/>
                    </a:lnTo>
                    <a:cubicBezTo>
                      <a:pt x="0" y="262"/>
                      <a:pt x="5" y="268"/>
                      <a:pt x="12" y="268"/>
                    </a:cubicBezTo>
                    <a:lnTo>
                      <a:pt x="195" y="268"/>
                    </a:lnTo>
                    <a:lnTo>
                      <a:pt x="195" y="306"/>
                    </a:lnTo>
                    <a:lnTo>
                      <a:pt x="130" y="306"/>
                    </a:lnTo>
                    <a:lnTo>
                      <a:pt x="130" y="333"/>
                    </a:lnTo>
                    <a:lnTo>
                      <a:pt x="293" y="333"/>
                    </a:lnTo>
                    <a:lnTo>
                      <a:pt x="293" y="306"/>
                    </a:lnTo>
                    <a:lnTo>
                      <a:pt x="228" y="306"/>
                    </a:lnTo>
                    <a:lnTo>
                      <a:pt x="228" y="268"/>
                    </a:lnTo>
                    <a:lnTo>
                      <a:pt x="413" y="268"/>
                    </a:lnTo>
                    <a:cubicBezTo>
                      <a:pt x="420" y="268"/>
                      <a:pt x="426" y="262"/>
                      <a:pt x="426" y="255"/>
                    </a:cubicBezTo>
                    <a:lnTo>
                      <a:pt x="426" y="12"/>
                    </a:lnTo>
                    <a:cubicBezTo>
                      <a:pt x="426" y="5"/>
                      <a:pt x="420" y="0"/>
                      <a:pt x="413" y="0"/>
                    </a:cubicBezTo>
                    <a:lnTo>
                      <a:pt x="12" y="0"/>
                    </a:lnTo>
                    <a:cubicBezTo>
                      <a:pt x="5" y="0"/>
                      <a:pt x="0" y="5"/>
                      <a:pt x="0" y="12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1905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14" tIns="45706" rIns="91414" bIns="45706" numCol="1" anchor="t" anchorCtr="0" compatLnSpc="1">
                <a:prstTxWarp prst="textNoShape">
                  <a:avLst/>
                </a:prstTxWarp>
              </a:bodyPr>
              <a:lstStyle/>
              <a:p>
                <a:pPr defTabSz="914016">
                  <a:defRPr/>
                </a:pPr>
                <a:endParaRPr lang="en-US" sz="1765">
                  <a:solidFill>
                    <a:srgbClr val="1A1A1A"/>
                  </a:solidFill>
                  <a:latin typeface="Segoe UI"/>
                </a:endParaRPr>
              </a:p>
            </p:txBody>
          </p:sp>
          <p:pic>
            <p:nvPicPr>
              <p:cNvPr id="46" name="Picture 45">
                <a:extLst>
                  <a:ext uri="{FF2B5EF4-FFF2-40B4-BE49-F238E27FC236}">
                    <a16:creationId xmlns:a16="http://schemas.microsoft.com/office/drawing/2014/main" id="{782832C0-5651-CE4C-B429-B92241C966E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2681505" y="5132878"/>
                <a:ext cx="256062" cy="275758"/>
              </a:xfrm>
              <a:prstGeom prst="rect">
                <a:avLst/>
              </a:prstGeom>
            </p:spPr>
          </p:pic>
        </p:grpSp>
      </p:grpSp>
      <p:grpSp>
        <p:nvGrpSpPr>
          <p:cNvPr id="54" name="Group 53">
            <a:extLst>
              <a:ext uri="{FF2B5EF4-FFF2-40B4-BE49-F238E27FC236}">
                <a16:creationId xmlns:a16="http://schemas.microsoft.com/office/drawing/2014/main" id="{82415495-54B1-D34D-830A-C2BADD5E5578}"/>
              </a:ext>
            </a:extLst>
          </p:cNvPr>
          <p:cNvGrpSpPr/>
          <p:nvPr/>
        </p:nvGrpSpPr>
        <p:grpSpPr>
          <a:xfrm>
            <a:off x="562171" y="2649910"/>
            <a:ext cx="1322884" cy="578051"/>
            <a:chOff x="1671603" y="4900917"/>
            <a:chExt cx="1323259" cy="578215"/>
          </a:xfrm>
        </p:grpSpPr>
        <p:grpSp>
          <p:nvGrpSpPr>
            <p:cNvPr id="55" name="Group 54">
              <a:extLst>
                <a:ext uri="{FF2B5EF4-FFF2-40B4-BE49-F238E27FC236}">
                  <a16:creationId xmlns:a16="http://schemas.microsoft.com/office/drawing/2014/main" id="{01B1F2EF-7AC9-EB41-B67A-A0BA98B83175}"/>
                </a:ext>
              </a:extLst>
            </p:cNvPr>
            <p:cNvGrpSpPr/>
            <p:nvPr/>
          </p:nvGrpSpPr>
          <p:grpSpPr>
            <a:xfrm>
              <a:off x="1671603" y="4900917"/>
              <a:ext cx="627183" cy="578215"/>
              <a:chOff x="2501959" y="5037105"/>
              <a:chExt cx="627183" cy="578215"/>
            </a:xfrm>
          </p:grpSpPr>
          <p:sp>
            <p:nvSpPr>
              <p:cNvPr id="59" name="Freeform 5">
                <a:extLst>
                  <a:ext uri="{FF2B5EF4-FFF2-40B4-BE49-F238E27FC236}">
                    <a16:creationId xmlns:a16="http://schemas.microsoft.com/office/drawing/2014/main" id="{D0FF1B56-19BA-CD4D-85E9-3EA346E519D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01959" y="5037105"/>
                <a:ext cx="627183" cy="578215"/>
              </a:xfrm>
              <a:custGeom>
                <a:avLst/>
                <a:gdLst>
                  <a:gd name="T0" fmla="*/ 0 w 426"/>
                  <a:gd name="T1" fmla="*/ 12 h 333"/>
                  <a:gd name="T2" fmla="*/ 0 w 426"/>
                  <a:gd name="T3" fmla="*/ 12 h 333"/>
                  <a:gd name="T4" fmla="*/ 0 w 426"/>
                  <a:gd name="T5" fmla="*/ 255 h 333"/>
                  <a:gd name="T6" fmla="*/ 12 w 426"/>
                  <a:gd name="T7" fmla="*/ 268 h 333"/>
                  <a:gd name="T8" fmla="*/ 195 w 426"/>
                  <a:gd name="T9" fmla="*/ 268 h 333"/>
                  <a:gd name="T10" fmla="*/ 195 w 426"/>
                  <a:gd name="T11" fmla="*/ 306 h 333"/>
                  <a:gd name="T12" fmla="*/ 130 w 426"/>
                  <a:gd name="T13" fmla="*/ 306 h 333"/>
                  <a:gd name="T14" fmla="*/ 130 w 426"/>
                  <a:gd name="T15" fmla="*/ 333 h 333"/>
                  <a:gd name="T16" fmla="*/ 293 w 426"/>
                  <a:gd name="T17" fmla="*/ 333 h 333"/>
                  <a:gd name="T18" fmla="*/ 293 w 426"/>
                  <a:gd name="T19" fmla="*/ 306 h 333"/>
                  <a:gd name="T20" fmla="*/ 228 w 426"/>
                  <a:gd name="T21" fmla="*/ 306 h 333"/>
                  <a:gd name="T22" fmla="*/ 228 w 426"/>
                  <a:gd name="T23" fmla="*/ 268 h 333"/>
                  <a:gd name="T24" fmla="*/ 413 w 426"/>
                  <a:gd name="T25" fmla="*/ 268 h 333"/>
                  <a:gd name="T26" fmla="*/ 426 w 426"/>
                  <a:gd name="T27" fmla="*/ 255 h 333"/>
                  <a:gd name="T28" fmla="*/ 426 w 426"/>
                  <a:gd name="T29" fmla="*/ 12 h 333"/>
                  <a:gd name="T30" fmla="*/ 413 w 426"/>
                  <a:gd name="T31" fmla="*/ 0 h 333"/>
                  <a:gd name="T32" fmla="*/ 12 w 426"/>
                  <a:gd name="T33" fmla="*/ 0 h 333"/>
                  <a:gd name="T34" fmla="*/ 0 w 426"/>
                  <a:gd name="T35" fmla="*/ 12 h 3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426" h="333">
                    <a:moveTo>
                      <a:pt x="0" y="12"/>
                    </a:moveTo>
                    <a:lnTo>
                      <a:pt x="0" y="12"/>
                    </a:lnTo>
                    <a:lnTo>
                      <a:pt x="0" y="255"/>
                    </a:lnTo>
                    <a:cubicBezTo>
                      <a:pt x="0" y="262"/>
                      <a:pt x="5" y="268"/>
                      <a:pt x="12" y="268"/>
                    </a:cubicBezTo>
                    <a:lnTo>
                      <a:pt x="195" y="268"/>
                    </a:lnTo>
                    <a:lnTo>
                      <a:pt x="195" y="306"/>
                    </a:lnTo>
                    <a:lnTo>
                      <a:pt x="130" y="306"/>
                    </a:lnTo>
                    <a:lnTo>
                      <a:pt x="130" y="333"/>
                    </a:lnTo>
                    <a:lnTo>
                      <a:pt x="293" y="333"/>
                    </a:lnTo>
                    <a:lnTo>
                      <a:pt x="293" y="306"/>
                    </a:lnTo>
                    <a:lnTo>
                      <a:pt x="228" y="306"/>
                    </a:lnTo>
                    <a:lnTo>
                      <a:pt x="228" y="268"/>
                    </a:lnTo>
                    <a:lnTo>
                      <a:pt x="413" y="268"/>
                    </a:lnTo>
                    <a:cubicBezTo>
                      <a:pt x="420" y="268"/>
                      <a:pt x="426" y="262"/>
                      <a:pt x="426" y="255"/>
                    </a:cubicBezTo>
                    <a:lnTo>
                      <a:pt x="426" y="12"/>
                    </a:lnTo>
                    <a:cubicBezTo>
                      <a:pt x="426" y="5"/>
                      <a:pt x="420" y="0"/>
                      <a:pt x="413" y="0"/>
                    </a:cubicBezTo>
                    <a:lnTo>
                      <a:pt x="12" y="0"/>
                    </a:lnTo>
                    <a:cubicBezTo>
                      <a:pt x="5" y="0"/>
                      <a:pt x="0" y="5"/>
                      <a:pt x="0" y="12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1905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14" tIns="45706" rIns="91414" bIns="45706" numCol="1" anchor="t" anchorCtr="0" compatLnSpc="1">
                <a:prstTxWarp prst="textNoShape">
                  <a:avLst/>
                </a:prstTxWarp>
              </a:bodyPr>
              <a:lstStyle/>
              <a:p>
                <a:pPr defTabSz="914016">
                  <a:defRPr/>
                </a:pPr>
                <a:endParaRPr lang="en-US" sz="1765">
                  <a:solidFill>
                    <a:srgbClr val="1A1A1A"/>
                  </a:solidFill>
                  <a:latin typeface="Segoe UI"/>
                </a:endParaRPr>
              </a:p>
            </p:txBody>
          </p:sp>
          <p:pic>
            <p:nvPicPr>
              <p:cNvPr id="60" name="Picture 59">
                <a:extLst>
                  <a:ext uri="{FF2B5EF4-FFF2-40B4-BE49-F238E27FC236}">
                    <a16:creationId xmlns:a16="http://schemas.microsoft.com/office/drawing/2014/main" id="{6A8AF713-8CB4-804C-952A-9239C148E85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2667438" y="5132878"/>
                <a:ext cx="279838" cy="302928"/>
              </a:xfrm>
              <a:prstGeom prst="rect">
                <a:avLst/>
              </a:prstGeom>
            </p:spPr>
          </p:pic>
        </p:grpSp>
        <p:grpSp>
          <p:nvGrpSpPr>
            <p:cNvPr id="56" name="Group 55">
              <a:extLst>
                <a:ext uri="{FF2B5EF4-FFF2-40B4-BE49-F238E27FC236}">
                  <a16:creationId xmlns:a16="http://schemas.microsoft.com/office/drawing/2014/main" id="{D49B56EE-96AA-DB43-A4AF-50950F1958CD}"/>
                </a:ext>
              </a:extLst>
            </p:cNvPr>
            <p:cNvGrpSpPr/>
            <p:nvPr/>
          </p:nvGrpSpPr>
          <p:grpSpPr>
            <a:xfrm>
              <a:off x="2367679" y="4900917"/>
              <a:ext cx="627183" cy="578215"/>
              <a:chOff x="2501959" y="5037105"/>
              <a:chExt cx="627183" cy="578215"/>
            </a:xfrm>
          </p:grpSpPr>
          <p:sp>
            <p:nvSpPr>
              <p:cNvPr id="57" name="Freeform 5">
                <a:extLst>
                  <a:ext uri="{FF2B5EF4-FFF2-40B4-BE49-F238E27FC236}">
                    <a16:creationId xmlns:a16="http://schemas.microsoft.com/office/drawing/2014/main" id="{72CE7C51-97A9-E343-9094-C83C16603E3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01959" y="5037105"/>
                <a:ext cx="627183" cy="578215"/>
              </a:xfrm>
              <a:custGeom>
                <a:avLst/>
                <a:gdLst>
                  <a:gd name="T0" fmla="*/ 0 w 426"/>
                  <a:gd name="T1" fmla="*/ 12 h 333"/>
                  <a:gd name="T2" fmla="*/ 0 w 426"/>
                  <a:gd name="T3" fmla="*/ 12 h 333"/>
                  <a:gd name="T4" fmla="*/ 0 w 426"/>
                  <a:gd name="T5" fmla="*/ 255 h 333"/>
                  <a:gd name="T6" fmla="*/ 12 w 426"/>
                  <a:gd name="T7" fmla="*/ 268 h 333"/>
                  <a:gd name="T8" fmla="*/ 195 w 426"/>
                  <a:gd name="T9" fmla="*/ 268 h 333"/>
                  <a:gd name="T10" fmla="*/ 195 w 426"/>
                  <a:gd name="T11" fmla="*/ 306 h 333"/>
                  <a:gd name="T12" fmla="*/ 130 w 426"/>
                  <a:gd name="T13" fmla="*/ 306 h 333"/>
                  <a:gd name="T14" fmla="*/ 130 w 426"/>
                  <a:gd name="T15" fmla="*/ 333 h 333"/>
                  <a:gd name="T16" fmla="*/ 293 w 426"/>
                  <a:gd name="T17" fmla="*/ 333 h 333"/>
                  <a:gd name="T18" fmla="*/ 293 w 426"/>
                  <a:gd name="T19" fmla="*/ 306 h 333"/>
                  <a:gd name="T20" fmla="*/ 228 w 426"/>
                  <a:gd name="T21" fmla="*/ 306 h 333"/>
                  <a:gd name="T22" fmla="*/ 228 w 426"/>
                  <a:gd name="T23" fmla="*/ 268 h 333"/>
                  <a:gd name="T24" fmla="*/ 413 w 426"/>
                  <a:gd name="T25" fmla="*/ 268 h 333"/>
                  <a:gd name="T26" fmla="*/ 426 w 426"/>
                  <a:gd name="T27" fmla="*/ 255 h 333"/>
                  <a:gd name="T28" fmla="*/ 426 w 426"/>
                  <a:gd name="T29" fmla="*/ 12 h 333"/>
                  <a:gd name="T30" fmla="*/ 413 w 426"/>
                  <a:gd name="T31" fmla="*/ 0 h 333"/>
                  <a:gd name="T32" fmla="*/ 12 w 426"/>
                  <a:gd name="T33" fmla="*/ 0 h 333"/>
                  <a:gd name="T34" fmla="*/ 0 w 426"/>
                  <a:gd name="T35" fmla="*/ 12 h 3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426" h="333">
                    <a:moveTo>
                      <a:pt x="0" y="12"/>
                    </a:moveTo>
                    <a:lnTo>
                      <a:pt x="0" y="12"/>
                    </a:lnTo>
                    <a:lnTo>
                      <a:pt x="0" y="255"/>
                    </a:lnTo>
                    <a:cubicBezTo>
                      <a:pt x="0" y="262"/>
                      <a:pt x="5" y="268"/>
                      <a:pt x="12" y="268"/>
                    </a:cubicBezTo>
                    <a:lnTo>
                      <a:pt x="195" y="268"/>
                    </a:lnTo>
                    <a:lnTo>
                      <a:pt x="195" y="306"/>
                    </a:lnTo>
                    <a:lnTo>
                      <a:pt x="130" y="306"/>
                    </a:lnTo>
                    <a:lnTo>
                      <a:pt x="130" y="333"/>
                    </a:lnTo>
                    <a:lnTo>
                      <a:pt x="293" y="333"/>
                    </a:lnTo>
                    <a:lnTo>
                      <a:pt x="293" y="306"/>
                    </a:lnTo>
                    <a:lnTo>
                      <a:pt x="228" y="306"/>
                    </a:lnTo>
                    <a:lnTo>
                      <a:pt x="228" y="268"/>
                    </a:lnTo>
                    <a:lnTo>
                      <a:pt x="413" y="268"/>
                    </a:lnTo>
                    <a:cubicBezTo>
                      <a:pt x="420" y="268"/>
                      <a:pt x="426" y="262"/>
                      <a:pt x="426" y="255"/>
                    </a:cubicBezTo>
                    <a:lnTo>
                      <a:pt x="426" y="12"/>
                    </a:lnTo>
                    <a:cubicBezTo>
                      <a:pt x="426" y="5"/>
                      <a:pt x="420" y="0"/>
                      <a:pt x="413" y="0"/>
                    </a:cubicBezTo>
                    <a:lnTo>
                      <a:pt x="12" y="0"/>
                    </a:lnTo>
                    <a:cubicBezTo>
                      <a:pt x="5" y="0"/>
                      <a:pt x="0" y="5"/>
                      <a:pt x="0" y="12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1905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14" tIns="45706" rIns="91414" bIns="45706" numCol="1" anchor="t" anchorCtr="0" compatLnSpc="1">
                <a:prstTxWarp prst="textNoShape">
                  <a:avLst/>
                </a:prstTxWarp>
              </a:bodyPr>
              <a:lstStyle/>
              <a:p>
                <a:pPr defTabSz="914016">
                  <a:defRPr/>
                </a:pPr>
                <a:endParaRPr lang="en-US" sz="1765">
                  <a:solidFill>
                    <a:srgbClr val="1A1A1A"/>
                  </a:solidFill>
                  <a:latin typeface="Segoe UI"/>
                </a:endParaRPr>
              </a:p>
            </p:txBody>
          </p:sp>
          <p:pic>
            <p:nvPicPr>
              <p:cNvPr id="58" name="Picture 57">
                <a:extLst>
                  <a:ext uri="{FF2B5EF4-FFF2-40B4-BE49-F238E27FC236}">
                    <a16:creationId xmlns:a16="http://schemas.microsoft.com/office/drawing/2014/main" id="{A05FE2A7-81EA-424E-9C9F-6C86F92D68C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2681505" y="5132878"/>
                <a:ext cx="256062" cy="275758"/>
              </a:xfrm>
              <a:prstGeom prst="rect">
                <a:avLst/>
              </a:prstGeom>
            </p:spPr>
          </p:pic>
        </p:grpSp>
      </p:grpSp>
      <p:sp>
        <p:nvSpPr>
          <p:cNvPr id="61" name="TextBox 60">
            <a:extLst>
              <a:ext uri="{FF2B5EF4-FFF2-40B4-BE49-F238E27FC236}">
                <a16:creationId xmlns:a16="http://schemas.microsoft.com/office/drawing/2014/main" id="{CC799ECE-C9CB-0E49-A854-CAD8D173CD89}"/>
              </a:ext>
            </a:extLst>
          </p:cNvPr>
          <p:cNvSpPr txBox="1"/>
          <p:nvPr/>
        </p:nvSpPr>
        <p:spPr>
          <a:xfrm>
            <a:off x="411560" y="3268657"/>
            <a:ext cx="1732598" cy="432055"/>
          </a:xfrm>
          <a:prstGeom prst="rect">
            <a:avLst/>
          </a:prstGeom>
          <a:noFill/>
        </p:spPr>
        <p:txBody>
          <a:bodyPr wrap="square" lIns="179259" tIns="143407" rIns="179259" bIns="143407" rtlCol="0">
            <a:spAutoFit/>
          </a:bodyPr>
          <a:lstStyle/>
          <a:p>
            <a:pPr defTabSz="914225">
              <a:lnSpc>
                <a:spcPct val="90000"/>
              </a:lnSpc>
              <a:spcAft>
                <a:spcPts val="588"/>
              </a:spcAft>
            </a:pPr>
            <a:r>
              <a:rPr lang="en-US" sz="1028" dirty="0">
                <a:gradFill>
                  <a:gsLst>
                    <a:gs pos="2917">
                      <a:prstClr val="black"/>
                    </a:gs>
                    <a:gs pos="30000">
                      <a:prstClr val="black"/>
                    </a:gs>
                  </a:gsLst>
                  <a:lin ang="5400000" scaled="0"/>
                </a:gradFill>
                <a:latin typeface="Segoe UI"/>
              </a:rPr>
              <a:t>Sandbox environment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3A6DD6BD-ADF6-7540-B8D6-32E7ECF3FC4A}"/>
              </a:ext>
            </a:extLst>
          </p:cNvPr>
          <p:cNvSpPr/>
          <p:nvPr/>
        </p:nvSpPr>
        <p:spPr bwMode="auto">
          <a:xfrm>
            <a:off x="411560" y="2522985"/>
            <a:ext cx="1641879" cy="1177727"/>
          </a:xfrm>
          <a:prstGeom prst="rect">
            <a:avLst/>
          </a:prstGeom>
          <a:noFill/>
          <a:ln w="15875">
            <a:solidFill>
              <a:schemeClr val="bg1">
                <a:lumMod val="85000"/>
              </a:schemeClr>
            </a:solidFill>
            <a:prstDash val="sysDash"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4" name="bk object 17">
            <a:extLst>
              <a:ext uri="{FF2B5EF4-FFF2-40B4-BE49-F238E27FC236}">
                <a16:creationId xmlns:a16="http://schemas.microsoft.com/office/drawing/2014/main" id="{04FBDE20-9619-4FA6-A4BC-47D742F0BD34}"/>
              </a:ext>
            </a:extLst>
          </p:cNvPr>
          <p:cNvSpPr/>
          <p:nvPr/>
        </p:nvSpPr>
        <p:spPr>
          <a:xfrm>
            <a:off x="0" y="6497955"/>
            <a:ext cx="12192000" cy="360045"/>
          </a:xfrm>
          <a:custGeom>
            <a:avLst/>
            <a:gdLst/>
            <a:ahLst/>
            <a:cxnLst/>
            <a:rect l="l" t="t" r="r" b="b"/>
            <a:pathLst>
              <a:path w="12434570" h="360045">
                <a:moveTo>
                  <a:pt x="0" y="359994"/>
                </a:moveTo>
                <a:lnTo>
                  <a:pt x="12434404" y="359994"/>
                </a:lnTo>
                <a:lnTo>
                  <a:pt x="12434404" y="0"/>
                </a:lnTo>
                <a:lnTo>
                  <a:pt x="0" y="0"/>
                </a:lnTo>
                <a:lnTo>
                  <a:pt x="0" y="359994"/>
                </a:lnTo>
                <a:close/>
              </a:path>
            </a:pathLst>
          </a:custGeom>
          <a:solidFill>
            <a:srgbClr val="007FBA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F049409-5669-47D0-8B8F-DA51F611C908}"/>
              </a:ext>
            </a:extLst>
          </p:cNvPr>
          <p:cNvSpPr txBox="1"/>
          <p:nvPr/>
        </p:nvSpPr>
        <p:spPr>
          <a:xfrm>
            <a:off x="7278010" y="6591175"/>
            <a:ext cx="425867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100" b="0" i="0" kern="0" spc="-20" baseline="0" dirty="0">
                <a:solidFill>
                  <a:schemeClr val="bg1"/>
                </a:solidFill>
                <a:latin typeface="Segoe UI Semibold" charset="0"/>
              </a:rPr>
              <a:t>Microsoft Azure    </a:t>
            </a:r>
            <a:r>
              <a:rPr lang="en-US" sz="1100" b="0" i="0" kern="0" spc="-20" baseline="0" dirty="0">
                <a:solidFill>
                  <a:schemeClr val="bg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|  @</a:t>
            </a:r>
            <a:r>
              <a:rPr lang="en-US" sz="1100" b="0" i="0" kern="0" spc="-20" baseline="0" dirty="0" err="1">
                <a:solidFill>
                  <a:schemeClr val="bg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Techielass</a:t>
            </a:r>
            <a:endParaRPr lang="en-US" sz="1100" b="0" i="0" kern="0" spc="-20" baseline="0" dirty="0">
              <a:solidFill>
                <a:schemeClr val="bg1"/>
              </a:solidFill>
              <a:latin typeface="Segoe UI Semilight" panose="020B0402040204020203" pitchFamily="34" charset="0"/>
              <a:ea typeface="Segoe UI Semilight" charset="0"/>
              <a:cs typeface="Segoe UI Semilight" panose="020B04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4993918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51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51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51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51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2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6" dur="500" tmFilter="0, 0; .2, .5; .8, .5; 1, 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27" dur="250" autoRev="1" fill="hold"/>
                                        <p:tgtEl>
                                          <p:spTgt spid="19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51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3" dur="500" fill="hold"/>
                                        <p:tgtEl>
                                          <p:spTgt spid="51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4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6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7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8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0" dur="500" fill="hold"/>
                                        <p:tgtEl>
                                          <p:spTgt spid="5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1" dur="500" fill="hold"/>
                                        <p:tgtEl>
                                          <p:spTgt spid="5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2" presetID="2" presetClass="entr" presetSubtype="4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4" dur="500" fill="hold"/>
                                        <p:tgtEl>
                                          <p:spTgt spid="6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5" dur="500" fill="hold"/>
                                        <p:tgtEl>
                                          <p:spTgt spid="6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6" fill="hold">
                      <p:stCondLst>
                        <p:cond delay="indefinite"/>
                      </p:stCondLst>
                      <p:childTnLst>
                        <p:par>
                          <p:cTn id="47" fill="hold">
                            <p:stCondLst>
                              <p:cond delay="0"/>
                            </p:stCondLst>
                            <p:childTnLst>
                              <p:par>
                                <p:cTn id="48" presetID="1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0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2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4" dur="5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5" dur="5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6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8" dur="500" fill="hold"/>
                                        <p:tgtEl>
                                          <p:spTgt spid="51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9" dur="500" fill="hold"/>
                                        <p:tgtEl>
                                          <p:spTgt spid="51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0" presetID="1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2" presetID="1" presetClass="exit" presetSubtype="0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1" grpId="0"/>
      <p:bldP spid="61" grpId="1"/>
      <p:bldP spid="61" grpId="2"/>
      <p:bldP spid="2" grpId="0" animBg="1"/>
      <p:bldP spid="2" grpId="1" animBg="1"/>
    </p:bld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" name="Text Placeholder 4">
            <a:extLst>
              <a:ext uri="{FF2B5EF4-FFF2-40B4-BE49-F238E27FC236}">
                <a16:creationId xmlns:a16="http://schemas.microsoft.com/office/drawing/2014/main" id="{CA1426B1-F541-43D0-B30C-00CB61A270EE}"/>
              </a:ext>
            </a:extLst>
          </p:cNvPr>
          <p:cNvSpPr txBox="1">
            <a:spLocks/>
          </p:cNvSpPr>
          <p:nvPr/>
        </p:nvSpPr>
        <p:spPr>
          <a:xfrm>
            <a:off x="6681960" y="3935745"/>
            <a:ext cx="5245383" cy="5144564"/>
          </a:xfrm>
          <a:prstGeom prst="rect">
            <a:avLst/>
          </a:prstGeom>
        </p:spPr>
        <p:txBody>
          <a:bodyPr/>
          <a:lstStyle>
            <a:lvl1pPr marL="228600" marR="0" indent="-22860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28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defRPr>
            </a:lvl1pPr>
            <a:lvl2pPr marL="457200" marR="0" indent="-22860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20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657225" marR="0" indent="-20002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16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842963" marR="0" indent="-18097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14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1023938" marR="0" indent="-16827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14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896181" fontAlgn="base">
              <a:spcBef>
                <a:spcPct val="0"/>
              </a:spcBef>
              <a:spcAft>
                <a:spcPct val="0"/>
              </a:spcAft>
              <a:buSzTx/>
              <a:buNone/>
            </a:pPr>
            <a:r>
              <a:rPr lang="en-US" altLang="en-US" sz="1372" dirty="0">
                <a:solidFill>
                  <a:srgbClr val="0070C0"/>
                </a:solidFill>
                <a:latin typeface="Segoe UI"/>
              </a:rPr>
              <a:t>Deploy Hyper-V Replication Provider </a:t>
            </a:r>
            <a:r>
              <a:rPr lang="en-US" altLang="en-US" sz="1372" dirty="0">
                <a:solidFill>
                  <a:prstClr val="black"/>
                </a:solidFill>
                <a:latin typeface="Segoe UI"/>
              </a:rPr>
              <a:t>on Hyper-V host</a:t>
            </a:r>
          </a:p>
          <a:p>
            <a:pPr marL="0" indent="0" defTabSz="896181" fontAlgn="base">
              <a:spcBef>
                <a:spcPct val="0"/>
              </a:spcBef>
              <a:spcAft>
                <a:spcPct val="0"/>
              </a:spcAft>
              <a:buSzTx/>
              <a:buNone/>
            </a:pPr>
            <a:endParaRPr lang="en-US" altLang="en-US" sz="1372" dirty="0">
              <a:solidFill>
                <a:srgbClr val="0070C0"/>
              </a:solidFill>
              <a:latin typeface="Segoe UI"/>
            </a:endParaRPr>
          </a:p>
          <a:p>
            <a:pPr marL="0" indent="0" defTabSz="896181" fontAlgn="base">
              <a:spcBef>
                <a:spcPct val="0"/>
              </a:spcBef>
              <a:spcAft>
                <a:spcPct val="0"/>
              </a:spcAft>
              <a:buSzTx/>
              <a:buNone/>
            </a:pPr>
            <a:r>
              <a:rPr lang="en-US" altLang="en-US" sz="1372" dirty="0">
                <a:solidFill>
                  <a:srgbClr val="0070C0"/>
                </a:solidFill>
                <a:latin typeface="Segoe UI"/>
              </a:rPr>
              <a:t>Start replicating </a:t>
            </a:r>
            <a:r>
              <a:rPr lang="en-US" altLang="en-US" sz="1372" dirty="0">
                <a:gradFill>
                  <a:gsLst>
                    <a:gs pos="2917">
                      <a:srgbClr val="1A1A1A"/>
                    </a:gs>
                    <a:gs pos="30000">
                      <a:srgbClr val="1A1A1A"/>
                    </a:gs>
                  </a:gsLst>
                  <a:lin ang="5400000" scaled="0"/>
                </a:gradFill>
                <a:latin typeface="Segoe UI"/>
              </a:rPr>
              <a:t>your Windows and Linux servers using Azure Migrate: Server Migration </a:t>
            </a:r>
          </a:p>
          <a:p>
            <a:pPr marL="0" indent="0" defTabSz="896181" fontAlgn="base">
              <a:spcBef>
                <a:spcPct val="0"/>
              </a:spcBef>
              <a:spcAft>
                <a:spcPct val="0"/>
              </a:spcAft>
              <a:buSzTx/>
              <a:buNone/>
            </a:pPr>
            <a:endParaRPr lang="en-US" altLang="en-US" sz="1372" dirty="0">
              <a:gradFill>
                <a:gsLst>
                  <a:gs pos="2917">
                    <a:srgbClr val="1A1A1A"/>
                  </a:gs>
                  <a:gs pos="30000">
                    <a:srgbClr val="1A1A1A"/>
                  </a:gs>
                </a:gsLst>
                <a:lin ang="5400000" scaled="0"/>
              </a:gradFill>
              <a:latin typeface="Segoe UI"/>
            </a:endParaRPr>
          </a:p>
          <a:p>
            <a:pPr marL="0" indent="0" defTabSz="896181" fontAlgn="base">
              <a:spcBef>
                <a:spcPct val="0"/>
              </a:spcBef>
              <a:spcAft>
                <a:spcPct val="0"/>
              </a:spcAft>
              <a:buSzTx/>
              <a:buNone/>
            </a:pPr>
            <a:r>
              <a:rPr lang="en-US" altLang="en-US" sz="1372" dirty="0">
                <a:solidFill>
                  <a:srgbClr val="0070C0"/>
                </a:solidFill>
                <a:latin typeface="Segoe UI"/>
              </a:rPr>
              <a:t>The Hyper-V Replication Provider orchestrates </a:t>
            </a:r>
            <a:r>
              <a:rPr lang="en-US" altLang="en-US" sz="1372" dirty="0">
                <a:solidFill>
                  <a:prstClr val="black"/>
                </a:solidFill>
                <a:latin typeface="Segoe UI"/>
              </a:rPr>
              <a:t>the replication of your VM data to your Azure subscription</a:t>
            </a:r>
          </a:p>
          <a:p>
            <a:pPr marL="0" indent="0" defTabSz="896181" fontAlgn="base">
              <a:spcBef>
                <a:spcPct val="0"/>
              </a:spcBef>
              <a:spcAft>
                <a:spcPct val="0"/>
              </a:spcAft>
              <a:buSzTx/>
              <a:buNone/>
            </a:pPr>
            <a:endParaRPr lang="en-US" altLang="en-US" sz="1372" dirty="0">
              <a:gradFill>
                <a:gsLst>
                  <a:gs pos="2917">
                    <a:srgbClr val="1A1A1A"/>
                  </a:gs>
                  <a:gs pos="30000">
                    <a:srgbClr val="1A1A1A"/>
                  </a:gs>
                </a:gsLst>
                <a:lin ang="5400000" scaled="0"/>
              </a:gradFill>
              <a:latin typeface="Segoe UI"/>
            </a:endParaRPr>
          </a:p>
          <a:p>
            <a:pPr marL="0" indent="0" defTabSz="896181" fontAlgn="base">
              <a:spcBef>
                <a:spcPct val="0"/>
              </a:spcBef>
              <a:spcAft>
                <a:spcPct val="0"/>
              </a:spcAft>
              <a:buSzTx/>
              <a:buNone/>
            </a:pPr>
            <a:r>
              <a:rPr lang="en-US" altLang="en-US" sz="1372" dirty="0">
                <a:solidFill>
                  <a:srgbClr val="0070C0"/>
                </a:solidFill>
                <a:latin typeface="Segoe UI"/>
              </a:rPr>
              <a:t>Perform test migrations </a:t>
            </a:r>
            <a:r>
              <a:rPr lang="en-US" altLang="en-US" sz="1372" dirty="0">
                <a:gradFill>
                  <a:gsLst>
                    <a:gs pos="2917">
                      <a:srgbClr val="1A1A1A"/>
                    </a:gs>
                    <a:gs pos="30000">
                      <a:srgbClr val="1A1A1A"/>
                    </a:gs>
                  </a:gsLst>
                  <a:lin ang="5400000" scaled="0"/>
                </a:gradFill>
                <a:latin typeface="Segoe UI"/>
              </a:rPr>
              <a:t>to a sandbox environment with no impact to production to validate migration</a:t>
            </a:r>
          </a:p>
          <a:p>
            <a:pPr marL="0" indent="0" defTabSz="896181" fontAlgn="base">
              <a:spcBef>
                <a:spcPct val="0"/>
              </a:spcBef>
              <a:spcAft>
                <a:spcPct val="0"/>
              </a:spcAft>
              <a:buSzTx/>
              <a:buNone/>
            </a:pPr>
            <a:endParaRPr lang="en-US" altLang="en-US" sz="1372" dirty="0">
              <a:gradFill>
                <a:gsLst>
                  <a:gs pos="2917">
                    <a:srgbClr val="1A1A1A"/>
                  </a:gs>
                  <a:gs pos="30000">
                    <a:srgbClr val="1A1A1A"/>
                  </a:gs>
                </a:gsLst>
                <a:lin ang="5400000" scaled="0"/>
              </a:gradFill>
              <a:latin typeface="Segoe UI"/>
            </a:endParaRPr>
          </a:p>
          <a:p>
            <a:pPr marL="0" indent="0" defTabSz="896181" fontAlgn="base">
              <a:spcBef>
                <a:spcPct val="0"/>
              </a:spcBef>
              <a:spcAft>
                <a:spcPct val="0"/>
              </a:spcAft>
              <a:buSzTx/>
              <a:buNone/>
            </a:pPr>
            <a:r>
              <a:rPr lang="en-US" altLang="en-US" sz="1372" dirty="0">
                <a:solidFill>
                  <a:srgbClr val="0070C0"/>
                </a:solidFill>
                <a:latin typeface="Segoe UI"/>
              </a:rPr>
              <a:t>Migrate to Azure </a:t>
            </a:r>
            <a:r>
              <a:rPr lang="en-US" altLang="en-US" sz="1372" dirty="0">
                <a:gradFill>
                  <a:gsLst>
                    <a:gs pos="2917">
                      <a:srgbClr val="1A1A1A"/>
                    </a:gs>
                    <a:gs pos="30000">
                      <a:srgbClr val="1A1A1A"/>
                    </a:gs>
                  </a:gsLst>
                  <a:lin ang="5400000" scaled="0"/>
                </a:gradFill>
                <a:latin typeface="Segoe UI"/>
              </a:rPr>
              <a:t>with zero data-loss and minimal downtime</a:t>
            </a:r>
          </a:p>
          <a:p>
            <a:pPr marL="228556" indent="-228556" defTabSz="932563"/>
            <a:endParaRPr lang="en-US" sz="2200" dirty="0">
              <a:gradFill>
                <a:gsLst>
                  <a:gs pos="125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</a:endParaRPr>
          </a:p>
        </p:txBody>
      </p:sp>
      <p:pic>
        <p:nvPicPr>
          <p:cNvPr id="6" name="Picture 4">
            <a:extLst>
              <a:ext uri="{FF2B5EF4-FFF2-40B4-BE49-F238E27FC236}">
                <a16:creationId xmlns:a16="http://schemas.microsoft.com/office/drawing/2014/main" id="{1A2EA3C5-B0AA-4F6F-A512-D0C8D55048C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2368603" y="5275443"/>
            <a:ext cx="1693627" cy="7258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8B899A80-44B1-4DEE-BD84-0E347EEE9FA6}"/>
              </a:ext>
            </a:extLst>
          </p:cNvPr>
          <p:cNvSpPr txBox="1">
            <a:spLocks/>
          </p:cNvSpPr>
          <p:nvPr/>
        </p:nvSpPr>
        <p:spPr>
          <a:xfrm>
            <a:off x="589825" y="458045"/>
            <a:ext cx="11015394" cy="553841"/>
          </a:xfrm>
          <a:prstGeom prst="rect">
            <a:avLst/>
          </a:prstGeom>
        </p:spPr>
        <p:txBody>
          <a:bodyPr vert="horz" wrap="square" lIns="0" tIns="89630" rIns="143407" bIns="89630" rtlCol="0" anchor="t">
            <a:noAutofit/>
          </a:bodyPr>
          <a:lstStyle>
            <a:lvl1pPr algn="l" defTabSz="93256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800" b="0" kern="1200" cap="none" spc="-50" baseline="0" dirty="0" smtClean="0">
                <a:ln w="3175">
                  <a:noFill/>
                </a:ln>
                <a:solidFill>
                  <a:srgbClr val="000000"/>
                </a:soli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defTabSz="914225">
              <a:lnSpc>
                <a:spcPct val="100000"/>
              </a:lnSpc>
              <a:spcBef>
                <a:spcPts val="0"/>
              </a:spcBef>
              <a:defRPr/>
            </a:pPr>
            <a:endParaRPr lang="en-US" sz="1765" i="1" dirty="0">
              <a:solidFill>
                <a:prstClr val="black"/>
              </a:solidFill>
              <a:latin typeface="Segoe UI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C572FF9E-B918-4FE9-A4FE-6268AAA69E3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 rot="5400000">
            <a:off x="3020482" y="3674060"/>
            <a:ext cx="324801" cy="1165648"/>
          </a:xfrm>
          <a:prstGeom prst="rect">
            <a:avLst/>
          </a:prstGeom>
        </p:spPr>
      </p:pic>
      <p:sp>
        <p:nvSpPr>
          <p:cNvPr id="7" name="Freeform 342">
            <a:extLst>
              <a:ext uri="{FF2B5EF4-FFF2-40B4-BE49-F238E27FC236}">
                <a16:creationId xmlns:a16="http://schemas.microsoft.com/office/drawing/2014/main" id="{A0360920-6115-4334-9EFE-5486F652EFB8}"/>
              </a:ext>
            </a:extLst>
          </p:cNvPr>
          <p:cNvSpPr>
            <a:spLocks noEditPoints="1"/>
          </p:cNvSpPr>
          <p:nvPr/>
        </p:nvSpPr>
        <p:spPr bwMode="auto">
          <a:xfrm>
            <a:off x="3016465" y="3823129"/>
            <a:ext cx="380350" cy="378448"/>
          </a:xfrm>
          <a:custGeom>
            <a:avLst/>
            <a:gdLst>
              <a:gd name="T0" fmla="*/ 19 w 93"/>
              <a:gd name="T1" fmla="*/ 23 h 93"/>
              <a:gd name="T2" fmla="*/ 19 w 93"/>
              <a:gd name="T3" fmla="*/ 29 h 93"/>
              <a:gd name="T4" fmla="*/ 12 w 93"/>
              <a:gd name="T5" fmla="*/ 35 h 93"/>
              <a:gd name="T6" fmla="*/ 1 w 93"/>
              <a:gd name="T7" fmla="*/ 37 h 93"/>
              <a:gd name="T8" fmla="*/ 2 w 93"/>
              <a:gd name="T9" fmla="*/ 47 h 93"/>
              <a:gd name="T10" fmla="*/ 14 w 93"/>
              <a:gd name="T11" fmla="*/ 53 h 93"/>
              <a:gd name="T12" fmla="*/ 14 w 93"/>
              <a:gd name="T13" fmla="*/ 63 h 93"/>
              <a:gd name="T14" fmla="*/ 7 w 93"/>
              <a:gd name="T15" fmla="*/ 72 h 93"/>
              <a:gd name="T16" fmla="*/ 16 w 93"/>
              <a:gd name="T17" fmla="*/ 78 h 93"/>
              <a:gd name="T18" fmla="*/ 28 w 93"/>
              <a:gd name="T19" fmla="*/ 74 h 93"/>
              <a:gd name="T20" fmla="*/ 35 w 93"/>
              <a:gd name="T21" fmla="*/ 81 h 93"/>
              <a:gd name="T22" fmla="*/ 37 w 93"/>
              <a:gd name="T23" fmla="*/ 92 h 93"/>
              <a:gd name="T24" fmla="*/ 47 w 93"/>
              <a:gd name="T25" fmla="*/ 90 h 93"/>
              <a:gd name="T26" fmla="*/ 53 w 93"/>
              <a:gd name="T27" fmla="*/ 78 h 93"/>
              <a:gd name="T28" fmla="*/ 57 w 93"/>
              <a:gd name="T29" fmla="*/ 77 h 93"/>
              <a:gd name="T30" fmla="*/ 62 w 93"/>
              <a:gd name="T31" fmla="*/ 79 h 93"/>
              <a:gd name="T32" fmla="*/ 72 w 93"/>
              <a:gd name="T33" fmla="*/ 85 h 93"/>
              <a:gd name="T34" fmla="*/ 78 w 93"/>
              <a:gd name="T35" fmla="*/ 77 h 93"/>
              <a:gd name="T36" fmla="*/ 73 w 93"/>
              <a:gd name="T37" fmla="*/ 65 h 93"/>
              <a:gd name="T38" fmla="*/ 75 w 93"/>
              <a:gd name="T39" fmla="*/ 61 h 93"/>
              <a:gd name="T40" fmla="*/ 80 w 93"/>
              <a:gd name="T41" fmla="*/ 58 h 93"/>
              <a:gd name="T42" fmla="*/ 92 w 93"/>
              <a:gd name="T43" fmla="*/ 56 h 93"/>
              <a:gd name="T44" fmla="*/ 90 w 93"/>
              <a:gd name="T45" fmla="*/ 46 h 93"/>
              <a:gd name="T46" fmla="*/ 78 w 93"/>
              <a:gd name="T47" fmla="*/ 40 h 93"/>
              <a:gd name="T48" fmla="*/ 77 w 93"/>
              <a:gd name="T49" fmla="*/ 36 h 93"/>
              <a:gd name="T50" fmla="*/ 78 w 93"/>
              <a:gd name="T51" fmla="*/ 31 h 93"/>
              <a:gd name="T52" fmla="*/ 85 w 93"/>
              <a:gd name="T53" fmla="*/ 21 h 93"/>
              <a:gd name="T54" fmla="*/ 77 w 93"/>
              <a:gd name="T55" fmla="*/ 15 h 93"/>
              <a:gd name="T56" fmla="*/ 64 w 93"/>
              <a:gd name="T57" fmla="*/ 20 h 93"/>
              <a:gd name="T58" fmla="*/ 61 w 93"/>
              <a:gd name="T59" fmla="*/ 18 h 93"/>
              <a:gd name="T60" fmla="*/ 58 w 93"/>
              <a:gd name="T61" fmla="*/ 13 h 93"/>
              <a:gd name="T62" fmla="*/ 56 w 93"/>
              <a:gd name="T63" fmla="*/ 1 h 93"/>
              <a:gd name="T64" fmla="*/ 46 w 93"/>
              <a:gd name="T65" fmla="*/ 3 h 93"/>
              <a:gd name="T66" fmla="*/ 40 w 93"/>
              <a:gd name="T67" fmla="*/ 15 h 93"/>
              <a:gd name="T68" fmla="*/ 36 w 93"/>
              <a:gd name="T69" fmla="*/ 16 h 93"/>
              <a:gd name="T70" fmla="*/ 30 w 93"/>
              <a:gd name="T71" fmla="*/ 14 h 93"/>
              <a:gd name="T72" fmla="*/ 21 w 93"/>
              <a:gd name="T73" fmla="*/ 8 h 93"/>
              <a:gd name="T74" fmla="*/ 15 w 93"/>
              <a:gd name="T75" fmla="*/ 16 h 93"/>
              <a:gd name="T76" fmla="*/ 57 w 93"/>
              <a:gd name="T77" fmla="*/ 60 h 93"/>
              <a:gd name="T78" fmla="*/ 36 w 93"/>
              <a:gd name="T79" fmla="*/ 33 h 9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</a:cxnLst>
            <a:rect l="0" t="0" r="r" b="b"/>
            <a:pathLst>
              <a:path w="93" h="93">
                <a:moveTo>
                  <a:pt x="15" y="16"/>
                </a:moveTo>
                <a:cubicBezTo>
                  <a:pt x="19" y="23"/>
                  <a:pt x="19" y="23"/>
                  <a:pt x="19" y="23"/>
                </a:cubicBezTo>
                <a:cubicBezTo>
                  <a:pt x="21" y="26"/>
                  <a:pt x="20" y="27"/>
                  <a:pt x="19" y="29"/>
                </a:cubicBezTo>
                <a:cubicBezTo>
                  <a:pt x="19" y="29"/>
                  <a:pt x="19" y="29"/>
                  <a:pt x="19" y="29"/>
                </a:cubicBezTo>
                <a:cubicBezTo>
                  <a:pt x="18" y="30"/>
                  <a:pt x="18" y="31"/>
                  <a:pt x="17" y="32"/>
                </a:cubicBezTo>
                <a:cubicBezTo>
                  <a:pt x="16" y="34"/>
                  <a:pt x="15" y="35"/>
                  <a:pt x="12" y="35"/>
                </a:cubicBezTo>
                <a:cubicBezTo>
                  <a:pt x="4" y="35"/>
                  <a:pt x="4" y="35"/>
                  <a:pt x="4" y="35"/>
                </a:cubicBezTo>
                <a:cubicBezTo>
                  <a:pt x="2" y="35"/>
                  <a:pt x="1" y="36"/>
                  <a:pt x="1" y="37"/>
                </a:cubicBezTo>
                <a:cubicBezTo>
                  <a:pt x="0" y="44"/>
                  <a:pt x="0" y="44"/>
                  <a:pt x="0" y="44"/>
                </a:cubicBezTo>
                <a:cubicBezTo>
                  <a:pt x="0" y="45"/>
                  <a:pt x="1" y="47"/>
                  <a:pt x="2" y="47"/>
                </a:cubicBezTo>
                <a:cubicBezTo>
                  <a:pt x="10" y="49"/>
                  <a:pt x="10" y="49"/>
                  <a:pt x="10" y="49"/>
                </a:cubicBezTo>
                <a:cubicBezTo>
                  <a:pt x="13" y="50"/>
                  <a:pt x="14" y="51"/>
                  <a:pt x="14" y="53"/>
                </a:cubicBezTo>
                <a:cubicBezTo>
                  <a:pt x="15" y="54"/>
                  <a:pt x="15" y="56"/>
                  <a:pt x="16" y="58"/>
                </a:cubicBezTo>
                <a:cubicBezTo>
                  <a:pt x="16" y="59"/>
                  <a:pt x="16" y="61"/>
                  <a:pt x="14" y="63"/>
                </a:cubicBezTo>
                <a:cubicBezTo>
                  <a:pt x="8" y="68"/>
                  <a:pt x="8" y="68"/>
                  <a:pt x="8" y="68"/>
                </a:cubicBezTo>
                <a:cubicBezTo>
                  <a:pt x="7" y="69"/>
                  <a:pt x="7" y="71"/>
                  <a:pt x="7" y="72"/>
                </a:cubicBezTo>
                <a:cubicBezTo>
                  <a:pt x="12" y="78"/>
                  <a:pt x="12" y="78"/>
                  <a:pt x="12" y="78"/>
                </a:cubicBezTo>
                <a:cubicBezTo>
                  <a:pt x="12" y="78"/>
                  <a:pt x="14" y="79"/>
                  <a:pt x="16" y="78"/>
                </a:cubicBezTo>
                <a:cubicBezTo>
                  <a:pt x="22" y="74"/>
                  <a:pt x="22" y="74"/>
                  <a:pt x="22" y="74"/>
                </a:cubicBezTo>
                <a:cubicBezTo>
                  <a:pt x="25" y="72"/>
                  <a:pt x="27" y="73"/>
                  <a:pt x="28" y="74"/>
                </a:cubicBezTo>
                <a:cubicBezTo>
                  <a:pt x="29" y="74"/>
                  <a:pt x="31" y="75"/>
                  <a:pt x="32" y="76"/>
                </a:cubicBezTo>
                <a:cubicBezTo>
                  <a:pt x="34" y="76"/>
                  <a:pt x="35" y="78"/>
                  <a:pt x="35" y="81"/>
                </a:cubicBezTo>
                <a:cubicBezTo>
                  <a:pt x="34" y="89"/>
                  <a:pt x="34" y="89"/>
                  <a:pt x="34" y="89"/>
                </a:cubicBezTo>
                <a:cubicBezTo>
                  <a:pt x="34" y="91"/>
                  <a:pt x="36" y="92"/>
                  <a:pt x="37" y="92"/>
                </a:cubicBezTo>
                <a:cubicBezTo>
                  <a:pt x="44" y="93"/>
                  <a:pt x="44" y="93"/>
                  <a:pt x="44" y="93"/>
                </a:cubicBezTo>
                <a:cubicBezTo>
                  <a:pt x="45" y="93"/>
                  <a:pt x="46" y="92"/>
                  <a:pt x="47" y="90"/>
                </a:cubicBezTo>
                <a:cubicBezTo>
                  <a:pt x="49" y="83"/>
                  <a:pt x="49" y="83"/>
                  <a:pt x="49" y="83"/>
                </a:cubicBezTo>
                <a:cubicBezTo>
                  <a:pt x="49" y="80"/>
                  <a:pt x="51" y="79"/>
                  <a:pt x="53" y="78"/>
                </a:cubicBezTo>
                <a:cubicBezTo>
                  <a:pt x="53" y="78"/>
                  <a:pt x="53" y="78"/>
                  <a:pt x="53" y="78"/>
                </a:cubicBezTo>
                <a:cubicBezTo>
                  <a:pt x="54" y="78"/>
                  <a:pt x="55" y="78"/>
                  <a:pt x="57" y="77"/>
                </a:cubicBezTo>
                <a:cubicBezTo>
                  <a:pt x="57" y="77"/>
                  <a:pt x="57" y="77"/>
                  <a:pt x="57" y="77"/>
                </a:cubicBezTo>
                <a:cubicBezTo>
                  <a:pt x="58" y="77"/>
                  <a:pt x="60" y="77"/>
                  <a:pt x="62" y="79"/>
                </a:cubicBezTo>
                <a:cubicBezTo>
                  <a:pt x="68" y="85"/>
                  <a:pt x="68" y="85"/>
                  <a:pt x="68" y="85"/>
                </a:cubicBezTo>
                <a:cubicBezTo>
                  <a:pt x="69" y="86"/>
                  <a:pt x="71" y="86"/>
                  <a:pt x="72" y="85"/>
                </a:cubicBezTo>
                <a:cubicBezTo>
                  <a:pt x="77" y="81"/>
                  <a:pt x="77" y="81"/>
                  <a:pt x="77" y="81"/>
                </a:cubicBezTo>
                <a:cubicBezTo>
                  <a:pt x="78" y="80"/>
                  <a:pt x="78" y="79"/>
                  <a:pt x="78" y="77"/>
                </a:cubicBezTo>
                <a:cubicBezTo>
                  <a:pt x="73" y="70"/>
                  <a:pt x="73" y="70"/>
                  <a:pt x="73" y="70"/>
                </a:cubicBezTo>
                <a:cubicBezTo>
                  <a:pt x="72" y="68"/>
                  <a:pt x="72" y="66"/>
                  <a:pt x="73" y="65"/>
                </a:cubicBezTo>
                <a:cubicBezTo>
                  <a:pt x="73" y="64"/>
                  <a:pt x="73" y="64"/>
                  <a:pt x="73" y="64"/>
                </a:cubicBezTo>
                <a:cubicBezTo>
                  <a:pt x="74" y="63"/>
                  <a:pt x="75" y="62"/>
                  <a:pt x="75" y="61"/>
                </a:cubicBezTo>
                <a:cubicBezTo>
                  <a:pt x="75" y="61"/>
                  <a:pt x="75" y="61"/>
                  <a:pt x="75" y="61"/>
                </a:cubicBezTo>
                <a:cubicBezTo>
                  <a:pt x="76" y="59"/>
                  <a:pt x="77" y="58"/>
                  <a:pt x="80" y="58"/>
                </a:cubicBezTo>
                <a:cubicBezTo>
                  <a:pt x="89" y="58"/>
                  <a:pt x="89" y="58"/>
                  <a:pt x="89" y="58"/>
                </a:cubicBezTo>
                <a:cubicBezTo>
                  <a:pt x="90" y="58"/>
                  <a:pt x="91" y="57"/>
                  <a:pt x="92" y="56"/>
                </a:cubicBezTo>
                <a:cubicBezTo>
                  <a:pt x="92" y="49"/>
                  <a:pt x="92" y="49"/>
                  <a:pt x="92" y="49"/>
                </a:cubicBezTo>
                <a:cubicBezTo>
                  <a:pt x="93" y="48"/>
                  <a:pt x="92" y="47"/>
                  <a:pt x="90" y="46"/>
                </a:cubicBezTo>
                <a:cubicBezTo>
                  <a:pt x="82" y="44"/>
                  <a:pt x="82" y="44"/>
                  <a:pt x="82" y="44"/>
                </a:cubicBezTo>
                <a:cubicBezTo>
                  <a:pt x="79" y="43"/>
                  <a:pt x="78" y="42"/>
                  <a:pt x="78" y="40"/>
                </a:cubicBezTo>
                <a:cubicBezTo>
                  <a:pt x="78" y="40"/>
                  <a:pt x="78" y="40"/>
                  <a:pt x="78" y="40"/>
                </a:cubicBezTo>
                <a:cubicBezTo>
                  <a:pt x="78" y="39"/>
                  <a:pt x="77" y="38"/>
                  <a:pt x="77" y="36"/>
                </a:cubicBezTo>
                <a:cubicBezTo>
                  <a:pt x="77" y="36"/>
                  <a:pt x="77" y="36"/>
                  <a:pt x="77" y="36"/>
                </a:cubicBezTo>
                <a:cubicBezTo>
                  <a:pt x="76" y="34"/>
                  <a:pt x="76" y="33"/>
                  <a:pt x="78" y="31"/>
                </a:cubicBezTo>
                <a:cubicBezTo>
                  <a:pt x="84" y="25"/>
                  <a:pt x="84" y="25"/>
                  <a:pt x="84" y="25"/>
                </a:cubicBezTo>
                <a:cubicBezTo>
                  <a:pt x="86" y="24"/>
                  <a:pt x="85" y="22"/>
                  <a:pt x="85" y="21"/>
                </a:cubicBezTo>
                <a:cubicBezTo>
                  <a:pt x="81" y="16"/>
                  <a:pt x="81" y="16"/>
                  <a:pt x="81" y="16"/>
                </a:cubicBezTo>
                <a:cubicBezTo>
                  <a:pt x="80" y="15"/>
                  <a:pt x="78" y="14"/>
                  <a:pt x="77" y="15"/>
                </a:cubicBezTo>
                <a:cubicBezTo>
                  <a:pt x="70" y="20"/>
                  <a:pt x="70" y="20"/>
                  <a:pt x="70" y="20"/>
                </a:cubicBezTo>
                <a:cubicBezTo>
                  <a:pt x="67" y="21"/>
                  <a:pt x="66" y="21"/>
                  <a:pt x="64" y="20"/>
                </a:cubicBezTo>
                <a:cubicBezTo>
                  <a:pt x="64" y="20"/>
                  <a:pt x="64" y="20"/>
                  <a:pt x="64" y="20"/>
                </a:cubicBezTo>
                <a:cubicBezTo>
                  <a:pt x="63" y="19"/>
                  <a:pt x="62" y="18"/>
                  <a:pt x="61" y="18"/>
                </a:cubicBezTo>
                <a:cubicBezTo>
                  <a:pt x="60" y="17"/>
                  <a:pt x="60" y="17"/>
                  <a:pt x="60" y="17"/>
                </a:cubicBezTo>
                <a:cubicBezTo>
                  <a:pt x="59" y="17"/>
                  <a:pt x="58" y="16"/>
                  <a:pt x="58" y="13"/>
                </a:cubicBezTo>
                <a:cubicBezTo>
                  <a:pt x="58" y="4"/>
                  <a:pt x="58" y="4"/>
                  <a:pt x="58" y="4"/>
                </a:cubicBezTo>
                <a:cubicBezTo>
                  <a:pt x="58" y="3"/>
                  <a:pt x="57" y="1"/>
                  <a:pt x="56" y="1"/>
                </a:cubicBezTo>
                <a:cubicBezTo>
                  <a:pt x="49" y="0"/>
                  <a:pt x="49" y="0"/>
                  <a:pt x="49" y="0"/>
                </a:cubicBezTo>
                <a:cubicBezTo>
                  <a:pt x="48" y="0"/>
                  <a:pt x="46" y="1"/>
                  <a:pt x="46" y="3"/>
                </a:cubicBezTo>
                <a:cubicBezTo>
                  <a:pt x="44" y="11"/>
                  <a:pt x="44" y="11"/>
                  <a:pt x="44" y="11"/>
                </a:cubicBezTo>
                <a:cubicBezTo>
                  <a:pt x="43" y="14"/>
                  <a:pt x="42" y="15"/>
                  <a:pt x="40" y="15"/>
                </a:cubicBezTo>
                <a:cubicBezTo>
                  <a:pt x="40" y="15"/>
                  <a:pt x="40" y="15"/>
                  <a:pt x="40" y="15"/>
                </a:cubicBezTo>
                <a:cubicBezTo>
                  <a:pt x="38" y="15"/>
                  <a:pt x="37" y="15"/>
                  <a:pt x="36" y="16"/>
                </a:cubicBezTo>
                <a:cubicBezTo>
                  <a:pt x="36" y="16"/>
                  <a:pt x="36" y="16"/>
                  <a:pt x="36" y="16"/>
                </a:cubicBezTo>
                <a:cubicBezTo>
                  <a:pt x="34" y="17"/>
                  <a:pt x="32" y="17"/>
                  <a:pt x="30" y="14"/>
                </a:cubicBezTo>
                <a:cubicBezTo>
                  <a:pt x="25" y="8"/>
                  <a:pt x="25" y="8"/>
                  <a:pt x="25" y="8"/>
                </a:cubicBezTo>
                <a:cubicBezTo>
                  <a:pt x="23" y="7"/>
                  <a:pt x="21" y="7"/>
                  <a:pt x="21" y="8"/>
                </a:cubicBezTo>
                <a:cubicBezTo>
                  <a:pt x="15" y="12"/>
                  <a:pt x="15" y="12"/>
                  <a:pt x="15" y="12"/>
                </a:cubicBezTo>
                <a:cubicBezTo>
                  <a:pt x="14" y="13"/>
                  <a:pt x="14" y="15"/>
                  <a:pt x="15" y="16"/>
                </a:cubicBezTo>
                <a:close/>
                <a:moveTo>
                  <a:pt x="60" y="36"/>
                </a:moveTo>
                <a:cubicBezTo>
                  <a:pt x="65" y="44"/>
                  <a:pt x="64" y="54"/>
                  <a:pt x="57" y="60"/>
                </a:cubicBezTo>
                <a:cubicBezTo>
                  <a:pt x="49" y="66"/>
                  <a:pt x="38" y="64"/>
                  <a:pt x="33" y="57"/>
                </a:cubicBezTo>
                <a:cubicBezTo>
                  <a:pt x="27" y="50"/>
                  <a:pt x="28" y="39"/>
                  <a:pt x="36" y="33"/>
                </a:cubicBezTo>
                <a:cubicBezTo>
                  <a:pt x="43" y="27"/>
                  <a:pt x="54" y="29"/>
                  <a:pt x="60" y="36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91414" tIns="45706" rIns="91414" bIns="45706" numCol="1" anchor="t" anchorCtr="0" compatLnSpc="1">
            <a:prstTxWarp prst="textNoShape">
              <a:avLst/>
            </a:prstTxWarp>
          </a:bodyPr>
          <a:lstStyle/>
          <a:p>
            <a:pPr defTabSz="914049">
              <a:defRPr/>
            </a:pPr>
            <a:endParaRPr lang="en-US" kern="0">
              <a:solidFill>
                <a:prstClr val="black"/>
              </a:solidFill>
              <a:latin typeface="Segoe UI Semilight"/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CCD0A6F2-BB9C-D44C-BFB2-70A08462DA32}"/>
              </a:ext>
            </a:extLst>
          </p:cNvPr>
          <p:cNvSpPr/>
          <p:nvPr/>
        </p:nvSpPr>
        <p:spPr bwMode="auto">
          <a:xfrm>
            <a:off x="6324224" y="487"/>
            <a:ext cx="5867777" cy="6857027"/>
          </a:xfrm>
          <a:prstGeom prst="rect">
            <a:avLst/>
          </a:prstGeom>
          <a:solidFill>
            <a:srgbClr val="FFFFFF">
              <a:lumMod val="95000"/>
            </a:srgb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2353" ker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/>
              <a:ea typeface="Segoe UI" pitchFamily="34" charset="0"/>
              <a:cs typeface="Segoe UI" pitchFamily="34" charset="0"/>
            </a:endParaRPr>
          </a:p>
        </p:txBody>
      </p:sp>
      <p:grpSp>
        <p:nvGrpSpPr>
          <p:cNvPr id="36" name="Group 35">
            <a:extLst>
              <a:ext uri="{FF2B5EF4-FFF2-40B4-BE49-F238E27FC236}">
                <a16:creationId xmlns:a16="http://schemas.microsoft.com/office/drawing/2014/main" id="{BA1B1FB0-A27F-1449-915F-F22C1C71815A}"/>
              </a:ext>
            </a:extLst>
          </p:cNvPr>
          <p:cNvGrpSpPr/>
          <p:nvPr/>
        </p:nvGrpSpPr>
        <p:grpSpPr>
          <a:xfrm>
            <a:off x="2147332" y="1613351"/>
            <a:ext cx="2071100" cy="2069512"/>
            <a:chOff x="1622425" y="1333500"/>
            <a:chExt cx="2071688" cy="2070100"/>
          </a:xfrm>
          <a:effectLst>
            <a:outerShdw blurRad="381000" sx="81000" sy="81000" algn="ctr" rotWithShape="0">
              <a:prstClr val="black">
                <a:alpha val="16000"/>
              </a:prstClr>
            </a:outerShdw>
          </a:effectLst>
        </p:grpSpPr>
        <p:grpSp>
          <p:nvGrpSpPr>
            <p:cNvPr id="37" name="Group 36">
              <a:extLst>
                <a:ext uri="{FF2B5EF4-FFF2-40B4-BE49-F238E27FC236}">
                  <a16:creationId xmlns:a16="http://schemas.microsoft.com/office/drawing/2014/main" id="{19E94AE1-AF8A-0843-94DF-5E55447E8705}"/>
                </a:ext>
              </a:extLst>
            </p:cNvPr>
            <p:cNvGrpSpPr/>
            <p:nvPr/>
          </p:nvGrpSpPr>
          <p:grpSpPr>
            <a:xfrm>
              <a:off x="1622425" y="1333500"/>
              <a:ext cx="2071688" cy="2070100"/>
              <a:chOff x="1622425" y="1333500"/>
              <a:chExt cx="2071688" cy="2070100"/>
            </a:xfrm>
          </p:grpSpPr>
          <p:sp>
            <p:nvSpPr>
              <p:cNvPr id="39" name="AutoShape 6">
                <a:extLst>
                  <a:ext uri="{FF2B5EF4-FFF2-40B4-BE49-F238E27FC236}">
                    <a16:creationId xmlns:a16="http://schemas.microsoft.com/office/drawing/2014/main" id="{115333BE-99D2-5945-8560-F507AE7179F4}"/>
                  </a:ext>
                </a:extLst>
              </p:cNvPr>
              <p:cNvSpPr>
                <a:spLocks noChangeAspect="1" noChangeArrowheads="1" noTextEdit="1"/>
              </p:cNvSpPr>
              <p:nvPr/>
            </p:nvSpPr>
            <p:spPr bwMode="auto">
              <a:xfrm>
                <a:off x="1622425" y="1333500"/>
                <a:ext cx="2068513" cy="207010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14" tIns="45706" rIns="91414" bIns="45706" numCol="1" anchor="t" anchorCtr="0" compatLnSpc="1">
                <a:prstTxWarp prst="textNoShape">
                  <a:avLst/>
                </a:prstTxWarp>
              </a:bodyPr>
              <a:lstStyle/>
              <a:p>
                <a:pPr defTabSz="914016">
                  <a:defRPr/>
                </a:pPr>
                <a:endParaRPr lang="en-US" sz="1765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40" name="Freeform 8">
                <a:extLst>
                  <a:ext uri="{FF2B5EF4-FFF2-40B4-BE49-F238E27FC236}">
                    <a16:creationId xmlns:a16="http://schemas.microsoft.com/office/drawing/2014/main" id="{43779236-20DC-4248-AA78-9360F9E9F84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87513" y="1528763"/>
                <a:ext cx="2006600" cy="1255713"/>
              </a:xfrm>
              <a:custGeom>
                <a:avLst/>
                <a:gdLst>
                  <a:gd name="T0" fmla="*/ 100 w 400"/>
                  <a:gd name="T1" fmla="*/ 50 h 250"/>
                  <a:gd name="T2" fmla="*/ 100 w 400"/>
                  <a:gd name="T3" fmla="*/ 50 h 250"/>
                  <a:gd name="T4" fmla="*/ 61 w 400"/>
                  <a:gd name="T5" fmla="*/ 58 h 250"/>
                  <a:gd name="T6" fmla="*/ 29 w 400"/>
                  <a:gd name="T7" fmla="*/ 79 h 250"/>
                  <a:gd name="T8" fmla="*/ 8 w 400"/>
                  <a:gd name="T9" fmla="*/ 111 h 250"/>
                  <a:gd name="T10" fmla="*/ 0 w 400"/>
                  <a:gd name="T11" fmla="*/ 150 h 250"/>
                  <a:gd name="T12" fmla="*/ 8 w 400"/>
                  <a:gd name="T13" fmla="*/ 189 h 250"/>
                  <a:gd name="T14" fmla="*/ 29 w 400"/>
                  <a:gd name="T15" fmla="*/ 221 h 250"/>
                  <a:gd name="T16" fmla="*/ 61 w 400"/>
                  <a:gd name="T17" fmla="*/ 242 h 250"/>
                  <a:gd name="T18" fmla="*/ 100 w 400"/>
                  <a:gd name="T19" fmla="*/ 250 h 250"/>
                  <a:gd name="T20" fmla="*/ 106 w 400"/>
                  <a:gd name="T21" fmla="*/ 250 h 250"/>
                  <a:gd name="T22" fmla="*/ 200 w 400"/>
                  <a:gd name="T23" fmla="*/ 156 h 250"/>
                  <a:gd name="T24" fmla="*/ 294 w 400"/>
                  <a:gd name="T25" fmla="*/ 250 h 250"/>
                  <a:gd name="T26" fmla="*/ 325 w 400"/>
                  <a:gd name="T27" fmla="*/ 250 h 250"/>
                  <a:gd name="T28" fmla="*/ 354 w 400"/>
                  <a:gd name="T29" fmla="*/ 244 h 250"/>
                  <a:gd name="T30" fmla="*/ 378 w 400"/>
                  <a:gd name="T31" fmla="*/ 228 h 250"/>
                  <a:gd name="T32" fmla="*/ 394 w 400"/>
                  <a:gd name="T33" fmla="*/ 204 h 250"/>
                  <a:gd name="T34" fmla="*/ 400 w 400"/>
                  <a:gd name="T35" fmla="*/ 175 h 250"/>
                  <a:gd name="T36" fmla="*/ 394 w 400"/>
                  <a:gd name="T37" fmla="*/ 146 h 250"/>
                  <a:gd name="T38" fmla="*/ 378 w 400"/>
                  <a:gd name="T39" fmla="*/ 122 h 250"/>
                  <a:gd name="T40" fmla="*/ 354 w 400"/>
                  <a:gd name="T41" fmla="*/ 106 h 250"/>
                  <a:gd name="T42" fmla="*/ 324 w 400"/>
                  <a:gd name="T43" fmla="*/ 100 h 250"/>
                  <a:gd name="T44" fmla="*/ 312 w 400"/>
                  <a:gd name="T45" fmla="*/ 60 h 250"/>
                  <a:gd name="T46" fmla="*/ 287 w 400"/>
                  <a:gd name="T47" fmla="*/ 29 h 250"/>
                  <a:gd name="T48" fmla="*/ 253 w 400"/>
                  <a:gd name="T49" fmla="*/ 8 h 250"/>
                  <a:gd name="T50" fmla="*/ 212 w 400"/>
                  <a:gd name="T51" fmla="*/ 0 h 250"/>
                  <a:gd name="T52" fmla="*/ 184 w 400"/>
                  <a:gd name="T53" fmla="*/ 4 h 250"/>
                  <a:gd name="T54" fmla="*/ 158 w 400"/>
                  <a:gd name="T55" fmla="*/ 14 h 250"/>
                  <a:gd name="T56" fmla="*/ 136 w 400"/>
                  <a:gd name="T57" fmla="*/ 30 h 250"/>
                  <a:gd name="T58" fmla="*/ 118 w 400"/>
                  <a:gd name="T59" fmla="*/ 52 h 250"/>
                  <a:gd name="T60" fmla="*/ 100 w 400"/>
                  <a:gd name="T61" fmla="*/ 50 h 2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400" h="250">
                    <a:moveTo>
                      <a:pt x="100" y="50"/>
                    </a:moveTo>
                    <a:lnTo>
                      <a:pt x="100" y="50"/>
                    </a:lnTo>
                    <a:cubicBezTo>
                      <a:pt x="86" y="50"/>
                      <a:pt x="73" y="53"/>
                      <a:pt x="61" y="58"/>
                    </a:cubicBezTo>
                    <a:cubicBezTo>
                      <a:pt x="49" y="63"/>
                      <a:pt x="38" y="70"/>
                      <a:pt x="29" y="79"/>
                    </a:cubicBezTo>
                    <a:cubicBezTo>
                      <a:pt x="20" y="88"/>
                      <a:pt x="13" y="99"/>
                      <a:pt x="8" y="111"/>
                    </a:cubicBezTo>
                    <a:cubicBezTo>
                      <a:pt x="2" y="123"/>
                      <a:pt x="0" y="136"/>
                      <a:pt x="0" y="150"/>
                    </a:cubicBezTo>
                    <a:cubicBezTo>
                      <a:pt x="0" y="164"/>
                      <a:pt x="2" y="177"/>
                      <a:pt x="8" y="189"/>
                    </a:cubicBezTo>
                    <a:cubicBezTo>
                      <a:pt x="13" y="201"/>
                      <a:pt x="20" y="212"/>
                      <a:pt x="29" y="221"/>
                    </a:cubicBezTo>
                    <a:cubicBezTo>
                      <a:pt x="38" y="230"/>
                      <a:pt x="49" y="237"/>
                      <a:pt x="61" y="242"/>
                    </a:cubicBezTo>
                    <a:cubicBezTo>
                      <a:pt x="73" y="247"/>
                      <a:pt x="86" y="250"/>
                      <a:pt x="100" y="250"/>
                    </a:cubicBezTo>
                    <a:lnTo>
                      <a:pt x="106" y="250"/>
                    </a:lnTo>
                    <a:lnTo>
                      <a:pt x="200" y="156"/>
                    </a:lnTo>
                    <a:lnTo>
                      <a:pt x="294" y="250"/>
                    </a:lnTo>
                    <a:lnTo>
                      <a:pt x="325" y="250"/>
                    </a:lnTo>
                    <a:cubicBezTo>
                      <a:pt x="335" y="250"/>
                      <a:pt x="345" y="248"/>
                      <a:pt x="354" y="244"/>
                    </a:cubicBezTo>
                    <a:cubicBezTo>
                      <a:pt x="363" y="240"/>
                      <a:pt x="371" y="235"/>
                      <a:pt x="378" y="228"/>
                    </a:cubicBezTo>
                    <a:cubicBezTo>
                      <a:pt x="385" y="221"/>
                      <a:pt x="390" y="213"/>
                      <a:pt x="394" y="204"/>
                    </a:cubicBezTo>
                    <a:cubicBezTo>
                      <a:pt x="398" y="195"/>
                      <a:pt x="400" y="185"/>
                      <a:pt x="400" y="175"/>
                    </a:cubicBezTo>
                    <a:cubicBezTo>
                      <a:pt x="400" y="164"/>
                      <a:pt x="398" y="155"/>
                      <a:pt x="394" y="146"/>
                    </a:cubicBezTo>
                    <a:cubicBezTo>
                      <a:pt x="390" y="136"/>
                      <a:pt x="384" y="129"/>
                      <a:pt x="378" y="122"/>
                    </a:cubicBezTo>
                    <a:cubicBezTo>
                      <a:pt x="371" y="115"/>
                      <a:pt x="363" y="110"/>
                      <a:pt x="354" y="106"/>
                    </a:cubicBezTo>
                    <a:cubicBezTo>
                      <a:pt x="344" y="102"/>
                      <a:pt x="335" y="100"/>
                      <a:pt x="324" y="100"/>
                    </a:cubicBezTo>
                    <a:cubicBezTo>
                      <a:pt x="322" y="86"/>
                      <a:pt x="318" y="73"/>
                      <a:pt x="312" y="60"/>
                    </a:cubicBezTo>
                    <a:cubicBezTo>
                      <a:pt x="305" y="48"/>
                      <a:pt x="297" y="38"/>
                      <a:pt x="287" y="29"/>
                    </a:cubicBezTo>
                    <a:cubicBezTo>
                      <a:pt x="277" y="20"/>
                      <a:pt x="266" y="13"/>
                      <a:pt x="253" y="8"/>
                    </a:cubicBezTo>
                    <a:cubicBezTo>
                      <a:pt x="240" y="3"/>
                      <a:pt x="227" y="0"/>
                      <a:pt x="212" y="0"/>
                    </a:cubicBezTo>
                    <a:cubicBezTo>
                      <a:pt x="203" y="0"/>
                      <a:pt x="193" y="1"/>
                      <a:pt x="184" y="4"/>
                    </a:cubicBezTo>
                    <a:cubicBezTo>
                      <a:pt x="175" y="6"/>
                      <a:pt x="166" y="9"/>
                      <a:pt x="158" y="14"/>
                    </a:cubicBezTo>
                    <a:cubicBezTo>
                      <a:pt x="150" y="18"/>
                      <a:pt x="143" y="24"/>
                      <a:pt x="136" y="30"/>
                    </a:cubicBezTo>
                    <a:cubicBezTo>
                      <a:pt x="129" y="36"/>
                      <a:pt x="123" y="44"/>
                      <a:pt x="118" y="52"/>
                    </a:cubicBezTo>
                    <a:cubicBezTo>
                      <a:pt x="112" y="51"/>
                      <a:pt x="106" y="50"/>
                      <a:pt x="100" y="50"/>
                    </a:cubicBezTo>
                    <a:close/>
                  </a:path>
                </a:pathLst>
              </a:custGeom>
              <a:solidFill>
                <a:srgbClr val="0078D4"/>
              </a:solidFill>
              <a:ln w="0">
                <a:solidFill>
                  <a:srgbClr val="0078D4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14" tIns="45706" rIns="91414" bIns="45706" numCol="1" anchor="t" anchorCtr="0" compatLnSpc="1">
                <a:prstTxWarp prst="textNoShape">
                  <a:avLst/>
                </a:prstTxWarp>
              </a:bodyPr>
              <a:lstStyle/>
              <a:p>
                <a:pPr defTabSz="914016">
                  <a:defRPr/>
                </a:pPr>
                <a:endParaRPr lang="en-US" sz="1765">
                  <a:solidFill>
                    <a:srgbClr val="1A1A1A"/>
                  </a:solidFill>
                  <a:latin typeface="Segoe UI"/>
                </a:endParaRPr>
              </a:p>
            </p:txBody>
          </p:sp>
        </p:grpSp>
        <p:sp>
          <p:nvSpPr>
            <p:cNvPr id="38" name="Freeform 9">
              <a:extLst>
                <a:ext uri="{FF2B5EF4-FFF2-40B4-BE49-F238E27FC236}">
                  <a16:creationId xmlns:a16="http://schemas.microsoft.com/office/drawing/2014/main" id="{DD68AFD8-4A34-D74D-8249-6AC4D980D747}"/>
                </a:ext>
              </a:extLst>
            </p:cNvPr>
            <p:cNvSpPr>
              <a:spLocks/>
            </p:cNvSpPr>
            <p:nvPr/>
          </p:nvSpPr>
          <p:spPr bwMode="auto">
            <a:xfrm>
              <a:off x="2374900" y="2533650"/>
              <a:ext cx="631825" cy="692150"/>
            </a:xfrm>
            <a:custGeom>
              <a:avLst/>
              <a:gdLst>
                <a:gd name="T0" fmla="*/ 76 w 126"/>
                <a:gd name="T1" fmla="*/ 138 h 138"/>
                <a:gd name="T2" fmla="*/ 76 w 126"/>
                <a:gd name="T3" fmla="*/ 138 h 138"/>
                <a:gd name="T4" fmla="*/ 76 w 126"/>
                <a:gd name="T5" fmla="*/ 51 h 138"/>
                <a:gd name="T6" fmla="*/ 107 w 126"/>
                <a:gd name="T7" fmla="*/ 81 h 138"/>
                <a:gd name="T8" fmla="*/ 126 w 126"/>
                <a:gd name="T9" fmla="*/ 62 h 138"/>
                <a:gd name="T10" fmla="*/ 63 w 126"/>
                <a:gd name="T11" fmla="*/ 0 h 138"/>
                <a:gd name="T12" fmla="*/ 0 w 126"/>
                <a:gd name="T13" fmla="*/ 62 h 138"/>
                <a:gd name="T14" fmla="*/ 19 w 126"/>
                <a:gd name="T15" fmla="*/ 81 h 138"/>
                <a:gd name="T16" fmla="*/ 49 w 126"/>
                <a:gd name="T17" fmla="*/ 51 h 138"/>
                <a:gd name="T18" fmla="*/ 49 w 126"/>
                <a:gd name="T19" fmla="*/ 138 h 138"/>
                <a:gd name="T20" fmla="*/ 76 w 126"/>
                <a:gd name="T21" fmla="*/ 138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26" h="138">
                  <a:moveTo>
                    <a:pt x="76" y="138"/>
                  </a:moveTo>
                  <a:lnTo>
                    <a:pt x="76" y="138"/>
                  </a:lnTo>
                  <a:lnTo>
                    <a:pt x="76" y="51"/>
                  </a:lnTo>
                  <a:lnTo>
                    <a:pt x="107" y="81"/>
                  </a:lnTo>
                  <a:lnTo>
                    <a:pt x="126" y="62"/>
                  </a:lnTo>
                  <a:lnTo>
                    <a:pt x="63" y="0"/>
                  </a:lnTo>
                  <a:lnTo>
                    <a:pt x="0" y="62"/>
                  </a:lnTo>
                  <a:lnTo>
                    <a:pt x="19" y="81"/>
                  </a:lnTo>
                  <a:lnTo>
                    <a:pt x="49" y="51"/>
                  </a:lnTo>
                  <a:lnTo>
                    <a:pt x="49" y="138"/>
                  </a:lnTo>
                  <a:lnTo>
                    <a:pt x="76" y="138"/>
                  </a:lnTo>
                  <a:close/>
                </a:path>
              </a:pathLst>
            </a:custGeom>
            <a:solidFill>
              <a:schemeClr val="tx1"/>
            </a:solidFill>
            <a:ln w="19050">
              <a:noFill/>
              <a:prstDash val="solid"/>
              <a:round/>
              <a:headEnd/>
              <a:tailEnd/>
            </a:ln>
          </p:spPr>
          <p:txBody>
            <a:bodyPr vert="horz" wrap="square" lIns="91414" tIns="45706" rIns="91414" bIns="45706" numCol="1" anchor="t" anchorCtr="0" compatLnSpc="1">
              <a:prstTxWarp prst="textNoShape">
                <a:avLst/>
              </a:prstTxWarp>
            </a:bodyPr>
            <a:lstStyle/>
            <a:p>
              <a:pPr defTabSz="914016">
                <a:defRPr/>
              </a:pPr>
              <a:endParaRPr lang="en-US" sz="1765">
                <a:solidFill>
                  <a:srgbClr val="1A1A1A"/>
                </a:solidFill>
                <a:latin typeface="Segoe UI"/>
              </a:endParaRPr>
            </a:p>
          </p:txBody>
        </p:sp>
      </p:grpSp>
      <p:grpSp>
        <p:nvGrpSpPr>
          <p:cNvPr id="47" name="Group 46">
            <a:extLst>
              <a:ext uri="{FF2B5EF4-FFF2-40B4-BE49-F238E27FC236}">
                <a16:creationId xmlns:a16="http://schemas.microsoft.com/office/drawing/2014/main" id="{F4E66FFD-73CE-ED4A-9487-57F1EDF10977}"/>
              </a:ext>
            </a:extLst>
          </p:cNvPr>
          <p:cNvGrpSpPr/>
          <p:nvPr/>
        </p:nvGrpSpPr>
        <p:grpSpPr>
          <a:xfrm>
            <a:off x="2521441" y="4539020"/>
            <a:ext cx="1322884" cy="578051"/>
            <a:chOff x="1671603" y="4900917"/>
            <a:chExt cx="1323259" cy="578215"/>
          </a:xfrm>
        </p:grpSpPr>
        <p:grpSp>
          <p:nvGrpSpPr>
            <p:cNvPr id="48" name="Group 47">
              <a:extLst>
                <a:ext uri="{FF2B5EF4-FFF2-40B4-BE49-F238E27FC236}">
                  <a16:creationId xmlns:a16="http://schemas.microsoft.com/office/drawing/2014/main" id="{E1E6B63E-CF6B-D949-BDFB-C14012DEAA12}"/>
                </a:ext>
              </a:extLst>
            </p:cNvPr>
            <p:cNvGrpSpPr/>
            <p:nvPr/>
          </p:nvGrpSpPr>
          <p:grpSpPr>
            <a:xfrm>
              <a:off x="1671603" y="4900917"/>
              <a:ext cx="627183" cy="578215"/>
              <a:chOff x="2501959" y="5037105"/>
              <a:chExt cx="627183" cy="578215"/>
            </a:xfrm>
          </p:grpSpPr>
          <p:sp>
            <p:nvSpPr>
              <p:cNvPr id="53" name="Freeform 5">
                <a:extLst>
                  <a:ext uri="{FF2B5EF4-FFF2-40B4-BE49-F238E27FC236}">
                    <a16:creationId xmlns:a16="http://schemas.microsoft.com/office/drawing/2014/main" id="{B91B6ADC-4DD9-BE4C-819A-C84BE9925EB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01959" y="5037105"/>
                <a:ext cx="627183" cy="578215"/>
              </a:xfrm>
              <a:custGeom>
                <a:avLst/>
                <a:gdLst>
                  <a:gd name="T0" fmla="*/ 0 w 426"/>
                  <a:gd name="T1" fmla="*/ 12 h 333"/>
                  <a:gd name="T2" fmla="*/ 0 w 426"/>
                  <a:gd name="T3" fmla="*/ 12 h 333"/>
                  <a:gd name="T4" fmla="*/ 0 w 426"/>
                  <a:gd name="T5" fmla="*/ 255 h 333"/>
                  <a:gd name="T6" fmla="*/ 12 w 426"/>
                  <a:gd name="T7" fmla="*/ 268 h 333"/>
                  <a:gd name="T8" fmla="*/ 195 w 426"/>
                  <a:gd name="T9" fmla="*/ 268 h 333"/>
                  <a:gd name="T10" fmla="*/ 195 w 426"/>
                  <a:gd name="T11" fmla="*/ 306 h 333"/>
                  <a:gd name="T12" fmla="*/ 130 w 426"/>
                  <a:gd name="T13" fmla="*/ 306 h 333"/>
                  <a:gd name="T14" fmla="*/ 130 w 426"/>
                  <a:gd name="T15" fmla="*/ 333 h 333"/>
                  <a:gd name="T16" fmla="*/ 293 w 426"/>
                  <a:gd name="T17" fmla="*/ 333 h 333"/>
                  <a:gd name="T18" fmla="*/ 293 w 426"/>
                  <a:gd name="T19" fmla="*/ 306 h 333"/>
                  <a:gd name="T20" fmla="*/ 228 w 426"/>
                  <a:gd name="T21" fmla="*/ 306 h 333"/>
                  <a:gd name="T22" fmla="*/ 228 w 426"/>
                  <a:gd name="T23" fmla="*/ 268 h 333"/>
                  <a:gd name="T24" fmla="*/ 413 w 426"/>
                  <a:gd name="T25" fmla="*/ 268 h 333"/>
                  <a:gd name="T26" fmla="*/ 426 w 426"/>
                  <a:gd name="T27" fmla="*/ 255 h 333"/>
                  <a:gd name="T28" fmla="*/ 426 w 426"/>
                  <a:gd name="T29" fmla="*/ 12 h 333"/>
                  <a:gd name="T30" fmla="*/ 413 w 426"/>
                  <a:gd name="T31" fmla="*/ 0 h 333"/>
                  <a:gd name="T32" fmla="*/ 12 w 426"/>
                  <a:gd name="T33" fmla="*/ 0 h 333"/>
                  <a:gd name="T34" fmla="*/ 0 w 426"/>
                  <a:gd name="T35" fmla="*/ 12 h 3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426" h="333">
                    <a:moveTo>
                      <a:pt x="0" y="12"/>
                    </a:moveTo>
                    <a:lnTo>
                      <a:pt x="0" y="12"/>
                    </a:lnTo>
                    <a:lnTo>
                      <a:pt x="0" y="255"/>
                    </a:lnTo>
                    <a:cubicBezTo>
                      <a:pt x="0" y="262"/>
                      <a:pt x="5" y="268"/>
                      <a:pt x="12" y="268"/>
                    </a:cubicBezTo>
                    <a:lnTo>
                      <a:pt x="195" y="268"/>
                    </a:lnTo>
                    <a:lnTo>
                      <a:pt x="195" y="306"/>
                    </a:lnTo>
                    <a:lnTo>
                      <a:pt x="130" y="306"/>
                    </a:lnTo>
                    <a:lnTo>
                      <a:pt x="130" y="333"/>
                    </a:lnTo>
                    <a:lnTo>
                      <a:pt x="293" y="333"/>
                    </a:lnTo>
                    <a:lnTo>
                      <a:pt x="293" y="306"/>
                    </a:lnTo>
                    <a:lnTo>
                      <a:pt x="228" y="306"/>
                    </a:lnTo>
                    <a:lnTo>
                      <a:pt x="228" y="268"/>
                    </a:lnTo>
                    <a:lnTo>
                      <a:pt x="413" y="268"/>
                    </a:lnTo>
                    <a:cubicBezTo>
                      <a:pt x="420" y="268"/>
                      <a:pt x="426" y="262"/>
                      <a:pt x="426" y="255"/>
                    </a:cubicBezTo>
                    <a:lnTo>
                      <a:pt x="426" y="12"/>
                    </a:lnTo>
                    <a:cubicBezTo>
                      <a:pt x="426" y="5"/>
                      <a:pt x="420" y="0"/>
                      <a:pt x="413" y="0"/>
                    </a:cubicBezTo>
                    <a:lnTo>
                      <a:pt x="12" y="0"/>
                    </a:lnTo>
                    <a:cubicBezTo>
                      <a:pt x="5" y="0"/>
                      <a:pt x="0" y="5"/>
                      <a:pt x="0" y="12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1905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14" tIns="45706" rIns="91414" bIns="45706" numCol="1" anchor="t" anchorCtr="0" compatLnSpc="1">
                <a:prstTxWarp prst="textNoShape">
                  <a:avLst/>
                </a:prstTxWarp>
              </a:bodyPr>
              <a:lstStyle/>
              <a:p>
                <a:pPr defTabSz="914016">
                  <a:defRPr/>
                </a:pPr>
                <a:endParaRPr lang="en-US" sz="1765">
                  <a:solidFill>
                    <a:srgbClr val="1A1A1A"/>
                  </a:solidFill>
                  <a:latin typeface="Segoe UI"/>
                </a:endParaRPr>
              </a:p>
            </p:txBody>
          </p:sp>
          <p:pic>
            <p:nvPicPr>
              <p:cNvPr id="54" name="Picture 53">
                <a:extLst>
                  <a:ext uri="{FF2B5EF4-FFF2-40B4-BE49-F238E27FC236}">
                    <a16:creationId xmlns:a16="http://schemas.microsoft.com/office/drawing/2014/main" id="{7EEC875B-9861-1D48-BFA3-914411CE761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2667438" y="5132878"/>
                <a:ext cx="279838" cy="302928"/>
              </a:xfrm>
              <a:prstGeom prst="rect">
                <a:avLst/>
              </a:prstGeom>
            </p:spPr>
          </p:pic>
        </p:grpSp>
        <p:grpSp>
          <p:nvGrpSpPr>
            <p:cNvPr id="49" name="Group 48">
              <a:extLst>
                <a:ext uri="{FF2B5EF4-FFF2-40B4-BE49-F238E27FC236}">
                  <a16:creationId xmlns:a16="http://schemas.microsoft.com/office/drawing/2014/main" id="{68655948-F796-F546-8AFA-A71C04AAE34B}"/>
                </a:ext>
              </a:extLst>
            </p:cNvPr>
            <p:cNvGrpSpPr/>
            <p:nvPr/>
          </p:nvGrpSpPr>
          <p:grpSpPr>
            <a:xfrm>
              <a:off x="2367679" y="4900917"/>
              <a:ext cx="627183" cy="578215"/>
              <a:chOff x="2501959" y="5037105"/>
              <a:chExt cx="627183" cy="578215"/>
            </a:xfrm>
          </p:grpSpPr>
          <p:sp>
            <p:nvSpPr>
              <p:cNvPr id="50" name="Freeform 5">
                <a:extLst>
                  <a:ext uri="{FF2B5EF4-FFF2-40B4-BE49-F238E27FC236}">
                    <a16:creationId xmlns:a16="http://schemas.microsoft.com/office/drawing/2014/main" id="{E2DB35EE-2B74-4947-8481-F7282C5DAA8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01959" y="5037105"/>
                <a:ext cx="627183" cy="578215"/>
              </a:xfrm>
              <a:custGeom>
                <a:avLst/>
                <a:gdLst>
                  <a:gd name="T0" fmla="*/ 0 w 426"/>
                  <a:gd name="T1" fmla="*/ 12 h 333"/>
                  <a:gd name="T2" fmla="*/ 0 w 426"/>
                  <a:gd name="T3" fmla="*/ 12 h 333"/>
                  <a:gd name="T4" fmla="*/ 0 w 426"/>
                  <a:gd name="T5" fmla="*/ 255 h 333"/>
                  <a:gd name="T6" fmla="*/ 12 w 426"/>
                  <a:gd name="T7" fmla="*/ 268 h 333"/>
                  <a:gd name="T8" fmla="*/ 195 w 426"/>
                  <a:gd name="T9" fmla="*/ 268 h 333"/>
                  <a:gd name="T10" fmla="*/ 195 w 426"/>
                  <a:gd name="T11" fmla="*/ 306 h 333"/>
                  <a:gd name="T12" fmla="*/ 130 w 426"/>
                  <a:gd name="T13" fmla="*/ 306 h 333"/>
                  <a:gd name="T14" fmla="*/ 130 w 426"/>
                  <a:gd name="T15" fmla="*/ 333 h 333"/>
                  <a:gd name="T16" fmla="*/ 293 w 426"/>
                  <a:gd name="T17" fmla="*/ 333 h 333"/>
                  <a:gd name="T18" fmla="*/ 293 w 426"/>
                  <a:gd name="T19" fmla="*/ 306 h 333"/>
                  <a:gd name="T20" fmla="*/ 228 w 426"/>
                  <a:gd name="T21" fmla="*/ 306 h 333"/>
                  <a:gd name="T22" fmla="*/ 228 w 426"/>
                  <a:gd name="T23" fmla="*/ 268 h 333"/>
                  <a:gd name="T24" fmla="*/ 413 w 426"/>
                  <a:gd name="T25" fmla="*/ 268 h 333"/>
                  <a:gd name="T26" fmla="*/ 426 w 426"/>
                  <a:gd name="T27" fmla="*/ 255 h 333"/>
                  <a:gd name="T28" fmla="*/ 426 w 426"/>
                  <a:gd name="T29" fmla="*/ 12 h 333"/>
                  <a:gd name="T30" fmla="*/ 413 w 426"/>
                  <a:gd name="T31" fmla="*/ 0 h 333"/>
                  <a:gd name="T32" fmla="*/ 12 w 426"/>
                  <a:gd name="T33" fmla="*/ 0 h 333"/>
                  <a:gd name="T34" fmla="*/ 0 w 426"/>
                  <a:gd name="T35" fmla="*/ 12 h 3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426" h="333">
                    <a:moveTo>
                      <a:pt x="0" y="12"/>
                    </a:moveTo>
                    <a:lnTo>
                      <a:pt x="0" y="12"/>
                    </a:lnTo>
                    <a:lnTo>
                      <a:pt x="0" y="255"/>
                    </a:lnTo>
                    <a:cubicBezTo>
                      <a:pt x="0" y="262"/>
                      <a:pt x="5" y="268"/>
                      <a:pt x="12" y="268"/>
                    </a:cubicBezTo>
                    <a:lnTo>
                      <a:pt x="195" y="268"/>
                    </a:lnTo>
                    <a:lnTo>
                      <a:pt x="195" y="306"/>
                    </a:lnTo>
                    <a:lnTo>
                      <a:pt x="130" y="306"/>
                    </a:lnTo>
                    <a:lnTo>
                      <a:pt x="130" y="333"/>
                    </a:lnTo>
                    <a:lnTo>
                      <a:pt x="293" y="333"/>
                    </a:lnTo>
                    <a:lnTo>
                      <a:pt x="293" y="306"/>
                    </a:lnTo>
                    <a:lnTo>
                      <a:pt x="228" y="306"/>
                    </a:lnTo>
                    <a:lnTo>
                      <a:pt x="228" y="268"/>
                    </a:lnTo>
                    <a:lnTo>
                      <a:pt x="413" y="268"/>
                    </a:lnTo>
                    <a:cubicBezTo>
                      <a:pt x="420" y="268"/>
                      <a:pt x="426" y="262"/>
                      <a:pt x="426" y="255"/>
                    </a:cubicBezTo>
                    <a:lnTo>
                      <a:pt x="426" y="12"/>
                    </a:lnTo>
                    <a:cubicBezTo>
                      <a:pt x="426" y="5"/>
                      <a:pt x="420" y="0"/>
                      <a:pt x="413" y="0"/>
                    </a:cubicBezTo>
                    <a:lnTo>
                      <a:pt x="12" y="0"/>
                    </a:lnTo>
                    <a:cubicBezTo>
                      <a:pt x="5" y="0"/>
                      <a:pt x="0" y="5"/>
                      <a:pt x="0" y="12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1905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14" tIns="45706" rIns="91414" bIns="45706" numCol="1" anchor="t" anchorCtr="0" compatLnSpc="1">
                <a:prstTxWarp prst="textNoShape">
                  <a:avLst/>
                </a:prstTxWarp>
              </a:bodyPr>
              <a:lstStyle/>
              <a:p>
                <a:pPr defTabSz="914016">
                  <a:defRPr/>
                </a:pPr>
                <a:endParaRPr lang="en-US" sz="1765">
                  <a:solidFill>
                    <a:srgbClr val="1A1A1A"/>
                  </a:solidFill>
                  <a:latin typeface="Segoe UI"/>
                </a:endParaRPr>
              </a:p>
            </p:txBody>
          </p:sp>
          <p:pic>
            <p:nvPicPr>
              <p:cNvPr id="52" name="Picture 51">
                <a:extLst>
                  <a:ext uri="{FF2B5EF4-FFF2-40B4-BE49-F238E27FC236}">
                    <a16:creationId xmlns:a16="http://schemas.microsoft.com/office/drawing/2014/main" id="{F9C963A4-471C-4744-BCC6-0213A809290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2681505" y="5132878"/>
                <a:ext cx="256062" cy="275758"/>
              </a:xfrm>
              <a:prstGeom prst="rect">
                <a:avLst/>
              </a:prstGeom>
            </p:spPr>
          </p:pic>
        </p:grpSp>
      </p:grpSp>
      <p:sp>
        <p:nvSpPr>
          <p:cNvPr id="55" name="Text Placeholder 4">
            <a:extLst>
              <a:ext uri="{FF2B5EF4-FFF2-40B4-BE49-F238E27FC236}">
                <a16:creationId xmlns:a16="http://schemas.microsoft.com/office/drawing/2014/main" id="{40DF5FE6-B631-2F4C-8217-97B0C9DDA9CD}"/>
              </a:ext>
            </a:extLst>
          </p:cNvPr>
          <p:cNvSpPr txBox="1">
            <a:spLocks/>
          </p:cNvSpPr>
          <p:nvPr/>
        </p:nvSpPr>
        <p:spPr>
          <a:xfrm>
            <a:off x="7035512" y="856719"/>
            <a:ext cx="4309369" cy="5144564"/>
          </a:xfrm>
          <a:prstGeom prst="rect">
            <a:avLst/>
          </a:prstGeom>
        </p:spPr>
        <p:txBody>
          <a:bodyPr anchor="ctr"/>
          <a:lstStyle>
            <a:lvl1pPr marL="228600" marR="0" indent="-22860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28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defRPr>
            </a:lvl1pPr>
            <a:lvl2pPr marL="457200" marR="0" indent="-22860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20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657225" marR="0" indent="-20002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16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842963" marR="0" indent="-18097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14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1023938" marR="0" indent="-16827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14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896181" fontAlgn="base">
              <a:spcBef>
                <a:spcPct val="0"/>
              </a:spcBef>
              <a:spcAft>
                <a:spcPct val="0"/>
              </a:spcAft>
              <a:buSzTx/>
              <a:buNone/>
            </a:pPr>
            <a:r>
              <a:rPr lang="en-US" altLang="en-US" sz="1961" dirty="0">
                <a:solidFill>
                  <a:srgbClr val="0070C0"/>
                </a:solidFill>
                <a:latin typeface="Segoe UI"/>
              </a:rPr>
              <a:t>Deploy Hyper-V Replication Provider </a:t>
            </a:r>
            <a:r>
              <a:rPr lang="en-US" altLang="en-US" sz="1961" dirty="0">
                <a:solidFill>
                  <a:prstClr val="black"/>
                </a:solidFill>
                <a:latin typeface="Segoe UI"/>
              </a:rPr>
              <a:t>on Hyper-V host</a:t>
            </a:r>
          </a:p>
          <a:p>
            <a:pPr marL="0" indent="0" defTabSz="896181" fontAlgn="base">
              <a:spcBef>
                <a:spcPct val="0"/>
              </a:spcBef>
              <a:spcAft>
                <a:spcPct val="0"/>
              </a:spcAft>
              <a:buSzTx/>
              <a:buNone/>
            </a:pPr>
            <a:endParaRPr lang="en-US" altLang="en-US" sz="1961" dirty="0">
              <a:solidFill>
                <a:srgbClr val="0070C0"/>
              </a:solidFill>
              <a:latin typeface="Segoe UI"/>
            </a:endParaRPr>
          </a:p>
          <a:p>
            <a:pPr marL="0" indent="0" defTabSz="896181" fontAlgn="base">
              <a:spcBef>
                <a:spcPct val="0"/>
              </a:spcBef>
              <a:spcAft>
                <a:spcPct val="0"/>
              </a:spcAft>
              <a:buSzTx/>
              <a:buNone/>
            </a:pPr>
            <a:r>
              <a:rPr lang="en-US" altLang="en-US" sz="1961" dirty="0">
                <a:solidFill>
                  <a:srgbClr val="0070C0"/>
                </a:solidFill>
                <a:latin typeface="Segoe UI"/>
              </a:rPr>
              <a:t>Start replicating </a:t>
            </a:r>
            <a:r>
              <a:rPr lang="en-US" altLang="en-US" sz="1961" dirty="0">
                <a:gradFill>
                  <a:gsLst>
                    <a:gs pos="2917">
                      <a:srgbClr val="1A1A1A"/>
                    </a:gs>
                    <a:gs pos="30000">
                      <a:srgbClr val="1A1A1A"/>
                    </a:gs>
                  </a:gsLst>
                  <a:lin ang="5400000" scaled="0"/>
                </a:gradFill>
                <a:latin typeface="Segoe UI"/>
              </a:rPr>
              <a:t>your Windows and Linux servers using Azure Migrate: Server Migration </a:t>
            </a:r>
          </a:p>
          <a:p>
            <a:pPr marL="0" indent="0" defTabSz="896181" fontAlgn="base">
              <a:spcBef>
                <a:spcPct val="0"/>
              </a:spcBef>
              <a:spcAft>
                <a:spcPct val="0"/>
              </a:spcAft>
              <a:buSzTx/>
              <a:buNone/>
            </a:pPr>
            <a:endParaRPr lang="en-US" altLang="en-US" sz="1961" dirty="0">
              <a:gradFill>
                <a:gsLst>
                  <a:gs pos="2917">
                    <a:srgbClr val="1A1A1A"/>
                  </a:gs>
                  <a:gs pos="30000">
                    <a:srgbClr val="1A1A1A"/>
                  </a:gs>
                </a:gsLst>
                <a:lin ang="5400000" scaled="0"/>
              </a:gradFill>
              <a:latin typeface="Segoe UI"/>
            </a:endParaRPr>
          </a:p>
          <a:p>
            <a:pPr marL="0" indent="0" defTabSz="896181" fontAlgn="base">
              <a:spcBef>
                <a:spcPct val="0"/>
              </a:spcBef>
              <a:spcAft>
                <a:spcPct val="0"/>
              </a:spcAft>
              <a:buSzTx/>
              <a:buNone/>
            </a:pPr>
            <a:r>
              <a:rPr lang="en-US" altLang="en-US" sz="1961" dirty="0">
                <a:solidFill>
                  <a:srgbClr val="0070C0"/>
                </a:solidFill>
                <a:latin typeface="Segoe UI"/>
              </a:rPr>
              <a:t>The Hyper-V Replication Provider orchestrates </a:t>
            </a:r>
            <a:r>
              <a:rPr lang="en-US" altLang="en-US" sz="1961" dirty="0">
                <a:solidFill>
                  <a:prstClr val="black"/>
                </a:solidFill>
                <a:latin typeface="Segoe UI"/>
              </a:rPr>
              <a:t>the replication of your VM data to your Azure subscription</a:t>
            </a:r>
          </a:p>
          <a:p>
            <a:pPr marL="0" indent="0" defTabSz="896181" fontAlgn="base">
              <a:spcBef>
                <a:spcPct val="0"/>
              </a:spcBef>
              <a:spcAft>
                <a:spcPct val="0"/>
              </a:spcAft>
              <a:buSzTx/>
              <a:buNone/>
            </a:pPr>
            <a:endParaRPr lang="en-US" altLang="en-US" sz="1961" dirty="0">
              <a:gradFill>
                <a:gsLst>
                  <a:gs pos="2917">
                    <a:srgbClr val="1A1A1A"/>
                  </a:gs>
                  <a:gs pos="30000">
                    <a:srgbClr val="1A1A1A"/>
                  </a:gs>
                </a:gsLst>
                <a:lin ang="5400000" scaled="0"/>
              </a:gradFill>
              <a:latin typeface="Segoe UI"/>
            </a:endParaRPr>
          </a:p>
          <a:p>
            <a:pPr marL="0" indent="0" defTabSz="896181" fontAlgn="base">
              <a:spcBef>
                <a:spcPct val="0"/>
              </a:spcBef>
              <a:spcAft>
                <a:spcPct val="0"/>
              </a:spcAft>
              <a:buSzTx/>
              <a:buNone/>
            </a:pPr>
            <a:r>
              <a:rPr lang="en-US" altLang="en-US" sz="1961" dirty="0">
                <a:solidFill>
                  <a:srgbClr val="0070C0"/>
                </a:solidFill>
                <a:latin typeface="Segoe UI"/>
              </a:rPr>
              <a:t>Perform test migrations </a:t>
            </a:r>
            <a:r>
              <a:rPr lang="en-US" altLang="en-US" sz="1961" dirty="0">
                <a:gradFill>
                  <a:gsLst>
                    <a:gs pos="2917">
                      <a:srgbClr val="1A1A1A"/>
                    </a:gs>
                    <a:gs pos="30000">
                      <a:srgbClr val="1A1A1A"/>
                    </a:gs>
                  </a:gsLst>
                  <a:lin ang="5400000" scaled="0"/>
                </a:gradFill>
                <a:latin typeface="Segoe UI"/>
              </a:rPr>
              <a:t>to a sandbox environment with no impact to production to validate migration</a:t>
            </a:r>
          </a:p>
          <a:p>
            <a:pPr marL="0" indent="0" defTabSz="896181" fontAlgn="base">
              <a:spcBef>
                <a:spcPct val="0"/>
              </a:spcBef>
              <a:spcAft>
                <a:spcPct val="0"/>
              </a:spcAft>
              <a:buSzTx/>
              <a:buNone/>
            </a:pPr>
            <a:endParaRPr lang="en-US" altLang="en-US" sz="1961" dirty="0">
              <a:gradFill>
                <a:gsLst>
                  <a:gs pos="2917">
                    <a:srgbClr val="1A1A1A"/>
                  </a:gs>
                  <a:gs pos="30000">
                    <a:srgbClr val="1A1A1A"/>
                  </a:gs>
                </a:gsLst>
                <a:lin ang="5400000" scaled="0"/>
              </a:gradFill>
              <a:latin typeface="Segoe UI"/>
            </a:endParaRPr>
          </a:p>
          <a:p>
            <a:pPr marL="0" indent="0" defTabSz="896181" fontAlgn="base">
              <a:spcBef>
                <a:spcPct val="0"/>
              </a:spcBef>
              <a:spcAft>
                <a:spcPct val="0"/>
              </a:spcAft>
              <a:buSzTx/>
              <a:buNone/>
            </a:pPr>
            <a:r>
              <a:rPr lang="en-US" altLang="en-US" sz="1961" dirty="0">
                <a:solidFill>
                  <a:srgbClr val="0070C0"/>
                </a:solidFill>
                <a:latin typeface="Segoe UI"/>
              </a:rPr>
              <a:t>Migrate to Azure </a:t>
            </a:r>
            <a:r>
              <a:rPr lang="en-US" altLang="en-US" sz="1961" dirty="0">
                <a:gradFill>
                  <a:gsLst>
                    <a:gs pos="2917">
                      <a:srgbClr val="1A1A1A"/>
                    </a:gs>
                    <a:gs pos="30000">
                      <a:srgbClr val="1A1A1A"/>
                    </a:gs>
                  </a:gsLst>
                  <a:lin ang="5400000" scaled="0"/>
                </a:gradFill>
                <a:latin typeface="Segoe UI"/>
              </a:rPr>
              <a:t>with zero data loss and minimal downtime</a:t>
            </a:r>
          </a:p>
        </p:txBody>
      </p:sp>
      <p:cxnSp>
        <p:nvCxnSpPr>
          <p:cNvPr id="56" name="Straight Connector 55">
            <a:extLst>
              <a:ext uri="{FF2B5EF4-FFF2-40B4-BE49-F238E27FC236}">
                <a16:creationId xmlns:a16="http://schemas.microsoft.com/office/drawing/2014/main" id="{32080CAE-B3A5-3243-8571-6E11D0D102EB}"/>
              </a:ext>
            </a:extLst>
          </p:cNvPr>
          <p:cNvCxnSpPr>
            <a:cxnSpLocks/>
          </p:cNvCxnSpPr>
          <p:nvPr/>
        </p:nvCxnSpPr>
        <p:spPr>
          <a:xfrm>
            <a:off x="7035513" y="1665716"/>
            <a:ext cx="4592072" cy="0"/>
          </a:xfrm>
          <a:prstGeom prst="line">
            <a:avLst/>
          </a:prstGeom>
          <a:noFill/>
          <a:ln w="12700" cap="flat" cmpd="sng" algn="ctr">
            <a:solidFill>
              <a:schemeClr val="bg1">
                <a:lumMod val="75000"/>
              </a:schemeClr>
            </a:solidFill>
            <a:prstDash val="solid"/>
            <a:headEnd type="none"/>
            <a:tailEnd type="none"/>
          </a:ln>
          <a:effectLst/>
        </p:spPr>
      </p:cxnSp>
      <p:cxnSp>
        <p:nvCxnSpPr>
          <p:cNvPr id="57" name="Straight Connector 56">
            <a:extLst>
              <a:ext uri="{FF2B5EF4-FFF2-40B4-BE49-F238E27FC236}">
                <a16:creationId xmlns:a16="http://schemas.microsoft.com/office/drawing/2014/main" id="{ECEED24C-9818-A042-98F8-9843E0762355}"/>
              </a:ext>
            </a:extLst>
          </p:cNvPr>
          <p:cNvCxnSpPr>
            <a:cxnSpLocks/>
          </p:cNvCxnSpPr>
          <p:nvPr/>
        </p:nvCxnSpPr>
        <p:spPr>
          <a:xfrm>
            <a:off x="7035513" y="2811956"/>
            <a:ext cx="4592072" cy="0"/>
          </a:xfrm>
          <a:prstGeom prst="line">
            <a:avLst/>
          </a:prstGeom>
          <a:noFill/>
          <a:ln w="12700" cap="flat" cmpd="sng" algn="ctr">
            <a:solidFill>
              <a:schemeClr val="bg1">
                <a:lumMod val="75000"/>
              </a:schemeClr>
            </a:solidFill>
            <a:prstDash val="solid"/>
            <a:headEnd type="none"/>
            <a:tailEnd type="none"/>
          </a:ln>
          <a:effectLst/>
        </p:spPr>
      </p:cxnSp>
      <p:cxnSp>
        <p:nvCxnSpPr>
          <p:cNvPr id="71" name="Straight Connector 70">
            <a:extLst>
              <a:ext uri="{FF2B5EF4-FFF2-40B4-BE49-F238E27FC236}">
                <a16:creationId xmlns:a16="http://schemas.microsoft.com/office/drawing/2014/main" id="{30485E64-8737-DC44-B7AB-21AFC7A0877B}"/>
              </a:ext>
            </a:extLst>
          </p:cNvPr>
          <p:cNvCxnSpPr>
            <a:cxnSpLocks/>
          </p:cNvCxnSpPr>
          <p:nvPr/>
        </p:nvCxnSpPr>
        <p:spPr>
          <a:xfrm>
            <a:off x="7035513" y="4012353"/>
            <a:ext cx="4592072" cy="0"/>
          </a:xfrm>
          <a:prstGeom prst="line">
            <a:avLst/>
          </a:prstGeom>
          <a:noFill/>
          <a:ln w="12700" cap="flat" cmpd="sng" algn="ctr">
            <a:solidFill>
              <a:schemeClr val="bg1">
                <a:lumMod val="75000"/>
              </a:schemeClr>
            </a:solidFill>
            <a:prstDash val="solid"/>
            <a:headEnd type="none"/>
            <a:tailEnd type="none"/>
          </a:ln>
          <a:effectLst/>
        </p:spPr>
      </p:cxnSp>
      <p:cxnSp>
        <p:nvCxnSpPr>
          <p:cNvPr id="72" name="Straight Connector 71">
            <a:extLst>
              <a:ext uri="{FF2B5EF4-FFF2-40B4-BE49-F238E27FC236}">
                <a16:creationId xmlns:a16="http://schemas.microsoft.com/office/drawing/2014/main" id="{E56E3814-9A79-8841-AF25-EC711AD19365}"/>
              </a:ext>
            </a:extLst>
          </p:cNvPr>
          <p:cNvCxnSpPr>
            <a:cxnSpLocks/>
          </p:cNvCxnSpPr>
          <p:nvPr/>
        </p:nvCxnSpPr>
        <p:spPr>
          <a:xfrm>
            <a:off x="7035513" y="5222119"/>
            <a:ext cx="4592072" cy="0"/>
          </a:xfrm>
          <a:prstGeom prst="line">
            <a:avLst/>
          </a:prstGeom>
          <a:noFill/>
          <a:ln w="12700" cap="flat" cmpd="sng" algn="ctr">
            <a:solidFill>
              <a:schemeClr val="bg1">
                <a:lumMod val="75000"/>
              </a:schemeClr>
            </a:solidFill>
            <a:prstDash val="solid"/>
            <a:headEnd type="none"/>
            <a:tailEnd type="none"/>
          </a:ln>
          <a:effectLst/>
        </p:spPr>
      </p:cxnSp>
      <p:grpSp>
        <p:nvGrpSpPr>
          <p:cNvPr id="73" name="Group 72">
            <a:extLst>
              <a:ext uri="{FF2B5EF4-FFF2-40B4-BE49-F238E27FC236}">
                <a16:creationId xmlns:a16="http://schemas.microsoft.com/office/drawing/2014/main" id="{6FC3C9C2-772E-A840-81D3-26D7D98FC3F8}"/>
              </a:ext>
            </a:extLst>
          </p:cNvPr>
          <p:cNvGrpSpPr/>
          <p:nvPr/>
        </p:nvGrpSpPr>
        <p:grpSpPr>
          <a:xfrm>
            <a:off x="4491847" y="2454311"/>
            <a:ext cx="1322884" cy="578051"/>
            <a:chOff x="1671603" y="4900917"/>
            <a:chExt cx="1323259" cy="578215"/>
          </a:xfrm>
        </p:grpSpPr>
        <p:grpSp>
          <p:nvGrpSpPr>
            <p:cNvPr id="74" name="Group 73">
              <a:extLst>
                <a:ext uri="{FF2B5EF4-FFF2-40B4-BE49-F238E27FC236}">
                  <a16:creationId xmlns:a16="http://schemas.microsoft.com/office/drawing/2014/main" id="{3DDC11CF-7D0D-F446-80E6-326F40D0C60A}"/>
                </a:ext>
              </a:extLst>
            </p:cNvPr>
            <p:cNvGrpSpPr/>
            <p:nvPr/>
          </p:nvGrpSpPr>
          <p:grpSpPr>
            <a:xfrm>
              <a:off x="1671603" y="4900917"/>
              <a:ext cx="627183" cy="578215"/>
              <a:chOff x="2501959" y="5037105"/>
              <a:chExt cx="627183" cy="578215"/>
            </a:xfrm>
          </p:grpSpPr>
          <p:sp>
            <p:nvSpPr>
              <p:cNvPr id="78" name="Freeform 5">
                <a:extLst>
                  <a:ext uri="{FF2B5EF4-FFF2-40B4-BE49-F238E27FC236}">
                    <a16:creationId xmlns:a16="http://schemas.microsoft.com/office/drawing/2014/main" id="{421FFCE9-155A-4547-B2F0-3B6DABF1FE8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01959" y="5037105"/>
                <a:ext cx="627183" cy="578215"/>
              </a:xfrm>
              <a:custGeom>
                <a:avLst/>
                <a:gdLst>
                  <a:gd name="T0" fmla="*/ 0 w 426"/>
                  <a:gd name="T1" fmla="*/ 12 h 333"/>
                  <a:gd name="T2" fmla="*/ 0 w 426"/>
                  <a:gd name="T3" fmla="*/ 12 h 333"/>
                  <a:gd name="T4" fmla="*/ 0 w 426"/>
                  <a:gd name="T5" fmla="*/ 255 h 333"/>
                  <a:gd name="T6" fmla="*/ 12 w 426"/>
                  <a:gd name="T7" fmla="*/ 268 h 333"/>
                  <a:gd name="T8" fmla="*/ 195 w 426"/>
                  <a:gd name="T9" fmla="*/ 268 h 333"/>
                  <a:gd name="T10" fmla="*/ 195 w 426"/>
                  <a:gd name="T11" fmla="*/ 306 h 333"/>
                  <a:gd name="T12" fmla="*/ 130 w 426"/>
                  <a:gd name="T13" fmla="*/ 306 h 333"/>
                  <a:gd name="T14" fmla="*/ 130 w 426"/>
                  <a:gd name="T15" fmla="*/ 333 h 333"/>
                  <a:gd name="T16" fmla="*/ 293 w 426"/>
                  <a:gd name="T17" fmla="*/ 333 h 333"/>
                  <a:gd name="T18" fmla="*/ 293 w 426"/>
                  <a:gd name="T19" fmla="*/ 306 h 333"/>
                  <a:gd name="T20" fmla="*/ 228 w 426"/>
                  <a:gd name="T21" fmla="*/ 306 h 333"/>
                  <a:gd name="T22" fmla="*/ 228 w 426"/>
                  <a:gd name="T23" fmla="*/ 268 h 333"/>
                  <a:gd name="T24" fmla="*/ 413 w 426"/>
                  <a:gd name="T25" fmla="*/ 268 h 333"/>
                  <a:gd name="T26" fmla="*/ 426 w 426"/>
                  <a:gd name="T27" fmla="*/ 255 h 333"/>
                  <a:gd name="T28" fmla="*/ 426 w 426"/>
                  <a:gd name="T29" fmla="*/ 12 h 333"/>
                  <a:gd name="T30" fmla="*/ 413 w 426"/>
                  <a:gd name="T31" fmla="*/ 0 h 333"/>
                  <a:gd name="T32" fmla="*/ 12 w 426"/>
                  <a:gd name="T33" fmla="*/ 0 h 333"/>
                  <a:gd name="T34" fmla="*/ 0 w 426"/>
                  <a:gd name="T35" fmla="*/ 12 h 3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426" h="333">
                    <a:moveTo>
                      <a:pt x="0" y="12"/>
                    </a:moveTo>
                    <a:lnTo>
                      <a:pt x="0" y="12"/>
                    </a:lnTo>
                    <a:lnTo>
                      <a:pt x="0" y="255"/>
                    </a:lnTo>
                    <a:cubicBezTo>
                      <a:pt x="0" y="262"/>
                      <a:pt x="5" y="268"/>
                      <a:pt x="12" y="268"/>
                    </a:cubicBezTo>
                    <a:lnTo>
                      <a:pt x="195" y="268"/>
                    </a:lnTo>
                    <a:lnTo>
                      <a:pt x="195" y="306"/>
                    </a:lnTo>
                    <a:lnTo>
                      <a:pt x="130" y="306"/>
                    </a:lnTo>
                    <a:lnTo>
                      <a:pt x="130" y="333"/>
                    </a:lnTo>
                    <a:lnTo>
                      <a:pt x="293" y="333"/>
                    </a:lnTo>
                    <a:lnTo>
                      <a:pt x="293" y="306"/>
                    </a:lnTo>
                    <a:lnTo>
                      <a:pt x="228" y="306"/>
                    </a:lnTo>
                    <a:lnTo>
                      <a:pt x="228" y="268"/>
                    </a:lnTo>
                    <a:lnTo>
                      <a:pt x="413" y="268"/>
                    </a:lnTo>
                    <a:cubicBezTo>
                      <a:pt x="420" y="268"/>
                      <a:pt x="426" y="262"/>
                      <a:pt x="426" y="255"/>
                    </a:cubicBezTo>
                    <a:lnTo>
                      <a:pt x="426" y="12"/>
                    </a:lnTo>
                    <a:cubicBezTo>
                      <a:pt x="426" y="5"/>
                      <a:pt x="420" y="0"/>
                      <a:pt x="413" y="0"/>
                    </a:cubicBezTo>
                    <a:lnTo>
                      <a:pt x="12" y="0"/>
                    </a:lnTo>
                    <a:cubicBezTo>
                      <a:pt x="5" y="0"/>
                      <a:pt x="0" y="5"/>
                      <a:pt x="0" y="12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1905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14" tIns="45706" rIns="91414" bIns="45706" numCol="1" anchor="t" anchorCtr="0" compatLnSpc="1">
                <a:prstTxWarp prst="textNoShape">
                  <a:avLst/>
                </a:prstTxWarp>
              </a:bodyPr>
              <a:lstStyle/>
              <a:p>
                <a:pPr defTabSz="914016">
                  <a:defRPr/>
                </a:pPr>
                <a:endParaRPr lang="en-US" sz="1765">
                  <a:solidFill>
                    <a:srgbClr val="1A1A1A"/>
                  </a:solidFill>
                  <a:latin typeface="Segoe UI"/>
                </a:endParaRPr>
              </a:p>
            </p:txBody>
          </p:sp>
          <p:pic>
            <p:nvPicPr>
              <p:cNvPr id="79" name="Picture 78">
                <a:extLst>
                  <a:ext uri="{FF2B5EF4-FFF2-40B4-BE49-F238E27FC236}">
                    <a16:creationId xmlns:a16="http://schemas.microsoft.com/office/drawing/2014/main" id="{633C6F2D-852E-CE4B-A373-04D1087EBF4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2667438" y="5132878"/>
                <a:ext cx="279838" cy="302928"/>
              </a:xfrm>
              <a:prstGeom prst="rect">
                <a:avLst/>
              </a:prstGeom>
            </p:spPr>
          </p:pic>
        </p:grpSp>
        <p:grpSp>
          <p:nvGrpSpPr>
            <p:cNvPr id="75" name="Group 74">
              <a:extLst>
                <a:ext uri="{FF2B5EF4-FFF2-40B4-BE49-F238E27FC236}">
                  <a16:creationId xmlns:a16="http://schemas.microsoft.com/office/drawing/2014/main" id="{9A11A357-E3DF-5049-808C-3EBC1B21B0F9}"/>
                </a:ext>
              </a:extLst>
            </p:cNvPr>
            <p:cNvGrpSpPr/>
            <p:nvPr/>
          </p:nvGrpSpPr>
          <p:grpSpPr>
            <a:xfrm>
              <a:off x="2367679" y="4900917"/>
              <a:ext cx="627183" cy="578215"/>
              <a:chOff x="2501959" y="5037105"/>
              <a:chExt cx="627183" cy="578215"/>
            </a:xfrm>
          </p:grpSpPr>
          <p:sp>
            <p:nvSpPr>
              <p:cNvPr id="76" name="Freeform 5">
                <a:extLst>
                  <a:ext uri="{FF2B5EF4-FFF2-40B4-BE49-F238E27FC236}">
                    <a16:creationId xmlns:a16="http://schemas.microsoft.com/office/drawing/2014/main" id="{07BF2B5E-ED48-E44C-B1BD-DE0390ED1F1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01959" y="5037105"/>
                <a:ext cx="627183" cy="578215"/>
              </a:xfrm>
              <a:custGeom>
                <a:avLst/>
                <a:gdLst>
                  <a:gd name="T0" fmla="*/ 0 w 426"/>
                  <a:gd name="T1" fmla="*/ 12 h 333"/>
                  <a:gd name="T2" fmla="*/ 0 w 426"/>
                  <a:gd name="T3" fmla="*/ 12 h 333"/>
                  <a:gd name="T4" fmla="*/ 0 w 426"/>
                  <a:gd name="T5" fmla="*/ 255 h 333"/>
                  <a:gd name="T6" fmla="*/ 12 w 426"/>
                  <a:gd name="T7" fmla="*/ 268 h 333"/>
                  <a:gd name="T8" fmla="*/ 195 w 426"/>
                  <a:gd name="T9" fmla="*/ 268 h 333"/>
                  <a:gd name="T10" fmla="*/ 195 w 426"/>
                  <a:gd name="T11" fmla="*/ 306 h 333"/>
                  <a:gd name="T12" fmla="*/ 130 w 426"/>
                  <a:gd name="T13" fmla="*/ 306 h 333"/>
                  <a:gd name="T14" fmla="*/ 130 w 426"/>
                  <a:gd name="T15" fmla="*/ 333 h 333"/>
                  <a:gd name="T16" fmla="*/ 293 w 426"/>
                  <a:gd name="T17" fmla="*/ 333 h 333"/>
                  <a:gd name="T18" fmla="*/ 293 w 426"/>
                  <a:gd name="T19" fmla="*/ 306 h 333"/>
                  <a:gd name="T20" fmla="*/ 228 w 426"/>
                  <a:gd name="T21" fmla="*/ 306 h 333"/>
                  <a:gd name="T22" fmla="*/ 228 w 426"/>
                  <a:gd name="T23" fmla="*/ 268 h 333"/>
                  <a:gd name="T24" fmla="*/ 413 w 426"/>
                  <a:gd name="T25" fmla="*/ 268 h 333"/>
                  <a:gd name="T26" fmla="*/ 426 w 426"/>
                  <a:gd name="T27" fmla="*/ 255 h 333"/>
                  <a:gd name="T28" fmla="*/ 426 w 426"/>
                  <a:gd name="T29" fmla="*/ 12 h 333"/>
                  <a:gd name="T30" fmla="*/ 413 w 426"/>
                  <a:gd name="T31" fmla="*/ 0 h 333"/>
                  <a:gd name="T32" fmla="*/ 12 w 426"/>
                  <a:gd name="T33" fmla="*/ 0 h 333"/>
                  <a:gd name="T34" fmla="*/ 0 w 426"/>
                  <a:gd name="T35" fmla="*/ 12 h 3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426" h="333">
                    <a:moveTo>
                      <a:pt x="0" y="12"/>
                    </a:moveTo>
                    <a:lnTo>
                      <a:pt x="0" y="12"/>
                    </a:lnTo>
                    <a:lnTo>
                      <a:pt x="0" y="255"/>
                    </a:lnTo>
                    <a:cubicBezTo>
                      <a:pt x="0" y="262"/>
                      <a:pt x="5" y="268"/>
                      <a:pt x="12" y="268"/>
                    </a:cubicBezTo>
                    <a:lnTo>
                      <a:pt x="195" y="268"/>
                    </a:lnTo>
                    <a:lnTo>
                      <a:pt x="195" y="306"/>
                    </a:lnTo>
                    <a:lnTo>
                      <a:pt x="130" y="306"/>
                    </a:lnTo>
                    <a:lnTo>
                      <a:pt x="130" y="333"/>
                    </a:lnTo>
                    <a:lnTo>
                      <a:pt x="293" y="333"/>
                    </a:lnTo>
                    <a:lnTo>
                      <a:pt x="293" y="306"/>
                    </a:lnTo>
                    <a:lnTo>
                      <a:pt x="228" y="306"/>
                    </a:lnTo>
                    <a:lnTo>
                      <a:pt x="228" y="268"/>
                    </a:lnTo>
                    <a:lnTo>
                      <a:pt x="413" y="268"/>
                    </a:lnTo>
                    <a:cubicBezTo>
                      <a:pt x="420" y="268"/>
                      <a:pt x="426" y="262"/>
                      <a:pt x="426" y="255"/>
                    </a:cubicBezTo>
                    <a:lnTo>
                      <a:pt x="426" y="12"/>
                    </a:lnTo>
                    <a:cubicBezTo>
                      <a:pt x="426" y="5"/>
                      <a:pt x="420" y="0"/>
                      <a:pt x="413" y="0"/>
                    </a:cubicBezTo>
                    <a:lnTo>
                      <a:pt x="12" y="0"/>
                    </a:lnTo>
                    <a:cubicBezTo>
                      <a:pt x="5" y="0"/>
                      <a:pt x="0" y="5"/>
                      <a:pt x="0" y="12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1905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14" tIns="45706" rIns="91414" bIns="45706" numCol="1" anchor="t" anchorCtr="0" compatLnSpc="1">
                <a:prstTxWarp prst="textNoShape">
                  <a:avLst/>
                </a:prstTxWarp>
              </a:bodyPr>
              <a:lstStyle/>
              <a:p>
                <a:pPr defTabSz="914016">
                  <a:defRPr/>
                </a:pPr>
                <a:endParaRPr lang="en-US" sz="1765">
                  <a:solidFill>
                    <a:srgbClr val="1A1A1A"/>
                  </a:solidFill>
                  <a:latin typeface="Segoe UI"/>
                </a:endParaRPr>
              </a:p>
            </p:txBody>
          </p:sp>
          <p:pic>
            <p:nvPicPr>
              <p:cNvPr id="77" name="Picture 76">
                <a:extLst>
                  <a:ext uri="{FF2B5EF4-FFF2-40B4-BE49-F238E27FC236}">
                    <a16:creationId xmlns:a16="http://schemas.microsoft.com/office/drawing/2014/main" id="{EC3DE67C-0968-6F4C-BFBC-6DB6597D9AB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2681505" y="5132878"/>
                <a:ext cx="256062" cy="275758"/>
              </a:xfrm>
              <a:prstGeom prst="rect">
                <a:avLst/>
              </a:prstGeom>
            </p:spPr>
          </p:pic>
        </p:grpSp>
      </p:grpSp>
      <p:grpSp>
        <p:nvGrpSpPr>
          <p:cNvPr id="80" name="Group 79">
            <a:extLst>
              <a:ext uri="{FF2B5EF4-FFF2-40B4-BE49-F238E27FC236}">
                <a16:creationId xmlns:a16="http://schemas.microsoft.com/office/drawing/2014/main" id="{0F4DC0CA-0352-1B47-85F7-8FD07DDC0E7E}"/>
              </a:ext>
            </a:extLst>
          </p:cNvPr>
          <p:cNvGrpSpPr/>
          <p:nvPr/>
        </p:nvGrpSpPr>
        <p:grpSpPr>
          <a:xfrm>
            <a:off x="562171" y="2454311"/>
            <a:ext cx="1322884" cy="578051"/>
            <a:chOff x="1671603" y="4900917"/>
            <a:chExt cx="1323259" cy="578215"/>
          </a:xfrm>
        </p:grpSpPr>
        <p:grpSp>
          <p:nvGrpSpPr>
            <p:cNvPr id="81" name="Group 80">
              <a:extLst>
                <a:ext uri="{FF2B5EF4-FFF2-40B4-BE49-F238E27FC236}">
                  <a16:creationId xmlns:a16="http://schemas.microsoft.com/office/drawing/2014/main" id="{2727B8A2-AA7F-554F-BE32-750BCD0B52CD}"/>
                </a:ext>
              </a:extLst>
            </p:cNvPr>
            <p:cNvGrpSpPr/>
            <p:nvPr/>
          </p:nvGrpSpPr>
          <p:grpSpPr>
            <a:xfrm>
              <a:off x="1671603" y="4900917"/>
              <a:ext cx="627183" cy="578215"/>
              <a:chOff x="2501959" y="5037105"/>
              <a:chExt cx="627183" cy="578215"/>
            </a:xfrm>
          </p:grpSpPr>
          <p:sp>
            <p:nvSpPr>
              <p:cNvPr id="85" name="Freeform 5">
                <a:extLst>
                  <a:ext uri="{FF2B5EF4-FFF2-40B4-BE49-F238E27FC236}">
                    <a16:creationId xmlns:a16="http://schemas.microsoft.com/office/drawing/2014/main" id="{2043B73E-3F4A-7549-856D-C9EC18F0438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01959" y="5037105"/>
                <a:ext cx="627183" cy="578215"/>
              </a:xfrm>
              <a:custGeom>
                <a:avLst/>
                <a:gdLst>
                  <a:gd name="T0" fmla="*/ 0 w 426"/>
                  <a:gd name="T1" fmla="*/ 12 h 333"/>
                  <a:gd name="T2" fmla="*/ 0 w 426"/>
                  <a:gd name="T3" fmla="*/ 12 h 333"/>
                  <a:gd name="T4" fmla="*/ 0 w 426"/>
                  <a:gd name="T5" fmla="*/ 255 h 333"/>
                  <a:gd name="T6" fmla="*/ 12 w 426"/>
                  <a:gd name="T7" fmla="*/ 268 h 333"/>
                  <a:gd name="T8" fmla="*/ 195 w 426"/>
                  <a:gd name="T9" fmla="*/ 268 h 333"/>
                  <a:gd name="T10" fmla="*/ 195 w 426"/>
                  <a:gd name="T11" fmla="*/ 306 h 333"/>
                  <a:gd name="T12" fmla="*/ 130 w 426"/>
                  <a:gd name="T13" fmla="*/ 306 h 333"/>
                  <a:gd name="T14" fmla="*/ 130 w 426"/>
                  <a:gd name="T15" fmla="*/ 333 h 333"/>
                  <a:gd name="T16" fmla="*/ 293 w 426"/>
                  <a:gd name="T17" fmla="*/ 333 h 333"/>
                  <a:gd name="T18" fmla="*/ 293 w 426"/>
                  <a:gd name="T19" fmla="*/ 306 h 333"/>
                  <a:gd name="T20" fmla="*/ 228 w 426"/>
                  <a:gd name="T21" fmla="*/ 306 h 333"/>
                  <a:gd name="T22" fmla="*/ 228 w 426"/>
                  <a:gd name="T23" fmla="*/ 268 h 333"/>
                  <a:gd name="T24" fmla="*/ 413 w 426"/>
                  <a:gd name="T25" fmla="*/ 268 h 333"/>
                  <a:gd name="T26" fmla="*/ 426 w 426"/>
                  <a:gd name="T27" fmla="*/ 255 h 333"/>
                  <a:gd name="T28" fmla="*/ 426 w 426"/>
                  <a:gd name="T29" fmla="*/ 12 h 333"/>
                  <a:gd name="T30" fmla="*/ 413 w 426"/>
                  <a:gd name="T31" fmla="*/ 0 h 333"/>
                  <a:gd name="T32" fmla="*/ 12 w 426"/>
                  <a:gd name="T33" fmla="*/ 0 h 333"/>
                  <a:gd name="T34" fmla="*/ 0 w 426"/>
                  <a:gd name="T35" fmla="*/ 12 h 3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426" h="333">
                    <a:moveTo>
                      <a:pt x="0" y="12"/>
                    </a:moveTo>
                    <a:lnTo>
                      <a:pt x="0" y="12"/>
                    </a:lnTo>
                    <a:lnTo>
                      <a:pt x="0" y="255"/>
                    </a:lnTo>
                    <a:cubicBezTo>
                      <a:pt x="0" y="262"/>
                      <a:pt x="5" y="268"/>
                      <a:pt x="12" y="268"/>
                    </a:cubicBezTo>
                    <a:lnTo>
                      <a:pt x="195" y="268"/>
                    </a:lnTo>
                    <a:lnTo>
                      <a:pt x="195" y="306"/>
                    </a:lnTo>
                    <a:lnTo>
                      <a:pt x="130" y="306"/>
                    </a:lnTo>
                    <a:lnTo>
                      <a:pt x="130" y="333"/>
                    </a:lnTo>
                    <a:lnTo>
                      <a:pt x="293" y="333"/>
                    </a:lnTo>
                    <a:lnTo>
                      <a:pt x="293" y="306"/>
                    </a:lnTo>
                    <a:lnTo>
                      <a:pt x="228" y="306"/>
                    </a:lnTo>
                    <a:lnTo>
                      <a:pt x="228" y="268"/>
                    </a:lnTo>
                    <a:lnTo>
                      <a:pt x="413" y="268"/>
                    </a:lnTo>
                    <a:cubicBezTo>
                      <a:pt x="420" y="268"/>
                      <a:pt x="426" y="262"/>
                      <a:pt x="426" y="255"/>
                    </a:cubicBezTo>
                    <a:lnTo>
                      <a:pt x="426" y="12"/>
                    </a:lnTo>
                    <a:cubicBezTo>
                      <a:pt x="426" y="5"/>
                      <a:pt x="420" y="0"/>
                      <a:pt x="413" y="0"/>
                    </a:cubicBezTo>
                    <a:lnTo>
                      <a:pt x="12" y="0"/>
                    </a:lnTo>
                    <a:cubicBezTo>
                      <a:pt x="5" y="0"/>
                      <a:pt x="0" y="5"/>
                      <a:pt x="0" y="12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1905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14" tIns="45706" rIns="91414" bIns="45706" numCol="1" anchor="t" anchorCtr="0" compatLnSpc="1">
                <a:prstTxWarp prst="textNoShape">
                  <a:avLst/>
                </a:prstTxWarp>
              </a:bodyPr>
              <a:lstStyle/>
              <a:p>
                <a:pPr defTabSz="914016">
                  <a:defRPr/>
                </a:pPr>
                <a:endParaRPr lang="en-US" sz="1765">
                  <a:solidFill>
                    <a:srgbClr val="1A1A1A"/>
                  </a:solidFill>
                  <a:latin typeface="Segoe UI"/>
                </a:endParaRPr>
              </a:p>
            </p:txBody>
          </p:sp>
          <p:pic>
            <p:nvPicPr>
              <p:cNvPr id="86" name="Picture 85">
                <a:extLst>
                  <a:ext uri="{FF2B5EF4-FFF2-40B4-BE49-F238E27FC236}">
                    <a16:creationId xmlns:a16="http://schemas.microsoft.com/office/drawing/2014/main" id="{7E8EE64C-74C2-CE42-B955-3EDD5959820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2667438" y="5132878"/>
                <a:ext cx="279838" cy="302928"/>
              </a:xfrm>
              <a:prstGeom prst="rect">
                <a:avLst/>
              </a:prstGeom>
            </p:spPr>
          </p:pic>
        </p:grpSp>
        <p:grpSp>
          <p:nvGrpSpPr>
            <p:cNvPr id="82" name="Group 81">
              <a:extLst>
                <a:ext uri="{FF2B5EF4-FFF2-40B4-BE49-F238E27FC236}">
                  <a16:creationId xmlns:a16="http://schemas.microsoft.com/office/drawing/2014/main" id="{ED0C9218-78D0-3642-818F-C1C25188969A}"/>
                </a:ext>
              </a:extLst>
            </p:cNvPr>
            <p:cNvGrpSpPr/>
            <p:nvPr/>
          </p:nvGrpSpPr>
          <p:grpSpPr>
            <a:xfrm>
              <a:off x="2367679" y="4900917"/>
              <a:ext cx="627183" cy="578215"/>
              <a:chOff x="2501959" y="5037105"/>
              <a:chExt cx="627183" cy="578215"/>
            </a:xfrm>
          </p:grpSpPr>
          <p:sp>
            <p:nvSpPr>
              <p:cNvPr id="83" name="Freeform 5">
                <a:extLst>
                  <a:ext uri="{FF2B5EF4-FFF2-40B4-BE49-F238E27FC236}">
                    <a16:creationId xmlns:a16="http://schemas.microsoft.com/office/drawing/2014/main" id="{0C0F5498-0412-AE44-B25C-4660B73F6EC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01959" y="5037105"/>
                <a:ext cx="627183" cy="578215"/>
              </a:xfrm>
              <a:custGeom>
                <a:avLst/>
                <a:gdLst>
                  <a:gd name="T0" fmla="*/ 0 w 426"/>
                  <a:gd name="T1" fmla="*/ 12 h 333"/>
                  <a:gd name="T2" fmla="*/ 0 w 426"/>
                  <a:gd name="T3" fmla="*/ 12 h 333"/>
                  <a:gd name="T4" fmla="*/ 0 w 426"/>
                  <a:gd name="T5" fmla="*/ 255 h 333"/>
                  <a:gd name="T6" fmla="*/ 12 w 426"/>
                  <a:gd name="T7" fmla="*/ 268 h 333"/>
                  <a:gd name="T8" fmla="*/ 195 w 426"/>
                  <a:gd name="T9" fmla="*/ 268 h 333"/>
                  <a:gd name="T10" fmla="*/ 195 w 426"/>
                  <a:gd name="T11" fmla="*/ 306 h 333"/>
                  <a:gd name="T12" fmla="*/ 130 w 426"/>
                  <a:gd name="T13" fmla="*/ 306 h 333"/>
                  <a:gd name="T14" fmla="*/ 130 w 426"/>
                  <a:gd name="T15" fmla="*/ 333 h 333"/>
                  <a:gd name="T16" fmla="*/ 293 w 426"/>
                  <a:gd name="T17" fmla="*/ 333 h 333"/>
                  <a:gd name="T18" fmla="*/ 293 w 426"/>
                  <a:gd name="T19" fmla="*/ 306 h 333"/>
                  <a:gd name="T20" fmla="*/ 228 w 426"/>
                  <a:gd name="T21" fmla="*/ 306 h 333"/>
                  <a:gd name="T22" fmla="*/ 228 w 426"/>
                  <a:gd name="T23" fmla="*/ 268 h 333"/>
                  <a:gd name="T24" fmla="*/ 413 w 426"/>
                  <a:gd name="T25" fmla="*/ 268 h 333"/>
                  <a:gd name="T26" fmla="*/ 426 w 426"/>
                  <a:gd name="T27" fmla="*/ 255 h 333"/>
                  <a:gd name="T28" fmla="*/ 426 w 426"/>
                  <a:gd name="T29" fmla="*/ 12 h 333"/>
                  <a:gd name="T30" fmla="*/ 413 w 426"/>
                  <a:gd name="T31" fmla="*/ 0 h 333"/>
                  <a:gd name="T32" fmla="*/ 12 w 426"/>
                  <a:gd name="T33" fmla="*/ 0 h 333"/>
                  <a:gd name="T34" fmla="*/ 0 w 426"/>
                  <a:gd name="T35" fmla="*/ 12 h 3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426" h="333">
                    <a:moveTo>
                      <a:pt x="0" y="12"/>
                    </a:moveTo>
                    <a:lnTo>
                      <a:pt x="0" y="12"/>
                    </a:lnTo>
                    <a:lnTo>
                      <a:pt x="0" y="255"/>
                    </a:lnTo>
                    <a:cubicBezTo>
                      <a:pt x="0" y="262"/>
                      <a:pt x="5" y="268"/>
                      <a:pt x="12" y="268"/>
                    </a:cubicBezTo>
                    <a:lnTo>
                      <a:pt x="195" y="268"/>
                    </a:lnTo>
                    <a:lnTo>
                      <a:pt x="195" y="306"/>
                    </a:lnTo>
                    <a:lnTo>
                      <a:pt x="130" y="306"/>
                    </a:lnTo>
                    <a:lnTo>
                      <a:pt x="130" y="333"/>
                    </a:lnTo>
                    <a:lnTo>
                      <a:pt x="293" y="333"/>
                    </a:lnTo>
                    <a:lnTo>
                      <a:pt x="293" y="306"/>
                    </a:lnTo>
                    <a:lnTo>
                      <a:pt x="228" y="306"/>
                    </a:lnTo>
                    <a:lnTo>
                      <a:pt x="228" y="268"/>
                    </a:lnTo>
                    <a:lnTo>
                      <a:pt x="413" y="268"/>
                    </a:lnTo>
                    <a:cubicBezTo>
                      <a:pt x="420" y="268"/>
                      <a:pt x="426" y="262"/>
                      <a:pt x="426" y="255"/>
                    </a:cubicBezTo>
                    <a:lnTo>
                      <a:pt x="426" y="12"/>
                    </a:lnTo>
                    <a:cubicBezTo>
                      <a:pt x="426" y="5"/>
                      <a:pt x="420" y="0"/>
                      <a:pt x="413" y="0"/>
                    </a:cubicBezTo>
                    <a:lnTo>
                      <a:pt x="12" y="0"/>
                    </a:lnTo>
                    <a:cubicBezTo>
                      <a:pt x="5" y="0"/>
                      <a:pt x="0" y="5"/>
                      <a:pt x="0" y="12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1905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14" tIns="45706" rIns="91414" bIns="45706" numCol="1" anchor="t" anchorCtr="0" compatLnSpc="1">
                <a:prstTxWarp prst="textNoShape">
                  <a:avLst/>
                </a:prstTxWarp>
              </a:bodyPr>
              <a:lstStyle/>
              <a:p>
                <a:pPr defTabSz="914016">
                  <a:defRPr/>
                </a:pPr>
                <a:endParaRPr lang="en-US" sz="1765">
                  <a:solidFill>
                    <a:srgbClr val="1A1A1A"/>
                  </a:solidFill>
                  <a:latin typeface="Segoe UI"/>
                </a:endParaRPr>
              </a:p>
            </p:txBody>
          </p:sp>
          <p:pic>
            <p:nvPicPr>
              <p:cNvPr id="84" name="Picture 83">
                <a:extLst>
                  <a:ext uri="{FF2B5EF4-FFF2-40B4-BE49-F238E27FC236}">
                    <a16:creationId xmlns:a16="http://schemas.microsoft.com/office/drawing/2014/main" id="{C0DF788B-36CC-D843-8125-7438C2CB7C8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2681505" y="5132878"/>
                <a:ext cx="256062" cy="275758"/>
              </a:xfrm>
              <a:prstGeom prst="rect">
                <a:avLst/>
              </a:prstGeom>
            </p:spPr>
          </p:pic>
        </p:grpSp>
      </p:grpSp>
      <p:sp>
        <p:nvSpPr>
          <p:cNvPr id="87" name="TextBox 86">
            <a:extLst>
              <a:ext uri="{FF2B5EF4-FFF2-40B4-BE49-F238E27FC236}">
                <a16:creationId xmlns:a16="http://schemas.microsoft.com/office/drawing/2014/main" id="{40A82CA0-3561-AF4F-B011-A8C03784A7FA}"/>
              </a:ext>
            </a:extLst>
          </p:cNvPr>
          <p:cNvSpPr txBox="1"/>
          <p:nvPr/>
        </p:nvSpPr>
        <p:spPr>
          <a:xfrm>
            <a:off x="411560" y="3073058"/>
            <a:ext cx="1732598" cy="432055"/>
          </a:xfrm>
          <a:prstGeom prst="rect">
            <a:avLst/>
          </a:prstGeom>
          <a:noFill/>
        </p:spPr>
        <p:txBody>
          <a:bodyPr wrap="square" lIns="179259" tIns="143407" rIns="179259" bIns="143407" rtlCol="0">
            <a:spAutoFit/>
          </a:bodyPr>
          <a:lstStyle/>
          <a:p>
            <a:pPr defTabSz="914225">
              <a:lnSpc>
                <a:spcPct val="90000"/>
              </a:lnSpc>
              <a:spcAft>
                <a:spcPts val="588"/>
              </a:spcAft>
            </a:pPr>
            <a:r>
              <a:rPr lang="en-US" sz="1028" dirty="0">
                <a:gradFill>
                  <a:gsLst>
                    <a:gs pos="2917">
                      <a:prstClr val="black"/>
                    </a:gs>
                    <a:gs pos="30000">
                      <a:prstClr val="black"/>
                    </a:gs>
                  </a:gsLst>
                  <a:lin ang="5400000" scaled="0"/>
                </a:gradFill>
                <a:latin typeface="Segoe UI"/>
              </a:rPr>
              <a:t>Sandbox environment</a:t>
            </a:r>
          </a:p>
        </p:txBody>
      </p:sp>
      <p:sp>
        <p:nvSpPr>
          <p:cNvPr id="88" name="Rectangle 87">
            <a:extLst>
              <a:ext uri="{FF2B5EF4-FFF2-40B4-BE49-F238E27FC236}">
                <a16:creationId xmlns:a16="http://schemas.microsoft.com/office/drawing/2014/main" id="{1B701E66-0EA0-6847-A2BC-A27826CC25A9}"/>
              </a:ext>
            </a:extLst>
          </p:cNvPr>
          <p:cNvSpPr/>
          <p:nvPr/>
        </p:nvSpPr>
        <p:spPr bwMode="auto">
          <a:xfrm>
            <a:off x="411560" y="2327386"/>
            <a:ext cx="1641879" cy="1177727"/>
          </a:xfrm>
          <a:prstGeom prst="rect">
            <a:avLst/>
          </a:prstGeom>
          <a:noFill/>
          <a:ln w="15875">
            <a:solidFill>
              <a:schemeClr val="bg1">
                <a:lumMod val="85000"/>
              </a:schemeClr>
            </a:solidFill>
            <a:prstDash val="sysDash"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AD1F3207-00F8-7946-9544-EEF4A1BCFB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5995" y="433143"/>
            <a:ext cx="11303917" cy="813704"/>
          </a:xfrm>
        </p:spPr>
        <p:txBody>
          <a:bodyPr/>
          <a:lstStyle/>
          <a:p>
            <a:r>
              <a:rPr lang="en-US" dirty="0"/>
              <a:t>Agentless Hyper-V: Process</a:t>
            </a:r>
            <a:br>
              <a:rPr lang="en-US" dirty="0"/>
            </a:br>
            <a:endParaRPr lang="en-US" dirty="0"/>
          </a:p>
        </p:txBody>
      </p:sp>
      <p:sp>
        <p:nvSpPr>
          <p:cNvPr id="4" name="bk object 17">
            <a:extLst>
              <a:ext uri="{FF2B5EF4-FFF2-40B4-BE49-F238E27FC236}">
                <a16:creationId xmlns:a16="http://schemas.microsoft.com/office/drawing/2014/main" id="{92ECA3BA-3FF4-401B-B2C8-371F4EB51C59}"/>
              </a:ext>
            </a:extLst>
          </p:cNvPr>
          <p:cNvSpPr/>
          <p:nvPr/>
        </p:nvSpPr>
        <p:spPr>
          <a:xfrm>
            <a:off x="0" y="6497955"/>
            <a:ext cx="12192000" cy="360045"/>
          </a:xfrm>
          <a:custGeom>
            <a:avLst/>
            <a:gdLst/>
            <a:ahLst/>
            <a:cxnLst/>
            <a:rect l="l" t="t" r="r" b="b"/>
            <a:pathLst>
              <a:path w="12434570" h="360045">
                <a:moveTo>
                  <a:pt x="0" y="359994"/>
                </a:moveTo>
                <a:lnTo>
                  <a:pt x="12434404" y="359994"/>
                </a:lnTo>
                <a:lnTo>
                  <a:pt x="12434404" y="0"/>
                </a:lnTo>
                <a:lnTo>
                  <a:pt x="0" y="0"/>
                </a:lnTo>
                <a:lnTo>
                  <a:pt x="0" y="359994"/>
                </a:lnTo>
                <a:close/>
              </a:path>
            </a:pathLst>
          </a:custGeom>
          <a:solidFill>
            <a:srgbClr val="007FBA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A18C087D-E1FC-4C85-9245-9859A6C3F6DC}"/>
              </a:ext>
            </a:extLst>
          </p:cNvPr>
          <p:cNvSpPr txBox="1"/>
          <p:nvPr/>
        </p:nvSpPr>
        <p:spPr>
          <a:xfrm>
            <a:off x="7278010" y="6591175"/>
            <a:ext cx="425867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100" b="0" i="0" kern="0" spc="-20" baseline="0" dirty="0">
                <a:solidFill>
                  <a:schemeClr val="bg1"/>
                </a:solidFill>
                <a:latin typeface="Segoe UI Semibold" charset="0"/>
              </a:rPr>
              <a:t>Microsoft Azure    </a:t>
            </a:r>
            <a:r>
              <a:rPr lang="en-US" sz="1100" b="0" i="0" kern="0" spc="-20" baseline="0" dirty="0">
                <a:solidFill>
                  <a:schemeClr val="bg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|  @</a:t>
            </a:r>
            <a:r>
              <a:rPr lang="en-US" sz="1100" b="0" i="0" kern="0" spc="-20" baseline="0" dirty="0" err="1">
                <a:solidFill>
                  <a:schemeClr val="bg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Techielass</a:t>
            </a:r>
            <a:endParaRPr lang="en-US" sz="1100" b="0" i="0" kern="0" spc="-20" baseline="0" dirty="0">
              <a:solidFill>
                <a:schemeClr val="bg1"/>
              </a:solidFill>
              <a:latin typeface="Segoe UI Semilight" panose="020B0402040204020203" pitchFamily="34" charset="0"/>
              <a:ea typeface="Segoe UI Semilight" charset="0"/>
              <a:cs typeface="Segoe UI Semilight" panose="020B04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1575095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5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5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9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1" dur="500" fill="hold"/>
                                        <p:tgtEl>
                                          <p:spTgt spid="5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2" dur="500" fill="hold"/>
                                        <p:tgtEl>
                                          <p:spTgt spid="5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5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5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9" presetID="26" presetClass="emph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0" dur="500" tmFilter="0, 0; .2, .5; .8, .5; 1, 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31" dur="250" autoRev="1" fill="hold"/>
                                        <p:tgtEl>
                                          <p:spTgt spid="7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2" fill="hold">
                      <p:stCondLst>
                        <p:cond delay="indefinite"/>
                      </p:stCondLst>
                      <p:childTnLst>
                        <p:par>
                          <p:cTn id="33" fill="hold">
                            <p:stCondLst>
                              <p:cond delay="0"/>
                            </p:stCondLst>
                            <p:childTnLst>
                              <p:par>
                                <p:cTn id="34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6" dur="500" fill="hold"/>
                                        <p:tgtEl>
                                          <p:spTgt spid="8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7" dur="500" fill="hold"/>
                                        <p:tgtEl>
                                          <p:spTgt spid="8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8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0" dur="500" fill="hold"/>
                                        <p:tgtEl>
                                          <p:spTgt spid="8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1" dur="500" fill="hold"/>
                                        <p:tgtEl>
                                          <p:spTgt spid="8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2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4" dur="500" fill="hold"/>
                                        <p:tgtEl>
                                          <p:spTgt spid="8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5" dur="500" fill="hold"/>
                                        <p:tgtEl>
                                          <p:spTgt spid="8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6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8" dur="500" fill="hold"/>
                                        <p:tgtEl>
                                          <p:spTgt spid="5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9" dur="500" fill="hold"/>
                                        <p:tgtEl>
                                          <p:spTgt spid="5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0" fill="hold">
                      <p:stCondLst>
                        <p:cond delay="indefinite"/>
                      </p:stCondLst>
                      <p:childTnLst>
                        <p:par>
                          <p:cTn id="51" fill="hold">
                            <p:stCondLst>
                              <p:cond delay="0"/>
                            </p:stCondLst>
                            <p:childTnLst>
                              <p:par>
                                <p:cTn id="52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4" dur="500" fill="hold"/>
                                        <p:tgtEl>
                                          <p:spTgt spid="55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5" dur="500" fill="hold"/>
                                        <p:tgtEl>
                                          <p:spTgt spid="55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6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8" dur="500" fill="hold"/>
                                        <p:tgtEl>
                                          <p:spTgt spid="7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9" dur="500" fill="hold"/>
                                        <p:tgtEl>
                                          <p:spTgt spid="7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7" grpId="1" animBg="1"/>
      <p:bldP spid="87" grpId="0"/>
      <p:bldP spid="88" grpId="0" animBg="1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9B18A8FA-49C1-438D-A9C7-58F6D4A287D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76619" y="173301"/>
            <a:ext cx="9344651" cy="62600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2904559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" name="Text Placeholder 4">
            <a:extLst>
              <a:ext uri="{FF2B5EF4-FFF2-40B4-BE49-F238E27FC236}">
                <a16:creationId xmlns:a16="http://schemas.microsoft.com/office/drawing/2014/main" id="{CA1426B1-F541-43D0-B30C-00CB61A270EE}"/>
              </a:ext>
            </a:extLst>
          </p:cNvPr>
          <p:cNvSpPr txBox="1">
            <a:spLocks/>
          </p:cNvSpPr>
          <p:nvPr/>
        </p:nvSpPr>
        <p:spPr>
          <a:xfrm>
            <a:off x="6681960" y="3935745"/>
            <a:ext cx="5245383" cy="5144564"/>
          </a:xfrm>
          <a:prstGeom prst="rect">
            <a:avLst/>
          </a:prstGeom>
        </p:spPr>
        <p:txBody>
          <a:bodyPr/>
          <a:lstStyle>
            <a:lvl1pPr marL="228600" marR="0" indent="-22860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28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defRPr>
            </a:lvl1pPr>
            <a:lvl2pPr marL="457200" marR="0" indent="-22860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20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657225" marR="0" indent="-20002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16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842963" marR="0" indent="-18097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14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1023938" marR="0" indent="-16827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14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896181" fontAlgn="base">
              <a:spcBef>
                <a:spcPct val="0"/>
              </a:spcBef>
              <a:spcAft>
                <a:spcPct val="0"/>
              </a:spcAft>
              <a:buSzTx/>
              <a:buNone/>
            </a:pPr>
            <a:r>
              <a:rPr lang="en-US" altLang="en-US" sz="1372" dirty="0">
                <a:solidFill>
                  <a:srgbClr val="0070C0"/>
                </a:solidFill>
                <a:latin typeface="Segoe UI"/>
              </a:rPr>
              <a:t>Deploy Hyper-V Replication Provider </a:t>
            </a:r>
            <a:r>
              <a:rPr lang="en-US" altLang="en-US" sz="1372" dirty="0">
                <a:solidFill>
                  <a:prstClr val="black"/>
                </a:solidFill>
                <a:latin typeface="Segoe UI"/>
              </a:rPr>
              <a:t>on Hyper-V host</a:t>
            </a:r>
          </a:p>
          <a:p>
            <a:pPr marL="0" indent="0" defTabSz="896181" fontAlgn="base">
              <a:spcBef>
                <a:spcPct val="0"/>
              </a:spcBef>
              <a:spcAft>
                <a:spcPct val="0"/>
              </a:spcAft>
              <a:buSzTx/>
              <a:buNone/>
            </a:pPr>
            <a:endParaRPr lang="en-US" altLang="en-US" sz="1372" dirty="0">
              <a:solidFill>
                <a:srgbClr val="0070C0"/>
              </a:solidFill>
              <a:latin typeface="Segoe UI"/>
            </a:endParaRPr>
          </a:p>
          <a:p>
            <a:pPr marL="0" indent="0" defTabSz="896181" fontAlgn="base">
              <a:spcBef>
                <a:spcPct val="0"/>
              </a:spcBef>
              <a:spcAft>
                <a:spcPct val="0"/>
              </a:spcAft>
              <a:buSzTx/>
              <a:buNone/>
            </a:pPr>
            <a:r>
              <a:rPr lang="en-US" altLang="en-US" sz="1372" dirty="0">
                <a:solidFill>
                  <a:srgbClr val="0070C0"/>
                </a:solidFill>
                <a:latin typeface="Segoe UI"/>
              </a:rPr>
              <a:t>Start replicating </a:t>
            </a:r>
            <a:r>
              <a:rPr lang="en-US" altLang="en-US" sz="1372" dirty="0">
                <a:gradFill>
                  <a:gsLst>
                    <a:gs pos="2917">
                      <a:srgbClr val="1A1A1A"/>
                    </a:gs>
                    <a:gs pos="30000">
                      <a:srgbClr val="1A1A1A"/>
                    </a:gs>
                  </a:gsLst>
                  <a:lin ang="5400000" scaled="0"/>
                </a:gradFill>
                <a:latin typeface="Segoe UI"/>
              </a:rPr>
              <a:t>your Windows and Linux servers using Azure Migrate: Server Migration </a:t>
            </a:r>
          </a:p>
          <a:p>
            <a:pPr marL="0" indent="0" defTabSz="896181" fontAlgn="base">
              <a:spcBef>
                <a:spcPct val="0"/>
              </a:spcBef>
              <a:spcAft>
                <a:spcPct val="0"/>
              </a:spcAft>
              <a:buSzTx/>
              <a:buNone/>
            </a:pPr>
            <a:endParaRPr lang="en-US" altLang="en-US" sz="1372" dirty="0">
              <a:gradFill>
                <a:gsLst>
                  <a:gs pos="2917">
                    <a:srgbClr val="1A1A1A"/>
                  </a:gs>
                  <a:gs pos="30000">
                    <a:srgbClr val="1A1A1A"/>
                  </a:gs>
                </a:gsLst>
                <a:lin ang="5400000" scaled="0"/>
              </a:gradFill>
              <a:latin typeface="Segoe UI"/>
            </a:endParaRPr>
          </a:p>
          <a:p>
            <a:pPr marL="0" indent="0" defTabSz="896181" fontAlgn="base">
              <a:spcBef>
                <a:spcPct val="0"/>
              </a:spcBef>
              <a:spcAft>
                <a:spcPct val="0"/>
              </a:spcAft>
              <a:buSzTx/>
              <a:buNone/>
            </a:pPr>
            <a:r>
              <a:rPr lang="en-US" altLang="en-US" sz="1372" dirty="0">
                <a:solidFill>
                  <a:srgbClr val="0070C0"/>
                </a:solidFill>
                <a:latin typeface="Segoe UI"/>
              </a:rPr>
              <a:t>The Hyper-V Replication Provider orchestrates </a:t>
            </a:r>
            <a:r>
              <a:rPr lang="en-US" altLang="en-US" sz="1372" dirty="0">
                <a:solidFill>
                  <a:prstClr val="black"/>
                </a:solidFill>
                <a:latin typeface="Segoe UI"/>
              </a:rPr>
              <a:t>the replication of your VM data to your Azure subscription</a:t>
            </a:r>
          </a:p>
          <a:p>
            <a:pPr marL="0" indent="0" defTabSz="896181" fontAlgn="base">
              <a:spcBef>
                <a:spcPct val="0"/>
              </a:spcBef>
              <a:spcAft>
                <a:spcPct val="0"/>
              </a:spcAft>
              <a:buSzTx/>
              <a:buNone/>
            </a:pPr>
            <a:endParaRPr lang="en-US" altLang="en-US" sz="1372" dirty="0">
              <a:gradFill>
                <a:gsLst>
                  <a:gs pos="2917">
                    <a:srgbClr val="1A1A1A"/>
                  </a:gs>
                  <a:gs pos="30000">
                    <a:srgbClr val="1A1A1A"/>
                  </a:gs>
                </a:gsLst>
                <a:lin ang="5400000" scaled="0"/>
              </a:gradFill>
              <a:latin typeface="Segoe UI"/>
            </a:endParaRPr>
          </a:p>
          <a:p>
            <a:pPr marL="0" indent="0" defTabSz="896181" fontAlgn="base">
              <a:spcBef>
                <a:spcPct val="0"/>
              </a:spcBef>
              <a:spcAft>
                <a:spcPct val="0"/>
              </a:spcAft>
              <a:buSzTx/>
              <a:buNone/>
            </a:pPr>
            <a:r>
              <a:rPr lang="en-US" altLang="en-US" sz="1372" dirty="0">
                <a:solidFill>
                  <a:srgbClr val="0070C0"/>
                </a:solidFill>
                <a:latin typeface="Segoe UI"/>
              </a:rPr>
              <a:t>Perform test migrations </a:t>
            </a:r>
            <a:r>
              <a:rPr lang="en-US" altLang="en-US" sz="1372" dirty="0">
                <a:gradFill>
                  <a:gsLst>
                    <a:gs pos="2917">
                      <a:srgbClr val="1A1A1A"/>
                    </a:gs>
                    <a:gs pos="30000">
                      <a:srgbClr val="1A1A1A"/>
                    </a:gs>
                  </a:gsLst>
                  <a:lin ang="5400000" scaled="0"/>
                </a:gradFill>
                <a:latin typeface="Segoe UI"/>
              </a:rPr>
              <a:t>to a sandbox environment with no impact to production to validate migration</a:t>
            </a:r>
          </a:p>
          <a:p>
            <a:pPr marL="0" indent="0" defTabSz="896181" fontAlgn="base">
              <a:spcBef>
                <a:spcPct val="0"/>
              </a:spcBef>
              <a:spcAft>
                <a:spcPct val="0"/>
              </a:spcAft>
              <a:buSzTx/>
              <a:buNone/>
            </a:pPr>
            <a:endParaRPr lang="en-US" altLang="en-US" sz="1372" dirty="0">
              <a:gradFill>
                <a:gsLst>
                  <a:gs pos="2917">
                    <a:srgbClr val="1A1A1A"/>
                  </a:gs>
                  <a:gs pos="30000">
                    <a:srgbClr val="1A1A1A"/>
                  </a:gs>
                </a:gsLst>
                <a:lin ang="5400000" scaled="0"/>
              </a:gradFill>
              <a:latin typeface="Segoe UI"/>
            </a:endParaRPr>
          </a:p>
          <a:p>
            <a:pPr marL="0" indent="0" defTabSz="896181" fontAlgn="base">
              <a:spcBef>
                <a:spcPct val="0"/>
              </a:spcBef>
              <a:spcAft>
                <a:spcPct val="0"/>
              </a:spcAft>
              <a:buSzTx/>
              <a:buNone/>
            </a:pPr>
            <a:r>
              <a:rPr lang="en-US" altLang="en-US" sz="1372" dirty="0">
                <a:solidFill>
                  <a:srgbClr val="0070C0"/>
                </a:solidFill>
                <a:latin typeface="Segoe UI"/>
              </a:rPr>
              <a:t>Migrate to Azure </a:t>
            </a:r>
            <a:r>
              <a:rPr lang="en-US" altLang="en-US" sz="1372" dirty="0">
                <a:gradFill>
                  <a:gsLst>
                    <a:gs pos="2917">
                      <a:srgbClr val="1A1A1A"/>
                    </a:gs>
                    <a:gs pos="30000">
                      <a:srgbClr val="1A1A1A"/>
                    </a:gs>
                  </a:gsLst>
                  <a:lin ang="5400000" scaled="0"/>
                </a:gradFill>
                <a:latin typeface="Segoe UI"/>
              </a:rPr>
              <a:t>with zero data-loss and minimal downtime</a:t>
            </a:r>
          </a:p>
          <a:p>
            <a:pPr marL="228556" indent="-228556" defTabSz="932563"/>
            <a:endParaRPr lang="en-US" sz="2200" dirty="0">
              <a:gradFill>
                <a:gsLst>
                  <a:gs pos="125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</a:endParaRPr>
          </a:p>
        </p:txBody>
      </p:sp>
      <p:pic>
        <p:nvPicPr>
          <p:cNvPr id="6" name="Picture 4">
            <a:extLst>
              <a:ext uri="{FF2B5EF4-FFF2-40B4-BE49-F238E27FC236}">
                <a16:creationId xmlns:a16="http://schemas.microsoft.com/office/drawing/2014/main" id="{1A2EA3C5-B0AA-4F6F-A512-D0C8D55048C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2368603" y="5442219"/>
            <a:ext cx="1693627" cy="7258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8B899A80-44B1-4DEE-BD84-0E347EEE9FA6}"/>
              </a:ext>
            </a:extLst>
          </p:cNvPr>
          <p:cNvSpPr txBox="1">
            <a:spLocks/>
          </p:cNvSpPr>
          <p:nvPr/>
        </p:nvSpPr>
        <p:spPr>
          <a:xfrm>
            <a:off x="589825" y="1131309"/>
            <a:ext cx="11015394" cy="553841"/>
          </a:xfrm>
          <a:prstGeom prst="rect">
            <a:avLst/>
          </a:prstGeom>
        </p:spPr>
        <p:txBody>
          <a:bodyPr vert="horz" wrap="square" lIns="0" tIns="89630" rIns="143407" bIns="89630" rtlCol="0" anchor="t">
            <a:noAutofit/>
          </a:bodyPr>
          <a:lstStyle>
            <a:lvl1pPr algn="l" defTabSz="93256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800" b="0" kern="1200" cap="none" spc="-50" baseline="0" dirty="0" smtClean="0">
                <a:ln w="3175">
                  <a:noFill/>
                </a:ln>
                <a:solidFill>
                  <a:srgbClr val="000000"/>
                </a:soli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defTabSz="914225">
              <a:lnSpc>
                <a:spcPct val="100000"/>
              </a:lnSpc>
              <a:spcBef>
                <a:spcPts val="0"/>
              </a:spcBef>
              <a:defRPr/>
            </a:pPr>
            <a:endParaRPr lang="en-US" sz="2745" i="1" dirty="0">
              <a:solidFill>
                <a:prstClr val="black"/>
              </a:solidFill>
              <a:latin typeface="Segoe UI"/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CCD0A6F2-BB9C-D44C-BFB2-70A08462DA32}"/>
              </a:ext>
            </a:extLst>
          </p:cNvPr>
          <p:cNvSpPr/>
          <p:nvPr/>
        </p:nvSpPr>
        <p:spPr bwMode="auto">
          <a:xfrm>
            <a:off x="6324224" y="487"/>
            <a:ext cx="5867777" cy="6857027"/>
          </a:xfrm>
          <a:prstGeom prst="rect">
            <a:avLst/>
          </a:prstGeom>
          <a:solidFill>
            <a:srgbClr val="FFFFFF">
              <a:lumMod val="95000"/>
            </a:srgb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2353" ker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/>
              <a:ea typeface="Segoe UI" pitchFamily="34" charset="0"/>
              <a:cs typeface="Segoe UI" pitchFamily="34" charset="0"/>
            </a:endParaRPr>
          </a:p>
        </p:txBody>
      </p:sp>
      <p:grpSp>
        <p:nvGrpSpPr>
          <p:cNvPr id="36" name="Group 35">
            <a:extLst>
              <a:ext uri="{FF2B5EF4-FFF2-40B4-BE49-F238E27FC236}">
                <a16:creationId xmlns:a16="http://schemas.microsoft.com/office/drawing/2014/main" id="{BA1B1FB0-A27F-1449-915F-F22C1C71815A}"/>
              </a:ext>
            </a:extLst>
          </p:cNvPr>
          <p:cNvGrpSpPr/>
          <p:nvPr/>
        </p:nvGrpSpPr>
        <p:grpSpPr>
          <a:xfrm>
            <a:off x="2147332" y="1861932"/>
            <a:ext cx="2071100" cy="2069512"/>
            <a:chOff x="1622425" y="1333500"/>
            <a:chExt cx="2071688" cy="2070100"/>
          </a:xfrm>
          <a:effectLst>
            <a:outerShdw blurRad="381000" sx="81000" sy="81000" algn="ctr" rotWithShape="0">
              <a:prstClr val="black">
                <a:alpha val="16000"/>
              </a:prstClr>
            </a:outerShdw>
          </a:effectLst>
        </p:grpSpPr>
        <p:grpSp>
          <p:nvGrpSpPr>
            <p:cNvPr id="37" name="Group 36">
              <a:extLst>
                <a:ext uri="{FF2B5EF4-FFF2-40B4-BE49-F238E27FC236}">
                  <a16:creationId xmlns:a16="http://schemas.microsoft.com/office/drawing/2014/main" id="{19E94AE1-AF8A-0843-94DF-5E55447E8705}"/>
                </a:ext>
              </a:extLst>
            </p:cNvPr>
            <p:cNvGrpSpPr/>
            <p:nvPr/>
          </p:nvGrpSpPr>
          <p:grpSpPr>
            <a:xfrm>
              <a:off x="1622425" y="1333500"/>
              <a:ext cx="2071688" cy="2070100"/>
              <a:chOff x="1622425" y="1333500"/>
              <a:chExt cx="2071688" cy="2070100"/>
            </a:xfrm>
          </p:grpSpPr>
          <p:sp>
            <p:nvSpPr>
              <p:cNvPr id="39" name="AutoShape 6">
                <a:extLst>
                  <a:ext uri="{FF2B5EF4-FFF2-40B4-BE49-F238E27FC236}">
                    <a16:creationId xmlns:a16="http://schemas.microsoft.com/office/drawing/2014/main" id="{115333BE-99D2-5945-8560-F507AE7179F4}"/>
                  </a:ext>
                </a:extLst>
              </p:cNvPr>
              <p:cNvSpPr>
                <a:spLocks noChangeAspect="1" noChangeArrowheads="1" noTextEdit="1"/>
              </p:cNvSpPr>
              <p:nvPr/>
            </p:nvSpPr>
            <p:spPr bwMode="auto">
              <a:xfrm>
                <a:off x="1622425" y="1333500"/>
                <a:ext cx="2068513" cy="207010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14" tIns="45706" rIns="91414" bIns="45706" numCol="1" anchor="t" anchorCtr="0" compatLnSpc="1">
                <a:prstTxWarp prst="textNoShape">
                  <a:avLst/>
                </a:prstTxWarp>
              </a:bodyPr>
              <a:lstStyle/>
              <a:p>
                <a:pPr defTabSz="914016">
                  <a:defRPr/>
                </a:pPr>
                <a:endParaRPr lang="en-US" sz="1765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40" name="Freeform 8">
                <a:extLst>
                  <a:ext uri="{FF2B5EF4-FFF2-40B4-BE49-F238E27FC236}">
                    <a16:creationId xmlns:a16="http://schemas.microsoft.com/office/drawing/2014/main" id="{43779236-20DC-4248-AA78-9360F9E9F84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87513" y="1528763"/>
                <a:ext cx="2006600" cy="1255713"/>
              </a:xfrm>
              <a:custGeom>
                <a:avLst/>
                <a:gdLst>
                  <a:gd name="T0" fmla="*/ 100 w 400"/>
                  <a:gd name="T1" fmla="*/ 50 h 250"/>
                  <a:gd name="T2" fmla="*/ 100 w 400"/>
                  <a:gd name="T3" fmla="*/ 50 h 250"/>
                  <a:gd name="T4" fmla="*/ 61 w 400"/>
                  <a:gd name="T5" fmla="*/ 58 h 250"/>
                  <a:gd name="T6" fmla="*/ 29 w 400"/>
                  <a:gd name="T7" fmla="*/ 79 h 250"/>
                  <a:gd name="T8" fmla="*/ 8 w 400"/>
                  <a:gd name="T9" fmla="*/ 111 h 250"/>
                  <a:gd name="T10" fmla="*/ 0 w 400"/>
                  <a:gd name="T11" fmla="*/ 150 h 250"/>
                  <a:gd name="T12" fmla="*/ 8 w 400"/>
                  <a:gd name="T13" fmla="*/ 189 h 250"/>
                  <a:gd name="T14" fmla="*/ 29 w 400"/>
                  <a:gd name="T15" fmla="*/ 221 h 250"/>
                  <a:gd name="T16" fmla="*/ 61 w 400"/>
                  <a:gd name="T17" fmla="*/ 242 h 250"/>
                  <a:gd name="T18" fmla="*/ 100 w 400"/>
                  <a:gd name="T19" fmla="*/ 250 h 250"/>
                  <a:gd name="T20" fmla="*/ 106 w 400"/>
                  <a:gd name="T21" fmla="*/ 250 h 250"/>
                  <a:gd name="T22" fmla="*/ 200 w 400"/>
                  <a:gd name="T23" fmla="*/ 156 h 250"/>
                  <a:gd name="T24" fmla="*/ 294 w 400"/>
                  <a:gd name="T25" fmla="*/ 250 h 250"/>
                  <a:gd name="T26" fmla="*/ 325 w 400"/>
                  <a:gd name="T27" fmla="*/ 250 h 250"/>
                  <a:gd name="T28" fmla="*/ 354 w 400"/>
                  <a:gd name="T29" fmla="*/ 244 h 250"/>
                  <a:gd name="T30" fmla="*/ 378 w 400"/>
                  <a:gd name="T31" fmla="*/ 228 h 250"/>
                  <a:gd name="T32" fmla="*/ 394 w 400"/>
                  <a:gd name="T33" fmla="*/ 204 h 250"/>
                  <a:gd name="T34" fmla="*/ 400 w 400"/>
                  <a:gd name="T35" fmla="*/ 175 h 250"/>
                  <a:gd name="T36" fmla="*/ 394 w 400"/>
                  <a:gd name="T37" fmla="*/ 146 h 250"/>
                  <a:gd name="T38" fmla="*/ 378 w 400"/>
                  <a:gd name="T39" fmla="*/ 122 h 250"/>
                  <a:gd name="T40" fmla="*/ 354 w 400"/>
                  <a:gd name="T41" fmla="*/ 106 h 250"/>
                  <a:gd name="T42" fmla="*/ 324 w 400"/>
                  <a:gd name="T43" fmla="*/ 100 h 250"/>
                  <a:gd name="T44" fmla="*/ 312 w 400"/>
                  <a:gd name="T45" fmla="*/ 60 h 250"/>
                  <a:gd name="T46" fmla="*/ 287 w 400"/>
                  <a:gd name="T47" fmla="*/ 29 h 250"/>
                  <a:gd name="T48" fmla="*/ 253 w 400"/>
                  <a:gd name="T49" fmla="*/ 8 h 250"/>
                  <a:gd name="T50" fmla="*/ 212 w 400"/>
                  <a:gd name="T51" fmla="*/ 0 h 250"/>
                  <a:gd name="T52" fmla="*/ 184 w 400"/>
                  <a:gd name="T53" fmla="*/ 4 h 250"/>
                  <a:gd name="T54" fmla="*/ 158 w 400"/>
                  <a:gd name="T55" fmla="*/ 14 h 250"/>
                  <a:gd name="T56" fmla="*/ 136 w 400"/>
                  <a:gd name="T57" fmla="*/ 30 h 250"/>
                  <a:gd name="T58" fmla="*/ 118 w 400"/>
                  <a:gd name="T59" fmla="*/ 52 h 250"/>
                  <a:gd name="T60" fmla="*/ 100 w 400"/>
                  <a:gd name="T61" fmla="*/ 50 h 2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400" h="250">
                    <a:moveTo>
                      <a:pt x="100" y="50"/>
                    </a:moveTo>
                    <a:lnTo>
                      <a:pt x="100" y="50"/>
                    </a:lnTo>
                    <a:cubicBezTo>
                      <a:pt x="86" y="50"/>
                      <a:pt x="73" y="53"/>
                      <a:pt x="61" y="58"/>
                    </a:cubicBezTo>
                    <a:cubicBezTo>
                      <a:pt x="49" y="63"/>
                      <a:pt x="38" y="70"/>
                      <a:pt x="29" y="79"/>
                    </a:cubicBezTo>
                    <a:cubicBezTo>
                      <a:pt x="20" y="88"/>
                      <a:pt x="13" y="99"/>
                      <a:pt x="8" y="111"/>
                    </a:cubicBezTo>
                    <a:cubicBezTo>
                      <a:pt x="2" y="123"/>
                      <a:pt x="0" y="136"/>
                      <a:pt x="0" y="150"/>
                    </a:cubicBezTo>
                    <a:cubicBezTo>
                      <a:pt x="0" y="164"/>
                      <a:pt x="2" y="177"/>
                      <a:pt x="8" y="189"/>
                    </a:cubicBezTo>
                    <a:cubicBezTo>
                      <a:pt x="13" y="201"/>
                      <a:pt x="20" y="212"/>
                      <a:pt x="29" y="221"/>
                    </a:cubicBezTo>
                    <a:cubicBezTo>
                      <a:pt x="38" y="230"/>
                      <a:pt x="49" y="237"/>
                      <a:pt x="61" y="242"/>
                    </a:cubicBezTo>
                    <a:cubicBezTo>
                      <a:pt x="73" y="247"/>
                      <a:pt x="86" y="250"/>
                      <a:pt x="100" y="250"/>
                    </a:cubicBezTo>
                    <a:lnTo>
                      <a:pt x="106" y="250"/>
                    </a:lnTo>
                    <a:lnTo>
                      <a:pt x="200" y="156"/>
                    </a:lnTo>
                    <a:lnTo>
                      <a:pt x="294" y="250"/>
                    </a:lnTo>
                    <a:lnTo>
                      <a:pt x="325" y="250"/>
                    </a:lnTo>
                    <a:cubicBezTo>
                      <a:pt x="335" y="250"/>
                      <a:pt x="345" y="248"/>
                      <a:pt x="354" y="244"/>
                    </a:cubicBezTo>
                    <a:cubicBezTo>
                      <a:pt x="363" y="240"/>
                      <a:pt x="371" y="235"/>
                      <a:pt x="378" y="228"/>
                    </a:cubicBezTo>
                    <a:cubicBezTo>
                      <a:pt x="385" y="221"/>
                      <a:pt x="390" y="213"/>
                      <a:pt x="394" y="204"/>
                    </a:cubicBezTo>
                    <a:cubicBezTo>
                      <a:pt x="398" y="195"/>
                      <a:pt x="400" y="185"/>
                      <a:pt x="400" y="175"/>
                    </a:cubicBezTo>
                    <a:cubicBezTo>
                      <a:pt x="400" y="164"/>
                      <a:pt x="398" y="155"/>
                      <a:pt x="394" y="146"/>
                    </a:cubicBezTo>
                    <a:cubicBezTo>
                      <a:pt x="390" y="136"/>
                      <a:pt x="384" y="129"/>
                      <a:pt x="378" y="122"/>
                    </a:cubicBezTo>
                    <a:cubicBezTo>
                      <a:pt x="371" y="115"/>
                      <a:pt x="363" y="110"/>
                      <a:pt x="354" y="106"/>
                    </a:cubicBezTo>
                    <a:cubicBezTo>
                      <a:pt x="344" y="102"/>
                      <a:pt x="335" y="100"/>
                      <a:pt x="324" y="100"/>
                    </a:cubicBezTo>
                    <a:cubicBezTo>
                      <a:pt x="322" y="86"/>
                      <a:pt x="318" y="73"/>
                      <a:pt x="312" y="60"/>
                    </a:cubicBezTo>
                    <a:cubicBezTo>
                      <a:pt x="305" y="48"/>
                      <a:pt x="297" y="38"/>
                      <a:pt x="287" y="29"/>
                    </a:cubicBezTo>
                    <a:cubicBezTo>
                      <a:pt x="277" y="20"/>
                      <a:pt x="266" y="13"/>
                      <a:pt x="253" y="8"/>
                    </a:cubicBezTo>
                    <a:cubicBezTo>
                      <a:pt x="240" y="3"/>
                      <a:pt x="227" y="0"/>
                      <a:pt x="212" y="0"/>
                    </a:cubicBezTo>
                    <a:cubicBezTo>
                      <a:pt x="203" y="0"/>
                      <a:pt x="193" y="1"/>
                      <a:pt x="184" y="4"/>
                    </a:cubicBezTo>
                    <a:cubicBezTo>
                      <a:pt x="175" y="6"/>
                      <a:pt x="166" y="9"/>
                      <a:pt x="158" y="14"/>
                    </a:cubicBezTo>
                    <a:cubicBezTo>
                      <a:pt x="150" y="18"/>
                      <a:pt x="143" y="24"/>
                      <a:pt x="136" y="30"/>
                    </a:cubicBezTo>
                    <a:cubicBezTo>
                      <a:pt x="129" y="36"/>
                      <a:pt x="123" y="44"/>
                      <a:pt x="118" y="52"/>
                    </a:cubicBezTo>
                    <a:cubicBezTo>
                      <a:pt x="112" y="51"/>
                      <a:pt x="106" y="50"/>
                      <a:pt x="100" y="50"/>
                    </a:cubicBezTo>
                    <a:close/>
                  </a:path>
                </a:pathLst>
              </a:custGeom>
              <a:solidFill>
                <a:srgbClr val="0078D4"/>
              </a:solidFill>
              <a:ln w="0">
                <a:solidFill>
                  <a:srgbClr val="0078D4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14" tIns="45706" rIns="91414" bIns="45706" numCol="1" anchor="t" anchorCtr="0" compatLnSpc="1">
                <a:prstTxWarp prst="textNoShape">
                  <a:avLst/>
                </a:prstTxWarp>
              </a:bodyPr>
              <a:lstStyle/>
              <a:p>
                <a:pPr defTabSz="914016">
                  <a:defRPr/>
                </a:pPr>
                <a:endParaRPr lang="en-US" sz="1765">
                  <a:solidFill>
                    <a:srgbClr val="1A1A1A"/>
                  </a:solidFill>
                  <a:latin typeface="Segoe UI"/>
                </a:endParaRPr>
              </a:p>
            </p:txBody>
          </p:sp>
        </p:grpSp>
        <p:sp>
          <p:nvSpPr>
            <p:cNvPr id="38" name="Freeform 9">
              <a:extLst>
                <a:ext uri="{FF2B5EF4-FFF2-40B4-BE49-F238E27FC236}">
                  <a16:creationId xmlns:a16="http://schemas.microsoft.com/office/drawing/2014/main" id="{DD68AFD8-4A34-D74D-8249-6AC4D980D747}"/>
                </a:ext>
              </a:extLst>
            </p:cNvPr>
            <p:cNvSpPr>
              <a:spLocks/>
            </p:cNvSpPr>
            <p:nvPr/>
          </p:nvSpPr>
          <p:spPr bwMode="auto">
            <a:xfrm>
              <a:off x="2374900" y="2533650"/>
              <a:ext cx="631825" cy="692150"/>
            </a:xfrm>
            <a:custGeom>
              <a:avLst/>
              <a:gdLst>
                <a:gd name="T0" fmla="*/ 76 w 126"/>
                <a:gd name="T1" fmla="*/ 138 h 138"/>
                <a:gd name="T2" fmla="*/ 76 w 126"/>
                <a:gd name="T3" fmla="*/ 138 h 138"/>
                <a:gd name="T4" fmla="*/ 76 w 126"/>
                <a:gd name="T5" fmla="*/ 51 h 138"/>
                <a:gd name="T6" fmla="*/ 107 w 126"/>
                <a:gd name="T7" fmla="*/ 81 h 138"/>
                <a:gd name="T8" fmla="*/ 126 w 126"/>
                <a:gd name="T9" fmla="*/ 62 h 138"/>
                <a:gd name="T10" fmla="*/ 63 w 126"/>
                <a:gd name="T11" fmla="*/ 0 h 138"/>
                <a:gd name="T12" fmla="*/ 0 w 126"/>
                <a:gd name="T13" fmla="*/ 62 h 138"/>
                <a:gd name="T14" fmla="*/ 19 w 126"/>
                <a:gd name="T15" fmla="*/ 81 h 138"/>
                <a:gd name="T16" fmla="*/ 49 w 126"/>
                <a:gd name="T17" fmla="*/ 51 h 138"/>
                <a:gd name="T18" fmla="*/ 49 w 126"/>
                <a:gd name="T19" fmla="*/ 138 h 138"/>
                <a:gd name="T20" fmla="*/ 76 w 126"/>
                <a:gd name="T21" fmla="*/ 138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26" h="138">
                  <a:moveTo>
                    <a:pt x="76" y="138"/>
                  </a:moveTo>
                  <a:lnTo>
                    <a:pt x="76" y="138"/>
                  </a:lnTo>
                  <a:lnTo>
                    <a:pt x="76" y="51"/>
                  </a:lnTo>
                  <a:lnTo>
                    <a:pt x="107" y="81"/>
                  </a:lnTo>
                  <a:lnTo>
                    <a:pt x="126" y="62"/>
                  </a:lnTo>
                  <a:lnTo>
                    <a:pt x="63" y="0"/>
                  </a:lnTo>
                  <a:lnTo>
                    <a:pt x="0" y="62"/>
                  </a:lnTo>
                  <a:lnTo>
                    <a:pt x="19" y="81"/>
                  </a:lnTo>
                  <a:lnTo>
                    <a:pt x="49" y="51"/>
                  </a:lnTo>
                  <a:lnTo>
                    <a:pt x="49" y="138"/>
                  </a:lnTo>
                  <a:lnTo>
                    <a:pt x="76" y="138"/>
                  </a:lnTo>
                  <a:close/>
                </a:path>
              </a:pathLst>
            </a:custGeom>
            <a:solidFill>
              <a:schemeClr val="tx1"/>
            </a:solidFill>
            <a:ln w="19050">
              <a:noFill/>
              <a:prstDash val="solid"/>
              <a:round/>
              <a:headEnd/>
              <a:tailEnd/>
            </a:ln>
          </p:spPr>
          <p:txBody>
            <a:bodyPr vert="horz" wrap="square" lIns="91414" tIns="45706" rIns="91414" bIns="45706" numCol="1" anchor="t" anchorCtr="0" compatLnSpc="1">
              <a:prstTxWarp prst="textNoShape">
                <a:avLst/>
              </a:prstTxWarp>
            </a:bodyPr>
            <a:lstStyle/>
            <a:p>
              <a:pPr defTabSz="914016">
                <a:defRPr/>
              </a:pPr>
              <a:endParaRPr lang="en-US" sz="1765">
                <a:solidFill>
                  <a:srgbClr val="1A1A1A"/>
                </a:solidFill>
                <a:latin typeface="Segoe UI"/>
              </a:endParaRPr>
            </a:p>
          </p:txBody>
        </p:sp>
      </p:grpSp>
      <p:sp>
        <p:nvSpPr>
          <p:cNvPr id="55" name="Text Placeholder 4">
            <a:extLst>
              <a:ext uri="{FF2B5EF4-FFF2-40B4-BE49-F238E27FC236}">
                <a16:creationId xmlns:a16="http://schemas.microsoft.com/office/drawing/2014/main" id="{40DF5FE6-B631-2F4C-8217-97B0C9DDA9CD}"/>
              </a:ext>
            </a:extLst>
          </p:cNvPr>
          <p:cNvSpPr txBox="1">
            <a:spLocks/>
          </p:cNvSpPr>
          <p:nvPr/>
        </p:nvSpPr>
        <p:spPr>
          <a:xfrm>
            <a:off x="7035513" y="856719"/>
            <a:ext cx="4592072" cy="5144564"/>
          </a:xfrm>
          <a:prstGeom prst="rect">
            <a:avLst/>
          </a:prstGeom>
        </p:spPr>
        <p:txBody>
          <a:bodyPr anchor="ctr"/>
          <a:lstStyle>
            <a:lvl1pPr marL="228600" marR="0" indent="-22860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28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defRPr>
            </a:lvl1pPr>
            <a:lvl2pPr marL="457200" marR="0" indent="-22860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20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657225" marR="0" indent="-20002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16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842963" marR="0" indent="-18097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14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1023938" marR="0" indent="-16827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14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896181" fontAlgn="base">
              <a:spcBef>
                <a:spcPct val="0"/>
              </a:spcBef>
              <a:spcAft>
                <a:spcPct val="0"/>
              </a:spcAft>
              <a:buSzTx/>
              <a:buNone/>
            </a:pPr>
            <a:r>
              <a:rPr lang="en-US" altLang="en-US" sz="1765" dirty="0">
                <a:solidFill>
                  <a:srgbClr val="0070C0"/>
                </a:solidFill>
                <a:latin typeface="Segoe UI"/>
              </a:rPr>
              <a:t>Deploy Replication appliance (also known as configuration server) </a:t>
            </a:r>
            <a:r>
              <a:rPr lang="en-US" altLang="en-US" sz="1765" dirty="0">
                <a:solidFill>
                  <a:prstClr val="black"/>
                </a:solidFill>
                <a:latin typeface="Segoe UI"/>
              </a:rPr>
              <a:t>in your source environment</a:t>
            </a:r>
          </a:p>
          <a:p>
            <a:pPr marL="0" indent="0" defTabSz="896181" fontAlgn="base">
              <a:spcBef>
                <a:spcPct val="0"/>
              </a:spcBef>
              <a:spcAft>
                <a:spcPct val="0"/>
              </a:spcAft>
              <a:buSzTx/>
              <a:buNone/>
            </a:pPr>
            <a:endParaRPr lang="en-US" altLang="en-US" sz="1765" dirty="0">
              <a:solidFill>
                <a:srgbClr val="0070C0"/>
              </a:solidFill>
              <a:latin typeface="Segoe UI"/>
            </a:endParaRPr>
          </a:p>
          <a:p>
            <a:pPr marL="0" indent="0" defTabSz="896181" fontAlgn="base">
              <a:spcBef>
                <a:spcPct val="0"/>
              </a:spcBef>
              <a:spcAft>
                <a:spcPct val="0"/>
              </a:spcAft>
              <a:buSzTx/>
              <a:buNone/>
            </a:pPr>
            <a:r>
              <a:rPr lang="en-US" altLang="en-US" sz="1765" dirty="0">
                <a:solidFill>
                  <a:srgbClr val="0070C0"/>
                </a:solidFill>
                <a:latin typeface="Segoe UI"/>
              </a:rPr>
              <a:t>Install Mobility Service </a:t>
            </a:r>
            <a:r>
              <a:rPr lang="en-US" altLang="en-US" sz="1765" dirty="0">
                <a:solidFill>
                  <a:prstClr val="black"/>
                </a:solidFill>
                <a:latin typeface="Segoe UI"/>
              </a:rPr>
              <a:t>on the servers to be migrated</a:t>
            </a:r>
          </a:p>
          <a:p>
            <a:pPr marL="0" indent="0" defTabSz="896181" fontAlgn="base">
              <a:spcBef>
                <a:spcPct val="0"/>
              </a:spcBef>
              <a:spcAft>
                <a:spcPct val="0"/>
              </a:spcAft>
              <a:buSzTx/>
              <a:buNone/>
            </a:pPr>
            <a:endParaRPr lang="en-US" altLang="en-US" sz="1765" dirty="0">
              <a:solidFill>
                <a:srgbClr val="0070C0"/>
              </a:solidFill>
              <a:latin typeface="Segoe UI"/>
            </a:endParaRPr>
          </a:p>
          <a:p>
            <a:pPr marL="0" indent="0" defTabSz="896181" fontAlgn="base">
              <a:spcBef>
                <a:spcPct val="0"/>
              </a:spcBef>
              <a:spcAft>
                <a:spcPct val="0"/>
              </a:spcAft>
              <a:buSzTx/>
              <a:buNone/>
            </a:pPr>
            <a:r>
              <a:rPr lang="en-US" altLang="en-US" sz="1765" dirty="0">
                <a:solidFill>
                  <a:srgbClr val="0070C0"/>
                </a:solidFill>
                <a:latin typeface="Segoe UI"/>
              </a:rPr>
              <a:t>Start replicating </a:t>
            </a:r>
            <a:r>
              <a:rPr lang="en-US" altLang="en-US" sz="1765" dirty="0">
                <a:gradFill>
                  <a:gsLst>
                    <a:gs pos="2917">
                      <a:srgbClr val="1A1A1A"/>
                    </a:gs>
                    <a:gs pos="30000">
                      <a:srgbClr val="1A1A1A"/>
                    </a:gs>
                  </a:gsLst>
                  <a:lin ang="5400000" scaled="0"/>
                </a:gradFill>
                <a:latin typeface="Segoe UI"/>
              </a:rPr>
              <a:t>your Windows and Linux servers using Azure Migrate: Server Migration </a:t>
            </a:r>
          </a:p>
          <a:p>
            <a:pPr marL="0" indent="0" defTabSz="896181" fontAlgn="base">
              <a:spcBef>
                <a:spcPct val="0"/>
              </a:spcBef>
              <a:spcAft>
                <a:spcPct val="0"/>
              </a:spcAft>
              <a:buSzTx/>
              <a:buNone/>
            </a:pPr>
            <a:endParaRPr lang="en-US" altLang="en-US" sz="1765" dirty="0">
              <a:gradFill>
                <a:gsLst>
                  <a:gs pos="2917">
                    <a:srgbClr val="1A1A1A"/>
                  </a:gs>
                  <a:gs pos="30000">
                    <a:srgbClr val="1A1A1A"/>
                  </a:gs>
                </a:gsLst>
                <a:lin ang="5400000" scaled="0"/>
              </a:gradFill>
              <a:latin typeface="Segoe UI"/>
            </a:endParaRPr>
          </a:p>
          <a:p>
            <a:pPr marL="0" indent="0" defTabSz="896181" fontAlgn="base">
              <a:spcBef>
                <a:spcPct val="0"/>
              </a:spcBef>
              <a:spcAft>
                <a:spcPct val="0"/>
              </a:spcAft>
              <a:buSzTx/>
              <a:buNone/>
            </a:pPr>
            <a:r>
              <a:rPr lang="en-US" altLang="en-US" sz="1765" dirty="0">
                <a:solidFill>
                  <a:srgbClr val="0070C0"/>
                </a:solidFill>
                <a:latin typeface="Segoe UI"/>
              </a:rPr>
              <a:t>Replication appliance orchestrates </a:t>
            </a:r>
            <a:r>
              <a:rPr lang="en-US" altLang="en-US" sz="1765" dirty="0">
                <a:gradFill>
                  <a:gsLst>
                    <a:gs pos="2917">
                      <a:srgbClr val="1A1A1A"/>
                    </a:gs>
                    <a:gs pos="30000">
                      <a:srgbClr val="1A1A1A"/>
                    </a:gs>
                  </a:gsLst>
                  <a:lin ang="5400000" scaled="0"/>
                </a:gradFill>
                <a:latin typeface="Segoe UI"/>
              </a:rPr>
              <a:t>the replication of your VM data to your Azure subscription</a:t>
            </a:r>
          </a:p>
          <a:p>
            <a:pPr marL="0" indent="0" defTabSz="896181" fontAlgn="base">
              <a:spcBef>
                <a:spcPct val="0"/>
              </a:spcBef>
              <a:spcAft>
                <a:spcPct val="0"/>
              </a:spcAft>
              <a:buSzTx/>
              <a:buNone/>
            </a:pPr>
            <a:endParaRPr lang="en-US" altLang="en-US" sz="1765" dirty="0">
              <a:gradFill>
                <a:gsLst>
                  <a:gs pos="2917">
                    <a:srgbClr val="1A1A1A"/>
                  </a:gs>
                  <a:gs pos="30000">
                    <a:srgbClr val="1A1A1A"/>
                  </a:gs>
                </a:gsLst>
                <a:lin ang="5400000" scaled="0"/>
              </a:gradFill>
              <a:latin typeface="Segoe UI"/>
            </a:endParaRPr>
          </a:p>
          <a:p>
            <a:pPr marL="0" indent="0" defTabSz="896181" fontAlgn="base">
              <a:spcBef>
                <a:spcPct val="0"/>
              </a:spcBef>
              <a:spcAft>
                <a:spcPct val="0"/>
              </a:spcAft>
              <a:buSzTx/>
              <a:buNone/>
            </a:pPr>
            <a:r>
              <a:rPr lang="en-US" altLang="en-US" sz="1765" dirty="0">
                <a:solidFill>
                  <a:srgbClr val="0070C0"/>
                </a:solidFill>
                <a:latin typeface="Segoe UI"/>
              </a:rPr>
              <a:t>Perform test migrations </a:t>
            </a:r>
            <a:r>
              <a:rPr lang="en-US" altLang="en-US" sz="1765" dirty="0">
                <a:gradFill>
                  <a:gsLst>
                    <a:gs pos="2917">
                      <a:srgbClr val="1A1A1A"/>
                    </a:gs>
                    <a:gs pos="30000">
                      <a:srgbClr val="1A1A1A"/>
                    </a:gs>
                  </a:gsLst>
                  <a:lin ang="5400000" scaled="0"/>
                </a:gradFill>
                <a:latin typeface="Segoe UI"/>
              </a:rPr>
              <a:t>to a sandbox environment with no impact to production to validate migration</a:t>
            </a:r>
          </a:p>
          <a:p>
            <a:pPr marL="0" indent="0" defTabSz="896181" fontAlgn="base">
              <a:spcBef>
                <a:spcPct val="0"/>
              </a:spcBef>
              <a:spcAft>
                <a:spcPct val="0"/>
              </a:spcAft>
              <a:buSzTx/>
              <a:buNone/>
            </a:pPr>
            <a:endParaRPr lang="en-US" altLang="en-US" sz="1765" dirty="0">
              <a:gradFill>
                <a:gsLst>
                  <a:gs pos="2917">
                    <a:srgbClr val="1A1A1A"/>
                  </a:gs>
                  <a:gs pos="30000">
                    <a:srgbClr val="1A1A1A"/>
                  </a:gs>
                </a:gsLst>
                <a:lin ang="5400000" scaled="0"/>
              </a:gradFill>
              <a:latin typeface="Segoe UI"/>
            </a:endParaRPr>
          </a:p>
          <a:p>
            <a:pPr marL="0" indent="0" defTabSz="896181" fontAlgn="base">
              <a:spcBef>
                <a:spcPct val="0"/>
              </a:spcBef>
              <a:spcAft>
                <a:spcPct val="0"/>
              </a:spcAft>
              <a:buSzTx/>
              <a:buNone/>
            </a:pPr>
            <a:r>
              <a:rPr lang="en-US" altLang="en-US" sz="1765" dirty="0">
                <a:solidFill>
                  <a:srgbClr val="0070C0"/>
                </a:solidFill>
                <a:latin typeface="Segoe UI"/>
              </a:rPr>
              <a:t>Migrate </a:t>
            </a:r>
            <a:r>
              <a:rPr lang="en-US" altLang="en-US" sz="1765" dirty="0">
                <a:gradFill>
                  <a:gsLst>
                    <a:gs pos="2917">
                      <a:srgbClr val="1A1A1A"/>
                    </a:gs>
                    <a:gs pos="30000">
                      <a:srgbClr val="1A1A1A"/>
                    </a:gs>
                  </a:gsLst>
                  <a:lin ang="5400000" scaled="0"/>
                </a:gradFill>
                <a:latin typeface="Segoe UI"/>
              </a:rPr>
              <a:t>with minimal downtime</a:t>
            </a:r>
          </a:p>
        </p:txBody>
      </p:sp>
      <p:cxnSp>
        <p:nvCxnSpPr>
          <p:cNvPr id="56" name="Straight Connector 55">
            <a:extLst>
              <a:ext uri="{FF2B5EF4-FFF2-40B4-BE49-F238E27FC236}">
                <a16:creationId xmlns:a16="http://schemas.microsoft.com/office/drawing/2014/main" id="{32080CAE-B3A5-3243-8571-6E11D0D102EB}"/>
              </a:ext>
            </a:extLst>
          </p:cNvPr>
          <p:cNvCxnSpPr>
            <a:cxnSpLocks/>
          </p:cNvCxnSpPr>
          <p:nvPr/>
        </p:nvCxnSpPr>
        <p:spPr>
          <a:xfrm>
            <a:off x="7035513" y="1665716"/>
            <a:ext cx="4592072" cy="0"/>
          </a:xfrm>
          <a:prstGeom prst="line">
            <a:avLst/>
          </a:prstGeom>
          <a:noFill/>
          <a:ln w="12700" cap="flat" cmpd="sng" algn="ctr">
            <a:solidFill>
              <a:schemeClr val="bg1">
                <a:lumMod val="75000"/>
              </a:schemeClr>
            </a:solidFill>
            <a:prstDash val="solid"/>
            <a:headEnd type="none"/>
            <a:tailEnd type="none"/>
          </a:ln>
          <a:effectLst/>
        </p:spPr>
      </p:cxnSp>
      <p:cxnSp>
        <p:nvCxnSpPr>
          <p:cNvPr id="57" name="Straight Connector 56">
            <a:extLst>
              <a:ext uri="{FF2B5EF4-FFF2-40B4-BE49-F238E27FC236}">
                <a16:creationId xmlns:a16="http://schemas.microsoft.com/office/drawing/2014/main" id="{ECEED24C-9818-A042-98F8-9843E0762355}"/>
              </a:ext>
            </a:extLst>
          </p:cNvPr>
          <p:cNvCxnSpPr>
            <a:cxnSpLocks/>
          </p:cNvCxnSpPr>
          <p:nvPr/>
        </p:nvCxnSpPr>
        <p:spPr>
          <a:xfrm>
            <a:off x="7035513" y="2495053"/>
            <a:ext cx="4592072" cy="0"/>
          </a:xfrm>
          <a:prstGeom prst="line">
            <a:avLst/>
          </a:prstGeom>
          <a:noFill/>
          <a:ln w="12700" cap="flat" cmpd="sng" algn="ctr">
            <a:solidFill>
              <a:schemeClr val="bg1">
                <a:lumMod val="75000"/>
              </a:schemeClr>
            </a:solidFill>
            <a:prstDash val="solid"/>
            <a:headEnd type="none"/>
            <a:tailEnd type="none"/>
          </a:ln>
          <a:effectLst/>
        </p:spPr>
      </p:cxnSp>
      <p:cxnSp>
        <p:nvCxnSpPr>
          <p:cNvPr id="71" name="Straight Connector 70">
            <a:extLst>
              <a:ext uri="{FF2B5EF4-FFF2-40B4-BE49-F238E27FC236}">
                <a16:creationId xmlns:a16="http://schemas.microsoft.com/office/drawing/2014/main" id="{30485E64-8737-DC44-B7AB-21AFC7A0877B}"/>
              </a:ext>
            </a:extLst>
          </p:cNvPr>
          <p:cNvCxnSpPr>
            <a:cxnSpLocks/>
          </p:cNvCxnSpPr>
          <p:nvPr/>
        </p:nvCxnSpPr>
        <p:spPr>
          <a:xfrm>
            <a:off x="7035513" y="3585395"/>
            <a:ext cx="4592072" cy="0"/>
          </a:xfrm>
          <a:prstGeom prst="line">
            <a:avLst/>
          </a:prstGeom>
          <a:noFill/>
          <a:ln w="12700" cap="flat" cmpd="sng" algn="ctr">
            <a:solidFill>
              <a:schemeClr val="bg1">
                <a:lumMod val="75000"/>
              </a:schemeClr>
            </a:solidFill>
            <a:prstDash val="solid"/>
            <a:headEnd type="none"/>
            <a:tailEnd type="none"/>
          </a:ln>
          <a:effectLst/>
        </p:spPr>
      </p:cxnSp>
      <p:cxnSp>
        <p:nvCxnSpPr>
          <p:cNvPr id="72" name="Straight Connector 71">
            <a:extLst>
              <a:ext uri="{FF2B5EF4-FFF2-40B4-BE49-F238E27FC236}">
                <a16:creationId xmlns:a16="http://schemas.microsoft.com/office/drawing/2014/main" id="{E56E3814-9A79-8841-AF25-EC711AD19365}"/>
              </a:ext>
            </a:extLst>
          </p:cNvPr>
          <p:cNvCxnSpPr>
            <a:cxnSpLocks/>
          </p:cNvCxnSpPr>
          <p:nvPr/>
        </p:nvCxnSpPr>
        <p:spPr>
          <a:xfrm>
            <a:off x="7035513" y="4623778"/>
            <a:ext cx="4592072" cy="0"/>
          </a:xfrm>
          <a:prstGeom prst="line">
            <a:avLst/>
          </a:prstGeom>
          <a:noFill/>
          <a:ln w="12700" cap="flat" cmpd="sng" algn="ctr">
            <a:solidFill>
              <a:schemeClr val="bg1">
                <a:lumMod val="75000"/>
              </a:schemeClr>
            </a:solidFill>
            <a:prstDash val="solid"/>
            <a:headEnd type="none"/>
            <a:tailEnd type="none"/>
          </a:ln>
          <a:effectLst/>
        </p:spPr>
      </p:cxnSp>
      <p:grpSp>
        <p:nvGrpSpPr>
          <p:cNvPr id="73" name="Group 72">
            <a:extLst>
              <a:ext uri="{FF2B5EF4-FFF2-40B4-BE49-F238E27FC236}">
                <a16:creationId xmlns:a16="http://schemas.microsoft.com/office/drawing/2014/main" id="{6FC3C9C2-772E-A840-81D3-26D7D98FC3F8}"/>
              </a:ext>
            </a:extLst>
          </p:cNvPr>
          <p:cNvGrpSpPr/>
          <p:nvPr/>
        </p:nvGrpSpPr>
        <p:grpSpPr>
          <a:xfrm>
            <a:off x="4491847" y="2454311"/>
            <a:ext cx="1322884" cy="578051"/>
            <a:chOff x="1671603" y="4900917"/>
            <a:chExt cx="1323259" cy="578215"/>
          </a:xfrm>
        </p:grpSpPr>
        <p:grpSp>
          <p:nvGrpSpPr>
            <p:cNvPr id="74" name="Group 73">
              <a:extLst>
                <a:ext uri="{FF2B5EF4-FFF2-40B4-BE49-F238E27FC236}">
                  <a16:creationId xmlns:a16="http://schemas.microsoft.com/office/drawing/2014/main" id="{3DDC11CF-7D0D-F446-80E6-326F40D0C60A}"/>
                </a:ext>
              </a:extLst>
            </p:cNvPr>
            <p:cNvGrpSpPr/>
            <p:nvPr/>
          </p:nvGrpSpPr>
          <p:grpSpPr>
            <a:xfrm>
              <a:off x="1671603" y="4900917"/>
              <a:ext cx="627183" cy="578215"/>
              <a:chOff x="2501959" y="5037105"/>
              <a:chExt cx="627183" cy="578215"/>
            </a:xfrm>
          </p:grpSpPr>
          <p:sp>
            <p:nvSpPr>
              <p:cNvPr id="78" name="Freeform 5">
                <a:extLst>
                  <a:ext uri="{FF2B5EF4-FFF2-40B4-BE49-F238E27FC236}">
                    <a16:creationId xmlns:a16="http://schemas.microsoft.com/office/drawing/2014/main" id="{421FFCE9-155A-4547-B2F0-3B6DABF1FE8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01959" y="5037105"/>
                <a:ext cx="627183" cy="578215"/>
              </a:xfrm>
              <a:custGeom>
                <a:avLst/>
                <a:gdLst>
                  <a:gd name="T0" fmla="*/ 0 w 426"/>
                  <a:gd name="T1" fmla="*/ 12 h 333"/>
                  <a:gd name="T2" fmla="*/ 0 w 426"/>
                  <a:gd name="T3" fmla="*/ 12 h 333"/>
                  <a:gd name="T4" fmla="*/ 0 w 426"/>
                  <a:gd name="T5" fmla="*/ 255 h 333"/>
                  <a:gd name="T6" fmla="*/ 12 w 426"/>
                  <a:gd name="T7" fmla="*/ 268 h 333"/>
                  <a:gd name="T8" fmla="*/ 195 w 426"/>
                  <a:gd name="T9" fmla="*/ 268 h 333"/>
                  <a:gd name="T10" fmla="*/ 195 w 426"/>
                  <a:gd name="T11" fmla="*/ 306 h 333"/>
                  <a:gd name="T12" fmla="*/ 130 w 426"/>
                  <a:gd name="T13" fmla="*/ 306 h 333"/>
                  <a:gd name="T14" fmla="*/ 130 w 426"/>
                  <a:gd name="T15" fmla="*/ 333 h 333"/>
                  <a:gd name="T16" fmla="*/ 293 w 426"/>
                  <a:gd name="T17" fmla="*/ 333 h 333"/>
                  <a:gd name="T18" fmla="*/ 293 w 426"/>
                  <a:gd name="T19" fmla="*/ 306 h 333"/>
                  <a:gd name="T20" fmla="*/ 228 w 426"/>
                  <a:gd name="T21" fmla="*/ 306 h 333"/>
                  <a:gd name="T22" fmla="*/ 228 w 426"/>
                  <a:gd name="T23" fmla="*/ 268 h 333"/>
                  <a:gd name="T24" fmla="*/ 413 w 426"/>
                  <a:gd name="T25" fmla="*/ 268 h 333"/>
                  <a:gd name="T26" fmla="*/ 426 w 426"/>
                  <a:gd name="T27" fmla="*/ 255 h 333"/>
                  <a:gd name="T28" fmla="*/ 426 w 426"/>
                  <a:gd name="T29" fmla="*/ 12 h 333"/>
                  <a:gd name="T30" fmla="*/ 413 w 426"/>
                  <a:gd name="T31" fmla="*/ 0 h 333"/>
                  <a:gd name="T32" fmla="*/ 12 w 426"/>
                  <a:gd name="T33" fmla="*/ 0 h 333"/>
                  <a:gd name="T34" fmla="*/ 0 w 426"/>
                  <a:gd name="T35" fmla="*/ 12 h 3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426" h="333">
                    <a:moveTo>
                      <a:pt x="0" y="12"/>
                    </a:moveTo>
                    <a:lnTo>
                      <a:pt x="0" y="12"/>
                    </a:lnTo>
                    <a:lnTo>
                      <a:pt x="0" y="255"/>
                    </a:lnTo>
                    <a:cubicBezTo>
                      <a:pt x="0" y="262"/>
                      <a:pt x="5" y="268"/>
                      <a:pt x="12" y="268"/>
                    </a:cubicBezTo>
                    <a:lnTo>
                      <a:pt x="195" y="268"/>
                    </a:lnTo>
                    <a:lnTo>
                      <a:pt x="195" y="306"/>
                    </a:lnTo>
                    <a:lnTo>
                      <a:pt x="130" y="306"/>
                    </a:lnTo>
                    <a:lnTo>
                      <a:pt x="130" y="333"/>
                    </a:lnTo>
                    <a:lnTo>
                      <a:pt x="293" y="333"/>
                    </a:lnTo>
                    <a:lnTo>
                      <a:pt x="293" y="306"/>
                    </a:lnTo>
                    <a:lnTo>
                      <a:pt x="228" y="306"/>
                    </a:lnTo>
                    <a:lnTo>
                      <a:pt x="228" y="268"/>
                    </a:lnTo>
                    <a:lnTo>
                      <a:pt x="413" y="268"/>
                    </a:lnTo>
                    <a:cubicBezTo>
                      <a:pt x="420" y="268"/>
                      <a:pt x="426" y="262"/>
                      <a:pt x="426" y="255"/>
                    </a:cubicBezTo>
                    <a:lnTo>
                      <a:pt x="426" y="12"/>
                    </a:lnTo>
                    <a:cubicBezTo>
                      <a:pt x="426" y="5"/>
                      <a:pt x="420" y="0"/>
                      <a:pt x="413" y="0"/>
                    </a:cubicBezTo>
                    <a:lnTo>
                      <a:pt x="12" y="0"/>
                    </a:lnTo>
                    <a:cubicBezTo>
                      <a:pt x="5" y="0"/>
                      <a:pt x="0" y="5"/>
                      <a:pt x="0" y="12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1905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14" tIns="45706" rIns="91414" bIns="45706" numCol="1" anchor="t" anchorCtr="0" compatLnSpc="1">
                <a:prstTxWarp prst="textNoShape">
                  <a:avLst/>
                </a:prstTxWarp>
              </a:bodyPr>
              <a:lstStyle/>
              <a:p>
                <a:pPr defTabSz="914016">
                  <a:defRPr/>
                </a:pPr>
                <a:endParaRPr lang="en-US" sz="1765">
                  <a:solidFill>
                    <a:srgbClr val="1A1A1A"/>
                  </a:solidFill>
                  <a:latin typeface="Segoe UI"/>
                </a:endParaRPr>
              </a:p>
            </p:txBody>
          </p:sp>
          <p:pic>
            <p:nvPicPr>
              <p:cNvPr id="79" name="Picture 78">
                <a:extLst>
                  <a:ext uri="{FF2B5EF4-FFF2-40B4-BE49-F238E27FC236}">
                    <a16:creationId xmlns:a16="http://schemas.microsoft.com/office/drawing/2014/main" id="{633C6F2D-852E-CE4B-A373-04D1087EBF4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2667438" y="5132878"/>
                <a:ext cx="279838" cy="302928"/>
              </a:xfrm>
              <a:prstGeom prst="rect">
                <a:avLst/>
              </a:prstGeom>
            </p:spPr>
          </p:pic>
        </p:grpSp>
        <p:grpSp>
          <p:nvGrpSpPr>
            <p:cNvPr id="75" name="Group 74">
              <a:extLst>
                <a:ext uri="{FF2B5EF4-FFF2-40B4-BE49-F238E27FC236}">
                  <a16:creationId xmlns:a16="http://schemas.microsoft.com/office/drawing/2014/main" id="{9A11A357-E3DF-5049-808C-3EBC1B21B0F9}"/>
                </a:ext>
              </a:extLst>
            </p:cNvPr>
            <p:cNvGrpSpPr/>
            <p:nvPr/>
          </p:nvGrpSpPr>
          <p:grpSpPr>
            <a:xfrm>
              <a:off x="2367679" y="4900917"/>
              <a:ext cx="627183" cy="578215"/>
              <a:chOff x="2501959" y="5037105"/>
              <a:chExt cx="627183" cy="578215"/>
            </a:xfrm>
          </p:grpSpPr>
          <p:sp>
            <p:nvSpPr>
              <p:cNvPr id="76" name="Freeform 5">
                <a:extLst>
                  <a:ext uri="{FF2B5EF4-FFF2-40B4-BE49-F238E27FC236}">
                    <a16:creationId xmlns:a16="http://schemas.microsoft.com/office/drawing/2014/main" id="{07BF2B5E-ED48-E44C-B1BD-DE0390ED1F1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01959" y="5037105"/>
                <a:ext cx="627183" cy="578215"/>
              </a:xfrm>
              <a:custGeom>
                <a:avLst/>
                <a:gdLst>
                  <a:gd name="T0" fmla="*/ 0 w 426"/>
                  <a:gd name="T1" fmla="*/ 12 h 333"/>
                  <a:gd name="T2" fmla="*/ 0 w 426"/>
                  <a:gd name="T3" fmla="*/ 12 h 333"/>
                  <a:gd name="T4" fmla="*/ 0 w 426"/>
                  <a:gd name="T5" fmla="*/ 255 h 333"/>
                  <a:gd name="T6" fmla="*/ 12 w 426"/>
                  <a:gd name="T7" fmla="*/ 268 h 333"/>
                  <a:gd name="T8" fmla="*/ 195 w 426"/>
                  <a:gd name="T9" fmla="*/ 268 h 333"/>
                  <a:gd name="T10" fmla="*/ 195 w 426"/>
                  <a:gd name="T11" fmla="*/ 306 h 333"/>
                  <a:gd name="T12" fmla="*/ 130 w 426"/>
                  <a:gd name="T13" fmla="*/ 306 h 333"/>
                  <a:gd name="T14" fmla="*/ 130 w 426"/>
                  <a:gd name="T15" fmla="*/ 333 h 333"/>
                  <a:gd name="T16" fmla="*/ 293 w 426"/>
                  <a:gd name="T17" fmla="*/ 333 h 333"/>
                  <a:gd name="T18" fmla="*/ 293 w 426"/>
                  <a:gd name="T19" fmla="*/ 306 h 333"/>
                  <a:gd name="T20" fmla="*/ 228 w 426"/>
                  <a:gd name="T21" fmla="*/ 306 h 333"/>
                  <a:gd name="T22" fmla="*/ 228 w 426"/>
                  <a:gd name="T23" fmla="*/ 268 h 333"/>
                  <a:gd name="T24" fmla="*/ 413 w 426"/>
                  <a:gd name="T25" fmla="*/ 268 h 333"/>
                  <a:gd name="T26" fmla="*/ 426 w 426"/>
                  <a:gd name="T27" fmla="*/ 255 h 333"/>
                  <a:gd name="T28" fmla="*/ 426 w 426"/>
                  <a:gd name="T29" fmla="*/ 12 h 333"/>
                  <a:gd name="T30" fmla="*/ 413 w 426"/>
                  <a:gd name="T31" fmla="*/ 0 h 333"/>
                  <a:gd name="T32" fmla="*/ 12 w 426"/>
                  <a:gd name="T33" fmla="*/ 0 h 333"/>
                  <a:gd name="T34" fmla="*/ 0 w 426"/>
                  <a:gd name="T35" fmla="*/ 12 h 3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426" h="333">
                    <a:moveTo>
                      <a:pt x="0" y="12"/>
                    </a:moveTo>
                    <a:lnTo>
                      <a:pt x="0" y="12"/>
                    </a:lnTo>
                    <a:lnTo>
                      <a:pt x="0" y="255"/>
                    </a:lnTo>
                    <a:cubicBezTo>
                      <a:pt x="0" y="262"/>
                      <a:pt x="5" y="268"/>
                      <a:pt x="12" y="268"/>
                    </a:cubicBezTo>
                    <a:lnTo>
                      <a:pt x="195" y="268"/>
                    </a:lnTo>
                    <a:lnTo>
                      <a:pt x="195" y="306"/>
                    </a:lnTo>
                    <a:lnTo>
                      <a:pt x="130" y="306"/>
                    </a:lnTo>
                    <a:lnTo>
                      <a:pt x="130" y="333"/>
                    </a:lnTo>
                    <a:lnTo>
                      <a:pt x="293" y="333"/>
                    </a:lnTo>
                    <a:lnTo>
                      <a:pt x="293" y="306"/>
                    </a:lnTo>
                    <a:lnTo>
                      <a:pt x="228" y="306"/>
                    </a:lnTo>
                    <a:lnTo>
                      <a:pt x="228" y="268"/>
                    </a:lnTo>
                    <a:lnTo>
                      <a:pt x="413" y="268"/>
                    </a:lnTo>
                    <a:cubicBezTo>
                      <a:pt x="420" y="268"/>
                      <a:pt x="426" y="262"/>
                      <a:pt x="426" y="255"/>
                    </a:cubicBezTo>
                    <a:lnTo>
                      <a:pt x="426" y="12"/>
                    </a:lnTo>
                    <a:cubicBezTo>
                      <a:pt x="426" y="5"/>
                      <a:pt x="420" y="0"/>
                      <a:pt x="413" y="0"/>
                    </a:cubicBezTo>
                    <a:lnTo>
                      <a:pt x="12" y="0"/>
                    </a:lnTo>
                    <a:cubicBezTo>
                      <a:pt x="5" y="0"/>
                      <a:pt x="0" y="5"/>
                      <a:pt x="0" y="12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1905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14" tIns="45706" rIns="91414" bIns="45706" numCol="1" anchor="t" anchorCtr="0" compatLnSpc="1">
                <a:prstTxWarp prst="textNoShape">
                  <a:avLst/>
                </a:prstTxWarp>
              </a:bodyPr>
              <a:lstStyle/>
              <a:p>
                <a:pPr defTabSz="914016">
                  <a:defRPr/>
                </a:pPr>
                <a:endParaRPr lang="en-US" sz="1765">
                  <a:solidFill>
                    <a:srgbClr val="1A1A1A"/>
                  </a:solidFill>
                  <a:latin typeface="Segoe UI"/>
                </a:endParaRPr>
              </a:p>
            </p:txBody>
          </p:sp>
          <p:pic>
            <p:nvPicPr>
              <p:cNvPr id="77" name="Picture 76">
                <a:extLst>
                  <a:ext uri="{FF2B5EF4-FFF2-40B4-BE49-F238E27FC236}">
                    <a16:creationId xmlns:a16="http://schemas.microsoft.com/office/drawing/2014/main" id="{EC3DE67C-0968-6F4C-BFBC-6DB6597D9AB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2681505" y="5132878"/>
                <a:ext cx="256062" cy="275758"/>
              </a:xfrm>
              <a:prstGeom prst="rect">
                <a:avLst/>
              </a:prstGeom>
            </p:spPr>
          </p:pic>
        </p:grpSp>
      </p:grpSp>
      <p:grpSp>
        <p:nvGrpSpPr>
          <p:cNvPr id="80" name="Group 79">
            <a:extLst>
              <a:ext uri="{FF2B5EF4-FFF2-40B4-BE49-F238E27FC236}">
                <a16:creationId xmlns:a16="http://schemas.microsoft.com/office/drawing/2014/main" id="{0F4DC0CA-0352-1B47-85F7-8FD07DDC0E7E}"/>
              </a:ext>
            </a:extLst>
          </p:cNvPr>
          <p:cNvGrpSpPr/>
          <p:nvPr/>
        </p:nvGrpSpPr>
        <p:grpSpPr>
          <a:xfrm>
            <a:off x="562171" y="2454311"/>
            <a:ext cx="1322884" cy="578051"/>
            <a:chOff x="1671603" y="4900917"/>
            <a:chExt cx="1323259" cy="578215"/>
          </a:xfrm>
        </p:grpSpPr>
        <p:grpSp>
          <p:nvGrpSpPr>
            <p:cNvPr id="81" name="Group 80">
              <a:extLst>
                <a:ext uri="{FF2B5EF4-FFF2-40B4-BE49-F238E27FC236}">
                  <a16:creationId xmlns:a16="http://schemas.microsoft.com/office/drawing/2014/main" id="{2727B8A2-AA7F-554F-BE32-750BCD0B52CD}"/>
                </a:ext>
              </a:extLst>
            </p:cNvPr>
            <p:cNvGrpSpPr/>
            <p:nvPr/>
          </p:nvGrpSpPr>
          <p:grpSpPr>
            <a:xfrm>
              <a:off x="1671603" y="4900917"/>
              <a:ext cx="627183" cy="578215"/>
              <a:chOff x="2501959" y="5037105"/>
              <a:chExt cx="627183" cy="578215"/>
            </a:xfrm>
          </p:grpSpPr>
          <p:sp>
            <p:nvSpPr>
              <p:cNvPr id="85" name="Freeform 5">
                <a:extLst>
                  <a:ext uri="{FF2B5EF4-FFF2-40B4-BE49-F238E27FC236}">
                    <a16:creationId xmlns:a16="http://schemas.microsoft.com/office/drawing/2014/main" id="{2043B73E-3F4A-7549-856D-C9EC18F0438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01959" y="5037105"/>
                <a:ext cx="627183" cy="578215"/>
              </a:xfrm>
              <a:custGeom>
                <a:avLst/>
                <a:gdLst>
                  <a:gd name="T0" fmla="*/ 0 w 426"/>
                  <a:gd name="T1" fmla="*/ 12 h 333"/>
                  <a:gd name="T2" fmla="*/ 0 w 426"/>
                  <a:gd name="T3" fmla="*/ 12 h 333"/>
                  <a:gd name="T4" fmla="*/ 0 w 426"/>
                  <a:gd name="T5" fmla="*/ 255 h 333"/>
                  <a:gd name="T6" fmla="*/ 12 w 426"/>
                  <a:gd name="T7" fmla="*/ 268 h 333"/>
                  <a:gd name="T8" fmla="*/ 195 w 426"/>
                  <a:gd name="T9" fmla="*/ 268 h 333"/>
                  <a:gd name="T10" fmla="*/ 195 w 426"/>
                  <a:gd name="T11" fmla="*/ 306 h 333"/>
                  <a:gd name="T12" fmla="*/ 130 w 426"/>
                  <a:gd name="T13" fmla="*/ 306 h 333"/>
                  <a:gd name="T14" fmla="*/ 130 w 426"/>
                  <a:gd name="T15" fmla="*/ 333 h 333"/>
                  <a:gd name="T16" fmla="*/ 293 w 426"/>
                  <a:gd name="T17" fmla="*/ 333 h 333"/>
                  <a:gd name="T18" fmla="*/ 293 w 426"/>
                  <a:gd name="T19" fmla="*/ 306 h 333"/>
                  <a:gd name="T20" fmla="*/ 228 w 426"/>
                  <a:gd name="T21" fmla="*/ 306 h 333"/>
                  <a:gd name="T22" fmla="*/ 228 w 426"/>
                  <a:gd name="T23" fmla="*/ 268 h 333"/>
                  <a:gd name="T24" fmla="*/ 413 w 426"/>
                  <a:gd name="T25" fmla="*/ 268 h 333"/>
                  <a:gd name="T26" fmla="*/ 426 w 426"/>
                  <a:gd name="T27" fmla="*/ 255 h 333"/>
                  <a:gd name="T28" fmla="*/ 426 w 426"/>
                  <a:gd name="T29" fmla="*/ 12 h 333"/>
                  <a:gd name="T30" fmla="*/ 413 w 426"/>
                  <a:gd name="T31" fmla="*/ 0 h 333"/>
                  <a:gd name="T32" fmla="*/ 12 w 426"/>
                  <a:gd name="T33" fmla="*/ 0 h 333"/>
                  <a:gd name="T34" fmla="*/ 0 w 426"/>
                  <a:gd name="T35" fmla="*/ 12 h 3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426" h="333">
                    <a:moveTo>
                      <a:pt x="0" y="12"/>
                    </a:moveTo>
                    <a:lnTo>
                      <a:pt x="0" y="12"/>
                    </a:lnTo>
                    <a:lnTo>
                      <a:pt x="0" y="255"/>
                    </a:lnTo>
                    <a:cubicBezTo>
                      <a:pt x="0" y="262"/>
                      <a:pt x="5" y="268"/>
                      <a:pt x="12" y="268"/>
                    </a:cubicBezTo>
                    <a:lnTo>
                      <a:pt x="195" y="268"/>
                    </a:lnTo>
                    <a:lnTo>
                      <a:pt x="195" y="306"/>
                    </a:lnTo>
                    <a:lnTo>
                      <a:pt x="130" y="306"/>
                    </a:lnTo>
                    <a:lnTo>
                      <a:pt x="130" y="333"/>
                    </a:lnTo>
                    <a:lnTo>
                      <a:pt x="293" y="333"/>
                    </a:lnTo>
                    <a:lnTo>
                      <a:pt x="293" y="306"/>
                    </a:lnTo>
                    <a:lnTo>
                      <a:pt x="228" y="306"/>
                    </a:lnTo>
                    <a:lnTo>
                      <a:pt x="228" y="268"/>
                    </a:lnTo>
                    <a:lnTo>
                      <a:pt x="413" y="268"/>
                    </a:lnTo>
                    <a:cubicBezTo>
                      <a:pt x="420" y="268"/>
                      <a:pt x="426" y="262"/>
                      <a:pt x="426" y="255"/>
                    </a:cubicBezTo>
                    <a:lnTo>
                      <a:pt x="426" y="12"/>
                    </a:lnTo>
                    <a:cubicBezTo>
                      <a:pt x="426" y="5"/>
                      <a:pt x="420" y="0"/>
                      <a:pt x="413" y="0"/>
                    </a:cubicBezTo>
                    <a:lnTo>
                      <a:pt x="12" y="0"/>
                    </a:lnTo>
                    <a:cubicBezTo>
                      <a:pt x="5" y="0"/>
                      <a:pt x="0" y="5"/>
                      <a:pt x="0" y="12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1905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14" tIns="45706" rIns="91414" bIns="45706" numCol="1" anchor="t" anchorCtr="0" compatLnSpc="1">
                <a:prstTxWarp prst="textNoShape">
                  <a:avLst/>
                </a:prstTxWarp>
              </a:bodyPr>
              <a:lstStyle/>
              <a:p>
                <a:pPr defTabSz="914016">
                  <a:defRPr/>
                </a:pPr>
                <a:endParaRPr lang="en-US" sz="1765">
                  <a:solidFill>
                    <a:srgbClr val="1A1A1A"/>
                  </a:solidFill>
                  <a:latin typeface="Segoe UI"/>
                </a:endParaRPr>
              </a:p>
            </p:txBody>
          </p:sp>
          <p:pic>
            <p:nvPicPr>
              <p:cNvPr id="86" name="Picture 85">
                <a:extLst>
                  <a:ext uri="{FF2B5EF4-FFF2-40B4-BE49-F238E27FC236}">
                    <a16:creationId xmlns:a16="http://schemas.microsoft.com/office/drawing/2014/main" id="{7E8EE64C-74C2-CE42-B955-3EDD5959820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2667438" y="5132878"/>
                <a:ext cx="279838" cy="302928"/>
              </a:xfrm>
              <a:prstGeom prst="rect">
                <a:avLst/>
              </a:prstGeom>
            </p:spPr>
          </p:pic>
        </p:grpSp>
        <p:grpSp>
          <p:nvGrpSpPr>
            <p:cNvPr id="82" name="Group 81">
              <a:extLst>
                <a:ext uri="{FF2B5EF4-FFF2-40B4-BE49-F238E27FC236}">
                  <a16:creationId xmlns:a16="http://schemas.microsoft.com/office/drawing/2014/main" id="{ED0C9218-78D0-3642-818F-C1C25188969A}"/>
                </a:ext>
              </a:extLst>
            </p:cNvPr>
            <p:cNvGrpSpPr/>
            <p:nvPr/>
          </p:nvGrpSpPr>
          <p:grpSpPr>
            <a:xfrm>
              <a:off x="2367679" y="4900917"/>
              <a:ext cx="627183" cy="578215"/>
              <a:chOff x="2501959" y="5037105"/>
              <a:chExt cx="627183" cy="578215"/>
            </a:xfrm>
          </p:grpSpPr>
          <p:sp>
            <p:nvSpPr>
              <p:cNvPr id="83" name="Freeform 5">
                <a:extLst>
                  <a:ext uri="{FF2B5EF4-FFF2-40B4-BE49-F238E27FC236}">
                    <a16:creationId xmlns:a16="http://schemas.microsoft.com/office/drawing/2014/main" id="{0C0F5498-0412-AE44-B25C-4660B73F6EC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01959" y="5037105"/>
                <a:ext cx="627183" cy="578215"/>
              </a:xfrm>
              <a:custGeom>
                <a:avLst/>
                <a:gdLst>
                  <a:gd name="T0" fmla="*/ 0 w 426"/>
                  <a:gd name="T1" fmla="*/ 12 h 333"/>
                  <a:gd name="T2" fmla="*/ 0 w 426"/>
                  <a:gd name="T3" fmla="*/ 12 h 333"/>
                  <a:gd name="T4" fmla="*/ 0 w 426"/>
                  <a:gd name="T5" fmla="*/ 255 h 333"/>
                  <a:gd name="T6" fmla="*/ 12 w 426"/>
                  <a:gd name="T7" fmla="*/ 268 h 333"/>
                  <a:gd name="T8" fmla="*/ 195 w 426"/>
                  <a:gd name="T9" fmla="*/ 268 h 333"/>
                  <a:gd name="T10" fmla="*/ 195 w 426"/>
                  <a:gd name="T11" fmla="*/ 306 h 333"/>
                  <a:gd name="T12" fmla="*/ 130 w 426"/>
                  <a:gd name="T13" fmla="*/ 306 h 333"/>
                  <a:gd name="T14" fmla="*/ 130 w 426"/>
                  <a:gd name="T15" fmla="*/ 333 h 333"/>
                  <a:gd name="T16" fmla="*/ 293 w 426"/>
                  <a:gd name="T17" fmla="*/ 333 h 333"/>
                  <a:gd name="T18" fmla="*/ 293 w 426"/>
                  <a:gd name="T19" fmla="*/ 306 h 333"/>
                  <a:gd name="T20" fmla="*/ 228 w 426"/>
                  <a:gd name="T21" fmla="*/ 306 h 333"/>
                  <a:gd name="T22" fmla="*/ 228 w 426"/>
                  <a:gd name="T23" fmla="*/ 268 h 333"/>
                  <a:gd name="T24" fmla="*/ 413 w 426"/>
                  <a:gd name="T25" fmla="*/ 268 h 333"/>
                  <a:gd name="T26" fmla="*/ 426 w 426"/>
                  <a:gd name="T27" fmla="*/ 255 h 333"/>
                  <a:gd name="T28" fmla="*/ 426 w 426"/>
                  <a:gd name="T29" fmla="*/ 12 h 333"/>
                  <a:gd name="T30" fmla="*/ 413 w 426"/>
                  <a:gd name="T31" fmla="*/ 0 h 333"/>
                  <a:gd name="T32" fmla="*/ 12 w 426"/>
                  <a:gd name="T33" fmla="*/ 0 h 333"/>
                  <a:gd name="T34" fmla="*/ 0 w 426"/>
                  <a:gd name="T35" fmla="*/ 12 h 3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426" h="333">
                    <a:moveTo>
                      <a:pt x="0" y="12"/>
                    </a:moveTo>
                    <a:lnTo>
                      <a:pt x="0" y="12"/>
                    </a:lnTo>
                    <a:lnTo>
                      <a:pt x="0" y="255"/>
                    </a:lnTo>
                    <a:cubicBezTo>
                      <a:pt x="0" y="262"/>
                      <a:pt x="5" y="268"/>
                      <a:pt x="12" y="268"/>
                    </a:cubicBezTo>
                    <a:lnTo>
                      <a:pt x="195" y="268"/>
                    </a:lnTo>
                    <a:lnTo>
                      <a:pt x="195" y="306"/>
                    </a:lnTo>
                    <a:lnTo>
                      <a:pt x="130" y="306"/>
                    </a:lnTo>
                    <a:lnTo>
                      <a:pt x="130" y="333"/>
                    </a:lnTo>
                    <a:lnTo>
                      <a:pt x="293" y="333"/>
                    </a:lnTo>
                    <a:lnTo>
                      <a:pt x="293" y="306"/>
                    </a:lnTo>
                    <a:lnTo>
                      <a:pt x="228" y="306"/>
                    </a:lnTo>
                    <a:lnTo>
                      <a:pt x="228" y="268"/>
                    </a:lnTo>
                    <a:lnTo>
                      <a:pt x="413" y="268"/>
                    </a:lnTo>
                    <a:cubicBezTo>
                      <a:pt x="420" y="268"/>
                      <a:pt x="426" y="262"/>
                      <a:pt x="426" y="255"/>
                    </a:cubicBezTo>
                    <a:lnTo>
                      <a:pt x="426" y="12"/>
                    </a:lnTo>
                    <a:cubicBezTo>
                      <a:pt x="426" y="5"/>
                      <a:pt x="420" y="0"/>
                      <a:pt x="413" y="0"/>
                    </a:cubicBezTo>
                    <a:lnTo>
                      <a:pt x="12" y="0"/>
                    </a:lnTo>
                    <a:cubicBezTo>
                      <a:pt x="5" y="0"/>
                      <a:pt x="0" y="5"/>
                      <a:pt x="0" y="12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1905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14" tIns="45706" rIns="91414" bIns="45706" numCol="1" anchor="t" anchorCtr="0" compatLnSpc="1">
                <a:prstTxWarp prst="textNoShape">
                  <a:avLst/>
                </a:prstTxWarp>
              </a:bodyPr>
              <a:lstStyle/>
              <a:p>
                <a:pPr defTabSz="914016">
                  <a:defRPr/>
                </a:pPr>
                <a:endParaRPr lang="en-US" sz="1765">
                  <a:solidFill>
                    <a:srgbClr val="1A1A1A"/>
                  </a:solidFill>
                  <a:latin typeface="Segoe UI"/>
                </a:endParaRPr>
              </a:p>
            </p:txBody>
          </p:sp>
          <p:pic>
            <p:nvPicPr>
              <p:cNvPr id="84" name="Picture 83">
                <a:extLst>
                  <a:ext uri="{FF2B5EF4-FFF2-40B4-BE49-F238E27FC236}">
                    <a16:creationId xmlns:a16="http://schemas.microsoft.com/office/drawing/2014/main" id="{C0DF788B-36CC-D843-8125-7438C2CB7C8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2681505" y="5132878"/>
                <a:ext cx="256062" cy="275758"/>
              </a:xfrm>
              <a:prstGeom prst="rect">
                <a:avLst/>
              </a:prstGeom>
            </p:spPr>
          </p:pic>
        </p:grpSp>
      </p:grpSp>
      <p:sp>
        <p:nvSpPr>
          <p:cNvPr id="87" name="TextBox 86">
            <a:extLst>
              <a:ext uri="{FF2B5EF4-FFF2-40B4-BE49-F238E27FC236}">
                <a16:creationId xmlns:a16="http://schemas.microsoft.com/office/drawing/2014/main" id="{40A82CA0-3561-AF4F-B011-A8C03784A7FA}"/>
              </a:ext>
            </a:extLst>
          </p:cNvPr>
          <p:cNvSpPr txBox="1"/>
          <p:nvPr/>
        </p:nvSpPr>
        <p:spPr>
          <a:xfrm>
            <a:off x="411560" y="3073058"/>
            <a:ext cx="1732598" cy="432055"/>
          </a:xfrm>
          <a:prstGeom prst="rect">
            <a:avLst/>
          </a:prstGeom>
          <a:noFill/>
        </p:spPr>
        <p:txBody>
          <a:bodyPr wrap="square" lIns="179259" tIns="143407" rIns="179259" bIns="143407" rtlCol="0">
            <a:spAutoFit/>
          </a:bodyPr>
          <a:lstStyle/>
          <a:p>
            <a:pPr defTabSz="914225">
              <a:lnSpc>
                <a:spcPct val="90000"/>
              </a:lnSpc>
              <a:spcAft>
                <a:spcPts val="588"/>
              </a:spcAft>
            </a:pPr>
            <a:r>
              <a:rPr lang="en-US" sz="1028" dirty="0">
                <a:gradFill>
                  <a:gsLst>
                    <a:gs pos="2917">
                      <a:prstClr val="black"/>
                    </a:gs>
                    <a:gs pos="30000">
                      <a:prstClr val="black"/>
                    </a:gs>
                  </a:gsLst>
                  <a:lin ang="5400000" scaled="0"/>
                </a:gradFill>
                <a:latin typeface="Segoe UI"/>
              </a:rPr>
              <a:t>Sandbox environment</a:t>
            </a:r>
          </a:p>
        </p:txBody>
      </p:sp>
      <p:sp>
        <p:nvSpPr>
          <p:cNvPr id="88" name="Rectangle 87">
            <a:extLst>
              <a:ext uri="{FF2B5EF4-FFF2-40B4-BE49-F238E27FC236}">
                <a16:creationId xmlns:a16="http://schemas.microsoft.com/office/drawing/2014/main" id="{1B701E66-0EA0-6847-A2BC-A27826CC25A9}"/>
              </a:ext>
            </a:extLst>
          </p:cNvPr>
          <p:cNvSpPr/>
          <p:nvPr/>
        </p:nvSpPr>
        <p:spPr bwMode="auto">
          <a:xfrm>
            <a:off x="411560" y="2327386"/>
            <a:ext cx="1641879" cy="1177727"/>
          </a:xfrm>
          <a:prstGeom prst="rect">
            <a:avLst/>
          </a:prstGeom>
          <a:noFill/>
          <a:ln w="15875">
            <a:solidFill>
              <a:schemeClr val="bg1">
                <a:lumMod val="85000"/>
              </a:schemeClr>
            </a:solidFill>
            <a:prstDash val="sysDash"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5A5CEAEF-2CFC-5444-80E7-D6BD1F5BC57D}"/>
              </a:ext>
            </a:extLst>
          </p:cNvPr>
          <p:cNvCxnSpPr>
            <a:cxnSpLocks/>
          </p:cNvCxnSpPr>
          <p:nvPr/>
        </p:nvCxnSpPr>
        <p:spPr>
          <a:xfrm>
            <a:off x="7035513" y="5697404"/>
            <a:ext cx="4592072" cy="0"/>
          </a:xfrm>
          <a:prstGeom prst="line">
            <a:avLst/>
          </a:prstGeom>
          <a:noFill/>
          <a:ln w="12700" cap="flat" cmpd="sng" algn="ctr">
            <a:solidFill>
              <a:schemeClr val="bg1">
                <a:lumMod val="75000"/>
              </a:schemeClr>
            </a:solidFill>
            <a:prstDash val="solid"/>
            <a:headEnd type="none"/>
            <a:tailEnd type="none"/>
          </a:ln>
          <a:effectLst/>
        </p:spPr>
      </p:cxnSp>
      <p:grpSp>
        <p:nvGrpSpPr>
          <p:cNvPr id="43" name="Group 12">
            <a:extLst>
              <a:ext uri="{FF2B5EF4-FFF2-40B4-BE49-F238E27FC236}">
                <a16:creationId xmlns:a16="http://schemas.microsoft.com/office/drawing/2014/main" id="{1375FA1D-387A-8442-B567-CCFFF9473EDA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2881461" y="3961312"/>
            <a:ext cx="647462" cy="644395"/>
            <a:chOff x="1297" y="2230"/>
            <a:chExt cx="633" cy="630"/>
          </a:xfrm>
        </p:grpSpPr>
        <p:sp>
          <p:nvSpPr>
            <p:cNvPr id="44" name="Freeform 13">
              <a:extLst>
                <a:ext uri="{FF2B5EF4-FFF2-40B4-BE49-F238E27FC236}">
                  <a16:creationId xmlns:a16="http://schemas.microsoft.com/office/drawing/2014/main" id="{EF7A3CB0-C955-4F47-AD71-69037857F54E}"/>
                </a:ext>
              </a:extLst>
            </p:cNvPr>
            <p:cNvSpPr>
              <a:spLocks/>
            </p:cNvSpPr>
            <p:nvPr/>
          </p:nvSpPr>
          <p:spPr bwMode="auto">
            <a:xfrm>
              <a:off x="1297" y="2230"/>
              <a:ext cx="633" cy="474"/>
            </a:xfrm>
            <a:custGeom>
              <a:avLst/>
              <a:gdLst>
                <a:gd name="T0" fmla="*/ 416 w 426"/>
                <a:gd name="T1" fmla="*/ 8 h 319"/>
                <a:gd name="T2" fmla="*/ 416 w 426"/>
                <a:gd name="T3" fmla="*/ 8 h 319"/>
                <a:gd name="T4" fmla="*/ 406 w 426"/>
                <a:gd name="T5" fmla="*/ 2 h 319"/>
                <a:gd name="T6" fmla="*/ 393 w 426"/>
                <a:gd name="T7" fmla="*/ 0 h 319"/>
                <a:gd name="T8" fmla="*/ 33 w 426"/>
                <a:gd name="T9" fmla="*/ 0 h 319"/>
                <a:gd name="T10" fmla="*/ 20 w 426"/>
                <a:gd name="T11" fmla="*/ 2 h 319"/>
                <a:gd name="T12" fmla="*/ 9 w 426"/>
                <a:gd name="T13" fmla="*/ 8 h 319"/>
                <a:gd name="T14" fmla="*/ 2 w 426"/>
                <a:gd name="T15" fmla="*/ 19 h 319"/>
                <a:gd name="T16" fmla="*/ 0 w 426"/>
                <a:gd name="T17" fmla="*/ 32 h 319"/>
                <a:gd name="T18" fmla="*/ 0 w 426"/>
                <a:gd name="T19" fmla="*/ 285 h 319"/>
                <a:gd name="T20" fmla="*/ 2 w 426"/>
                <a:gd name="T21" fmla="*/ 298 h 319"/>
                <a:gd name="T22" fmla="*/ 9 w 426"/>
                <a:gd name="T23" fmla="*/ 309 h 319"/>
                <a:gd name="T24" fmla="*/ 20 w 426"/>
                <a:gd name="T25" fmla="*/ 316 h 319"/>
                <a:gd name="T26" fmla="*/ 33 w 426"/>
                <a:gd name="T27" fmla="*/ 319 h 319"/>
                <a:gd name="T28" fmla="*/ 193 w 426"/>
                <a:gd name="T29" fmla="*/ 319 h 319"/>
                <a:gd name="T30" fmla="*/ 196 w 426"/>
                <a:gd name="T31" fmla="*/ 317 h 319"/>
                <a:gd name="T32" fmla="*/ 180 w 426"/>
                <a:gd name="T33" fmla="*/ 307 h 319"/>
                <a:gd name="T34" fmla="*/ 186 w 426"/>
                <a:gd name="T35" fmla="*/ 292 h 319"/>
                <a:gd name="T36" fmla="*/ 33 w 426"/>
                <a:gd name="T37" fmla="*/ 292 h 319"/>
                <a:gd name="T38" fmla="*/ 28 w 426"/>
                <a:gd name="T39" fmla="*/ 290 h 319"/>
                <a:gd name="T40" fmla="*/ 26 w 426"/>
                <a:gd name="T41" fmla="*/ 285 h 319"/>
                <a:gd name="T42" fmla="*/ 26 w 426"/>
                <a:gd name="T43" fmla="*/ 32 h 319"/>
                <a:gd name="T44" fmla="*/ 28 w 426"/>
                <a:gd name="T45" fmla="*/ 27 h 319"/>
                <a:gd name="T46" fmla="*/ 33 w 426"/>
                <a:gd name="T47" fmla="*/ 25 h 319"/>
                <a:gd name="T48" fmla="*/ 393 w 426"/>
                <a:gd name="T49" fmla="*/ 25 h 319"/>
                <a:gd name="T50" fmla="*/ 398 w 426"/>
                <a:gd name="T51" fmla="*/ 27 h 319"/>
                <a:gd name="T52" fmla="*/ 399 w 426"/>
                <a:gd name="T53" fmla="*/ 32 h 319"/>
                <a:gd name="T54" fmla="*/ 399 w 426"/>
                <a:gd name="T55" fmla="*/ 206 h 319"/>
                <a:gd name="T56" fmla="*/ 411 w 426"/>
                <a:gd name="T57" fmla="*/ 211 h 319"/>
                <a:gd name="T58" fmla="*/ 407 w 426"/>
                <a:gd name="T59" fmla="*/ 230 h 319"/>
                <a:gd name="T60" fmla="*/ 425 w 426"/>
                <a:gd name="T61" fmla="*/ 225 h 319"/>
                <a:gd name="T62" fmla="*/ 426 w 426"/>
                <a:gd name="T63" fmla="*/ 227 h 319"/>
                <a:gd name="T64" fmla="*/ 426 w 426"/>
                <a:gd name="T65" fmla="*/ 32 h 319"/>
                <a:gd name="T66" fmla="*/ 424 w 426"/>
                <a:gd name="T67" fmla="*/ 19 h 319"/>
                <a:gd name="T68" fmla="*/ 416 w 426"/>
                <a:gd name="T69" fmla="*/ 8 h 3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26" h="319">
                  <a:moveTo>
                    <a:pt x="416" y="8"/>
                  </a:moveTo>
                  <a:lnTo>
                    <a:pt x="416" y="8"/>
                  </a:lnTo>
                  <a:cubicBezTo>
                    <a:pt x="413" y="5"/>
                    <a:pt x="410" y="3"/>
                    <a:pt x="406" y="2"/>
                  </a:cubicBezTo>
                  <a:cubicBezTo>
                    <a:pt x="402" y="0"/>
                    <a:pt x="397" y="0"/>
                    <a:pt x="393" y="0"/>
                  </a:cubicBezTo>
                  <a:lnTo>
                    <a:pt x="33" y="0"/>
                  </a:lnTo>
                  <a:cubicBezTo>
                    <a:pt x="28" y="0"/>
                    <a:pt x="24" y="0"/>
                    <a:pt x="20" y="2"/>
                  </a:cubicBezTo>
                  <a:cubicBezTo>
                    <a:pt x="16" y="3"/>
                    <a:pt x="12" y="5"/>
                    <a:pt x="9" y="8"/>
                  </a:cubicBezTo>
                  <a:cubicBezTo>
                    <a:pt x="6" y="11"/>
                    <a:pt x="4" y="15"/>
                    <a:pt x="2" y="19"/>
                  </a:cubicBezTo>
                  <a:cubicBezTo>
                    <a:pt x="0" y="23"/>
                    <a:pt x="0" y="27"/>
                    <a:pt x="0" y="32"/>
                  </a:cubicBezTo>
                  <a:lnTo>
                    <a:pt x="0" y="285"/>
                  </a:lnTo>
                  <a:cubicBezTo>
                    <a:pt x="0" y="290"/>
                    <a:pt x="0" y="294"/>
                    <a:pt x="2" y="298"/>
                  </a:cubicBezTo>
                  <a:cubicBezTo>
                    <a:pt x="4" y="302"/>
                    <a:pt x="6" y="306"/>
                    <a:pt x="9" y="309"/>
                  </a:cubicBezTo>
                  <a:cubicBezTo>
                    <a:pt x="12" y="312"/>
                    <a:pt x="16" y="314"/>
                    <a:pt x="20" y="316"/>
                  </a:cubicBezTo>
                  <a:cubicBezTo>
                    <a:pt x="24" y="318"/>
                    <a:pt x="28" y="319"/>
                    <a:pt x="33" y="319"/>
                  </a:cubicBezTo>
                  <a:lnTo>
                    <a:pt x="193" y="319"/>
                  </a:lnTo>
                  <a:lnTo>
                    <a:pt x="196" y="317"/>
                  </a:lnTo>
                  <a:lnTo>
                    <a:pt x="180" y="307"/>
                  </a:lnTo>
                  <a:lnTo>
                    <a:pt x="186" y="292"/>
                  </a:lnTo>
                  <a:lnTo>
                    <a:pt x="33" y="292"/>
                  </a:lnTo>
                  <a:cubicBezTo>
                    <a:pt x="31" y="292"/>
                    <a:pt x="29" y="291"/>
                    <a:pt x="28" y="290"/>
                  </a:cubicBezTo>
                  <a:cubicBezTo>
                    <a:pt x="27" y="289"/>
                    <a:pt x="26" y="287"/>
                    <a:pt x="26" y="285"/>
                  </a:cubicBezTo>
                  <a:lnTo>
                    <a:pt x="26" y="32"/>
                  </a:lnTo>
                  <a:cubicBezTo>
                    <a:pt x="26" y="30"/>
                    <a:pt x="27" y="28"/>
                    <a:pt x="28" y="27"/>
                  </a:cubicBezTo>
                  <a:cubicBezTo>
                    <a:pt x="29" y="26"/>
                    <a:pt x="31" y="25"/>
                    <a:pt x="33" y="25"/>
                  </a:cubicBezTo>
                  <a:lnTo>
                    <a:pt x="393" y="25"/>
                  </a:lnTo>
                  <a:cubicBezTo>
                    <a:pt x="395" y="25"/>
                    <a:pt x="396" y="26"/>
                    <a:pt x="398" y="27"/>
                  </a:cubicBezTo>
                  <a:cubicBezTo>
                    <a:pt x="399" y="28"/>
                    <a:pt x="399" y="30"/>
                    <a:pt x="399" y="32"/>
                  </a:cubicBezTo>
                  <a:lnTo>
                    <a:pt x="399" y="206"/>
                  </a:lnTo>
                  <a:lnTo>
                    <a:pt x="411" y="211"/>
                  </a:lnTo>
                  <a:lnTo>
                    <a:pt x="407" y="230"/>
                  </a:lnTo>
                  <a:lnTo>
                    <a:pt x="425" y="225"/>
                  </a:lnTo>
                  <a:lnTo>
                    <a:pt x="426" y="227"/>
                  </a:lnTo>
                  <a:lnTo>
                    <a:pt x="426" y="32"/>
                  </a:lnTo>
                  <a:cubicBezTo>
                    <a:pt x="426" y="27"/>
                    <a:pt x="425" y="23"/>
                    <a:pt x="424" y="19"/>
                  </a:cubicBezTo>
                  <a:cubicBezTo>
                    <a:pt x="422" y="15"/>
                    <a:pt x="419" y="11"/>
                    <a:pt x="416" y="8"/>
                  </a:cubicBezTo>
                  <a:close/>
                </a:path>
              </a:pathLst>
            </a:custGeom>
            <a:solidFill>
              <a:schemeClr val="tx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14" tIns="45706" rIns="91414" bIns="45706" numCol="1" anchor="t" anchorCtr="0" compatLnSpc="1">
              <a:prstTxWarp prst="textNoShape">
                <a:avLst/>
              </a:prstTxWarp>
            </a:bodyPr>
            <a:lstStyle/>
            <a:p>
              <a:pPr defTabSz="914016">
                <a:defRPr/>
              </a:pPr>
              <a:endParaRPr lang="en-US" sz="1765">
                <a:solidFill>
                  <a:srgbClr val="1A1A1A"/>
                </a:solidFill>
                <a:latin typeface="Segoe UI"/>
              </a:endParaRPr>
            </a:p>
          </p:txBody>
        </p:sp>
        <p:sp>
          <p:nvSpPr>
            <p:cNvPr id="45" name="Freeform 14">
              <a:extLst>
                <a:ext uri="{FF2B5EF4-FFF2-40B4-BE49-F238E27FC236}">
                  <a16:creationId xmlns:a16="http://schemas.microsoft.com/office/drawing/2014/main" id="{09CF4582-4C7B-B94B-9EEA-113FC7CF6333}"/>
                </a:ext>
              </a:extLst>
            </p:cNvPr>
            <p:cNvSpPr>
              <a:spLocks/>
            </p:cNvSpPr>
            <p:nvPr/>
          </p:nvSpPr>
          <p:spPr bwMode="auto">
            <a:xfrm>
              <a:off x="1533" y="2585"/>
              <a:ext cx="73" cy="38"/>
            </a:xfrm>
            <a:custGeom>
              <a:avLst/>
              <a:gdLst>
                <a:gd name="T0" fmla="*/ 0 w 49"/>
                <a:gd name="T1" fmla="*/ 0 h 26"/>
                <a:gd name="T2" fmla="*/ 0 w 49"/>
                <a:gd name="T3" fmla="*/ 0 h 26"/>
                <a:gd name="T4" fmla="*/ 0 w 49"/>
                <a:gd name="T5" fmla="*/ 26 h 26"/>
                <a:gd name="T6" fmla="*/ 27 w 49"/>
                <a:gd name="T7" fmla="*/ 26 h 26"/>
                <a:gd name="T8" fmla="*/ 38 w 49"/>
                <a:gd name="T9" fmla="*/ 26 h 26"/>
                <a:gd name="T10" fmla="*/ 49 w 49"/>
                <a:gd name="T11" fmla="*/ 0 h 26"/>
                <a:gd name="T12" fmla="*/ 27 w 49"/>
                <a:gd name="T13" fmla="*/ 0 h 26"/>
                <a:gd name="T14" fmla="*/ 0 w 49"/>
                <a:gd name="T15" fmla="*/ 0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9" h="26">
                  <a:moveTo>
                    <a:pt x="0" y="0"/>
                  </a:moveTo>
                  <a:lnTo>
                    <a:pt x="0" y="0"/>
                  </a:lnTo>
                  <a:lnTo>
                    <a:pt x="0" y="26"/>
                  </a:lnTo>
                  <a:lnTo>
                    <a:pt x="27" y="26"/>
                  </a:lnTo>
                  <a:lnTo>
                    <a:pt x="38" y="26"/>
                  </a:lnTo>
                  <a:lnTo>
                    <a:pt x="49" y="0"/>
                  </a:lnTo>
                  <a:lnTo>
                    <a:pt x="27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14" tIns="45706" rIns="91414" bIns="45706" numCol="1" anchor="t" anchorCtr="0" compatLnSpc="1">
              <a:prstTxWarp prst="textNoShape">
                <a:avLst/>
              </a:prstTxWarp>
            </a:bodyPr>
            <a:lstStyle/>
            <a:p>
              <a:pPr defTabSz="914016">
                <a:defRPr/>
              </a:pPr>
              <a:endParaRPr lang="en-US" sz="1765">
                <a:solidFill>
                  <a:srgbClr val="1A1A1A"/>
                </a:solidFill>
                <a:latin typeface="Segoe UI"/>
              </a:endParaRPr>
            </a:p>
          </p:txBody>
        </p:sp>
        <p:sp>
          <p:nvSpPr>
            <p:cNvPr id="46" name="Freeform 15">
              <a:extLst>
                <a:ext uri="{FF2B5EF4-FFF2-40B4-BE49-F238E27FC236}">
                  <a16:creationId xmlns:a16="http://schemas.microsoft.com/office/drawing/2014/main" id="{8873EFDA-12EC-BB49-8CD5-D3BEDDBA6418}"/>
                </a:ext>
              </a:extLst>
            </p:cNvPr>
            <p:cNvSpPr>
              <a:spLocks/>
            </p:cNvSpPr>
            <p:nvPr/>
          </p:nvSpPr>
          <p:spPr bwMode="auto">
            <a:xfrm>
              <a:off x="1927" y="2667"/>
              <a:ext cx="3" cy="6"/>
            </a:xfrm>
            <a:custGeom>
              <a:avLst/>
              <a:gdLst>
                <a:gd name="T0" fmla="*/ 2 w 2"/>
                <a:gd name="T1" fmla="*/ 3 h 4"/>
                <a:gd name="T2" fmla="*/ 2 w 2"/>
                <a:gd name="T3" fmla="*/ 3 h 4"/>
                <a:gd name="T4" fmla="*/ 1 w 2"/>
                <a:gd name="T5" fmla="*/ 0 h 4"/>
                <a:gd name="T6" fmla="*/ 0 w 2"/>
                <a:gd name="T7" fmla="*/ 4 h 4"/>
                <a:gd name="T8" fmla="*/ 2 w 2"/>
                <a:gd name="T9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" h="4">
                  <a:moveTo>
                    <a:pt x="2" y="3"/>
                  </a:moveTo>
                  <a:lnTo>
                    <a:pt x="2" y="3"/>
                  </a:lnTo>
                  <a:lnTo>
                    <a:pt x="1" y="0"/>
                  </a:lnTo>
                  <a:cubicBezTo>
                    <a:pt x="1" y="1"/>
                    <a:pt x="0" y="3"/>
                    <a:pt x="0" y="4"/>
                  </a:cubicBezTo>
                  <a:lnTo>
                    <a:pt x="2" y="3"/>
                  </a:lnTo>
                  <a:close/>
                </a:path>
              </a:pathLst>
            </a:custGeom>
            <a:solidFill>
              <a:srgbClr val="C1C1C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14" tIns="45706" rIns="91414" bIns="45706" numCol="1" anchor="t" anchorCtr="0" compatLnSpc="1">
              <a:prstTxWarp prst="textNoShape">
                <a:avLst/>
              </a:prstTxWarp>
            </a:bodyPr>
            <a:lstStyle/>
            <a:p>
              <a:pPr defTabSz="914016">
                <a:defRPr/>
              </a:pPr>
              <a:endParaRPr lang="en-US" sz="1765">
                <a:solidFill>
                  <a:srgbClr val="1A1A1A"/>
                </a:solidFill>
                <a:latin typeface="Segoe UI"/>
              </a:endParaRPr>
            </a:p>
          </p:txBody>
        </p:sp>
        <p:sp>
          <p:nvSpPr>
            <p:cNvPr id="58" name="Freeform 16">
              <a:extLst>
                <a:ext uri="{FF2B5EF4-FFF2-40B4-BE49-F238E27FC236}">
                  <a16:creationId xmlns:a16="http://schemas.microsoft.com/office/drawing/2014/main" id="{B48F76AB-B94B-7145-8C8E-B6596729DC0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14" y="2543"/>
              <a:ext cx="316" cy="317"/>
            </a:xfrm>
            <a:custGeom>
              <a:avLst/>
              <a:gdLst>
                <a:gd name="T0" fmla="*/ 146 w 213"/>
                <a:gd name="T1" fmla="*/ 108 h 213"/>
                <a:gd name="T2" fmla="*/ 134 w 213"/>
                <a:gd name="T3" fmla="*/ 134 h 213"/>
                <a:gd name="T4" fmla="*/ 106 w 213"/>
                <a:gd name="T5" fmla="*/ 146 h 213"/>
                <a:gd name="T6" fmla="*/ 79 w 213"/>
                <a:gd name="T7" fmla="*/ 134 h 213"/>
                <a:gd name="T8" fmla="*/ 67 w 213"/>
                <a:gd name="T9" fmla="*/ 108 h 213"/>
                <a:gd name="T10" fmla="*/ 70 w 213"/>
                <a:gd name="T11" fmla="*/ 91 h 213"/>
                <a:gd name="T12" fmla="*/ 79 w 213"/>
                <a:gd name="T13" fmla="*/ 78 h 213"/>
                <a:gd name="T14" fmla="*/ 106 w 213"/>
                <a:gd name="T15" fmla="*/ 67 h 213"/>
                <a:gd name="T16" fmla="*/ 134 w 213"/>
                <a:gd name="T17" fmla="*/ 78 h 213"/>
                <a:gd name="T18" fmla="*/ 143 w 213"/>
                <a:gd name="T19" fmla="*/ 91 h 213"/>
                <a:gd name="T20" fmla="*/ 146 w 213"/>
                <a:gd name="T21" fmla="*/ 108 h 213"/>
                <a:gd name="T22" fmla="*/ 212 w 213"/>
                <a:gd name="T23" fmla="*/ 83 h 213"/>
                <a:gd name="T24" fmla="*/ 187 w 213"/>
                <a:gd name="T25" fmla="*/ 48 h 213"/>
                <a:gd name="T26" fmla="*/ 160 w 213"/>
                <a:gd name="T27" fmla="*/ 47 h 213"/>
                <a:gd name="T28" fmla="*/ 127 w 213"/>
                <a:gd name="T29" fmla="*/ 0 h 213"/>
                <a:gd name="T30" fmla="*/ 108 w 213"/>
                <a:gd name="T31" fmla="*/ 27 h 213"/>
                <a:gd name="T32" fmla="*/ 105 w 213"/>
                <a:gd name="T33" fmla="*/ 27 h 213"/>
                <a:gd name="T34" fmla="*/ 86 w 213"/>
                <a:gd name="T35" fmla="*/ 0 h 213"/>
                <a:gd name="T36" fmla="*/ 48 w 213"/>
                <a:gd name="T37" fmla="*/ 28 h 213"/>
                <a:gd name="T38" fmla="*/ 48 w 213"/>
                <a:gd name="T39" fmla="*/ 53 h 213"/>
                <a:gd name="T40" fmla="*/ 16 w 213"/>
                <a:gd name="T41" fmla="*/ 45 h 213"/>
                <a:gd name="T42" fmla="*/ 2 w 213"/>
                <a:gd name="T43" fmla="*/ 81 h 213"/>
                <a:gd name="T44" fmla="*/ 27 w 213"/>
                <a:gd name="T45" fmla="*/ 102 h 213"/>
                <a:gd name="T46" fmla="*/ 27 w 213"/>
                <a:gd name="T47" fmla="*/ 106 h 213"/>
                <a:gd name="T48" fmla="*/ 27 w 213"/>
                <a:gd name="T49" fmla="*/ 108 h 213"/>
                <a:gd name="T50" fmla="*/ 0 w 213"/>
                <a:gd name="T51" fmla="*/ 127 h 213"/>
                <a:gd name="T52" fmla="*/ 48 w 213"/>
                <a:gd name="T53" fmla="*/ 160 h 213"/>
                <a:gd name="T54" fmla="*/ 46 w 213"/>
                <a:gd name="T55" fmla="*/ 196 h 213"/>
                <a:gd name="T56" fmla="*/ 103 w 213"/>
                <a:gd name="T57" fmla="*/ 186 h 213"/>
                <a:gd name="T58" fmla="*/ 106 w 213"/>
                <a:gd name="T59" fmla="*/ 186 h 213"/>
                <a:gd name="T60" fmla="*/ 110 w 213"/>
                <a:gd name="T61" fmla="*/ 186 h 213"/>
                <a:gd name="T62" fmla="*/ 167 w 213"/>
                <a:gd name="T63" fmla="*/ 196 h 213"/>
                <a:gd name="T64" fmla="*/ 165 w 213"/>
                <a:gd name="T65" fmla="*/ 160 h 213"/>
                <a:gd name="T66" fmla="*/ 213 w 213"/>
                <a:gd name="T67" fmla="*/ 127 h 213"/>
                <a:gd name="T68" fmla="*/ 186 w 213"/>
                <a:gd name="T69" fmla="*/ 108 h 213"/>
                <a:gd name="T70" fmla="*/ 186 w 213"/>
                <a:gd name="T71" fmla="*/ 106 h 213"/>
                <a:gd name="T72" fmla="*/ 186 w 213"/>
                <a:gd name="T73" fmla="*/ 102 h 213"/>
                <a:gd name="T74" fmla="*/ 212 w 213"/>
                <a:gd name="T75" fmla="*/ 83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213" h="213">
                  <a:moveTo>
                    <a:pt x="146" y="108"/>
                  </a:moveTo>
                  <a:lnTo>
                    <a:pt x="146" y="108"/>
                  </a:lnTo>
                  <a:cubicBezTo>
                    <a:pt x="146" y="112"/>
                    <a:pt x="145" y="117"/>
                    <a:pt x="143" y="122"/>
                  </a:cubicBezTo>
                  <a:cubicBezTo>
                    <a:pt x="141" y="126"/>
                    <a:pt x="138" y="130"/>
                    <a:pt x="134" y="134"/>
                  </a:cubicBezTo>
                  <a:cubicBezTo>
                    <a:pt x="131" y="138"/>
                    <a:pt x="127" y="140"/>
                    <a:pt x="122" y="142"/>
                  </a:cubicBezTo>
                  <a:cubicBezTo>
                    <a:pt x="117" y="145"/>
                    <a:pt x="112" y="146"/>
                    <a:pt x="106" y="146"/>
                  </a:cubicBezTo>
                  <a:cubicBezTo>
                    <a:pt x="101" y="146"/>
                    <a:pt x="96" y="145"/>
                    <a:pt x="91" y="142"/>
                  </a:cubicBezTo>
                  <a:cubicBezTo>
                    <a:pt x="86" y="140"/>
                    <a:pt x="82" y="138"/>
                    <a:pt x="79" y="134"/>
                  </a:cubicBezTo>
                  <a:cubicBezTo>
                    <a:pt x="75" y="130"/>
                    <a:pt x="72" y="126"/>
                    <a:pt x="70" y="122"/>
                  </a:cubicBezTo>
                  <a:cubicBezTo>
                    <a:pt x="68" y="117"/>
                    <a:pt x="67" y="112"/>
                    <a:pt x="67" y="108"/>
                  </a:cubicBezTo>
                  <a:cubicBezTo>
                    <a:pt x="67" y="107"/>
                    <a:pt x="67" y="107"/>
                    <a:pt x="67" y="106"/>
                  </a:cubicBezTo>
                  <a:cubicBezTo>
                    <a:pt x="67" y="101"/>
                    <a:pt x="68" y="96"/>
                    <a:pt x="70" y="91"/>
                  </a:cubicBezTo>
                  <a:cubicBezTo>
                    <a:pt x="72" y="87"/>
                    <a:pt x="74" y="84"/>
                    <a:pt x="76" y="81"/>
                  </a:cubicBezTo>
                  <a:cubicBezTo>
                    <a:pt x="77" y="80"/>
                    <a:pt x="78" y="79"/>
                    <a:pt x="79" y="78"/>
                  </a:cubicBezTo>
                  <a:cubicBezTo>
                    <a:pt x="82" y="75"/>
                    <a:pt x="86" y="72"/>
                    <a:pt x="91" y="70"/>
                  </a:cubicBezTo>
                  <a:cubicBezTo>
                    <a:pt x="96" y="68"/>
                    <a:pt x="101" y="67"/>
                    <a:pt x="106" y="67"/>
                  </a:cubicBezTo>
                  <a:cubicBezTo>
                    <a:pt x="112" y="67"/>
                    <a:pt x="117" y="68"/>
                    <a:pt x="122" y="70"/>
                  </a:cubicBezTo>
                  <a:cubicBezTo>
                    <a:pt x="127" y="72"/>
                    <a:pt x="131" y="75"/>
                    <a:pt x="134" y="78"/>
                  </a:cubicBezTo>
                  <a:cubicBezTo>
                    <a:pt x="135" y="79"/>
                    <a:pt x="136" y="80"/>
                    <a:pt x="136" y="81"/>
                  </a:cubicBezTo>
                  <a:cubicBezTo>
                    <a:pt x="139" y="84"/>
                    <a:pt x="141" y="87"/>
                    <a:pt x="143" y="91"/>
                  </a:cubicBezTo>
                  <a:cubicBezTo>
                    <a:pt x="145" y="96"/>
                    <a:pt x="146" y="101"/>
                    <a:pt x="146" y="106"/>
                  </a:cubicBezTo>
                  <a:cubicBezTo>
                    <a:pt x="146" y="107"/>
                    <a:pt x="146" y="107"/>
                    <a:pt x="146" y="108"/>
                  </a:cubicBezTo>
                  <a:close/>
                  <a:moveTo>
                    <a:pt x="212" y="83"/>
                  </a:moveTo>
                  <a:lnTo>
                    <a:pt x="212" y="83"/>
                  </a:lnTo>
                  <a:lnTo>
                    <a:pt x="196" y="45"/>
                  </a:lnTo>
                  <a:lnTo>
                    <a:pt x="187" y="48"/>
                  </a:lnTo>
                  <a:lnTo>
                    <a:pt x="165" y="53"/>
                  </a:lnTo>
                  <a:cubicBezTo>
                    <a:pt x="164" y="51"/>
                    <a:pt x="162" y="49"/>
                    <a:pt x="160" y="47"/>
                  </a:cubicBezTo>
                  <a:lnTo>
                    <a:pt x="167" y="16"/>
                  </a:lnTo>
                  <a:lnTo>
                    <a:pt x="127" y="0"/>
                  </a:lnTo>
                  <a:lnTo>
                    <a:pt x="110" y="27"/>
                  </a:lnTo>
                  <a:cubicBezTo>
                    <a:pt x="110" y="27"/>
                    <a:pt x="109" y="27"/>
                    <a:pt x="108" y="27"/>
                  </a:cubicBezTo>
                  <a:cubicBezTo>
                    <a:pt x="108" y="27"/>
                    <a:pt x="107" y="27"/>
                    <a:pt x="106" y="27"/>
                  </a:cubicBezTo>
                  <a:cubicBezTo>
                    <a:pt x="106" y="27"/>
                    <a:pt x="105" y="27"/>
                    <a:pt x="105" y="27"/>
                  </a:cubicBezTo>
                  <a:cubicBezTo>
                    <a:pt x="104" y="27"/>
                    <a:pt x="103" y="27"/>
                    <a:pt x="103" y="27"/>
                  </a:cubicBezTo>
                  <a:lnTo>
                    <a:pt x="86" y="0"/>
                  </a:lnTo>
                  <a:lnTo>
                    <a:pt x="46" y="16"/>
                  </a:lnTo>
                  <a:lnTo>
                    <a:pt x="48" y="28"/>
                  </a:lnTo>
                  <a:lnTo>
                    <a:pt x="53" y="47"/>
                  </a:lnTo>
                  <a:cubicBezTo>
                    <a:pt x="51" y="49"/>
                    <a:pt x="49" y="51"/>
                    <a:pt x="48" y="53"/>
                  </a:cubicBezTo>
                  <a:lnTo>
                    <a:pt x="27" y="48"/>
                  </a:lnTo>
                  <a:lnTo>
                    <a:pt x="16" y="45"/>
                  </a:lnTo>
                  <a:lnTo>
                    <a:pt x="13" y="54"/>
                  </a:lnTo>
                  <a:lnTo>
                    <a:pt x="2" y="81"/>
                  </a:lnTo>
                  <a:lnTo>
                    <a:pt x="0" y="86"/>
                  </a:lnTo>
                  <a:lnTo>
                    <a:pt x="27" y="102"/>
                  </a:lnTo>
                  <a:cubicBezTo>
                    <a:pt x="27" y="103"/>
                    <a:pt x="27" y="104"/>
                    <a:pt x="27" y="104"/>
                  </a:cubicBezTo>
                  <a:cubicBezTo>
                    <a:pt x="27" y="105"/>
                    <a:pt x="27" y="106"/>
                    <a:pt x="27" y="106"/>
                  </a:cubicBezTo>
                  <a:cubicBezTo>
                    <a:pt x="27" y="107"/>
                    <a:pt x="27" y="107"/>
                    <a:pt x="27" y="108"/>
                  </a:cubicBezTo>
                  <a:cubicBezTo>
                    <a:pt x="27" y="108"/>
                    <a:pt x="27" y="108"/>
                    <a:pt x="27" y="108"/>
                  </a:cubicBezTo>
                  <a:cubicBezTo>
                    <a:pt x="27" y="109"/>
                    <a:pt x="27" y="109"/>
                    <a:pt x="27" y="110"/>
                  </a:cubicBezTo>
                  <a:lnTo>
                    <a:pt x="0" y="127"/>
                  </a:lnTo>
                  <a:lnTo>
                    <a:pt x="16" y="167"/>
                  </a:lnTo>
                  <a:lnTo>
                    <a:pt x="48" y="160"/>
                  </a:lnTo>
                  <a:cubicBezTo>
                    <a:pt x="49" y="162"/>
                    <a:pt x="51" y="163"/>
                    <a:pt x="53" y="165"/>
                  </a:cubicBezTo>
                  <a:lnTo>
                    <a:pt x="46" y="196"/>
                  </a:lnTo>
                  <a:lnTo>
                    <a:pt x="86" y="213"/>
                  </a:lnTo>
                  <a:lnTo>
                    <a:pt x="103" y="186"/>
                  </a:lnTo>
                  <a:cubicBezTo>
                    <a:pt x="103" y="186"/>
                    <a:pt x="104" y="186"/>
                    <a:pt x="105" y="186"/>
                  </a:cubicBezTo>
                  <a:cubicBezTo>
                    <a:pt x="105" y="186"/>
                    <a:pt x="106" y="186"/>
                    <a:pt x="106" y="186"/>
                  </a:cubicBezTo>
                  <a:cubicBezTo>
                    <a:pt x="107" y="186"/>
                    <a:pt x="108" y="186"/>
                    <a:pt x="108" y="186"/>
                  </a:cubicBezTo>
                  <a:cubicBezTo>
                    <a:pt x="109" y="186"/>
                    <a:pt x="110" y="186"/>
                    <a:pt x="110" y="186"/>
                  </a:cubicBezTo>
                  <a:lnTo>
                    <a:pt x="127" y="213"/>
                  </a:lnTo>
                  <a:lnTo>
                    <a:pt x="167" y="196"/>
                  </a:lnTo>
                  <a:lnTo>
                    <a:pt x="160" y="165"/>
                  </a:lnTo>
                  <a:cubicBezTo>
                    <a:pt x="162" y="163"/>
                    <a:pt x="164" y="162"/>
                    <a:pt x="165" y="160"/>
                  </a:cubicBezTo>
                  <a:lnTo>
                    <a:pt x="196" y="167"/>
                  </a:lnTo>
                  <a:lnTo>
                    <a:pt x="213" y="127"/>
                  </a:lnTo>
                  <a:lnTo>
                    <a:pt x="186" y="110"/>
                  </a:lnTo>
                  <a:cubicBezTo>
                    <a:pt x="186" y="109"/>
                    <a:pt x="186" y="109"/>
                    <a:pt x="186" y="108"/>
                  </a:cubicBezTo>
                  <a:cubicBezTo>
                    <a:pt x="186" y="108"/>
                    <a:pt x="186" y="107"/>
                    <a:pt x="186" y="107"/>
                  </a:cubicBezTo>
                  <a:cubicBezTo>
                    <a:pt x="186" y="107"/>
                    <a:pt x="186" y="106"/>
                    <a:pt x="186" y="106"/>
                  </a:cubicBezTo>
                  <a:cubicBezTo>
                    <a:pt x="186" y="106"/>
                    <a:pt x="186" y="105"/>
                    <a:pt x="186" y="104"/>
                  </a:cubicBezTo>
                  <a:cubicBezTo>
                    <a:pt x="186" y="104"/>
                    <a:pt x="186" y="103"/>
                    <a:pt x="186" y="102"/>
                  </a:cubicBezTo>
                  <a:lnTo>
                    <a:pt x="211" y="87"/>
                  </a:lnTo>
                  <a:cubicBezTo>
                    <a:pt x="211" y="86"/>
                    <a:pt x="212" y="84"/>
                    <a:pt x="212" y="83"/>
                  </a:cubicBezTo>
                  <a:close/>
                </a:path>
              </a:pathLst>
            </a:custGeom>
            <a:solidFill>
              <a:schemeClr val="tx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14" tIns="45706" rIns="91414" bIns="45706" numCol="1" anchor="t" anchorCtr="0" compatLnSpc="1">
              <a:prstTxWarp prst="textNoShape">
                <a:avLst/>
              </a:prstTxWarp>
            </a:bodyPr>
            <a:lstStyle/>
            <a:p>
              <a:pPr defTabSz="914016">
                <a:defRPr/>
              </a:pPr>
              <a:endParaRPr lang="en-US" sz="1765">
                <a:solidFill>
                  <a:srgbClr val="1A1A1A"/>
                </a:solidFill>
                <a:latin typeface="Segoe UI"/>
              </a:endParaRPr>
            </a:p>
          </p:txBody>
        </p:sp>
        <p:sp>
          <p:nvSpPr>
            <p:cNvPr id="59" name="Freeform 17">
              <a:extLst>
                <a:ext uri="{FF2B5EF4-FFF2-40B4-BE49-F238E27FC236}">
                  <a16:creationId xmlns:a16="http://schemas.microsoft.com/office/drawing/2014/main" id="{B1A1C6EA-3015-344D-9AD4-89780667D70F}"/>
                </a:ext>
              </a:extLst>
            </p:cNvPr>
            <p:cNvSpPr>
              <a:spLocks/>
            </p:cNvSpPr>
            <p:nvPr/>
          </p:nvSpPr>
          <p:spPr bwMode="auto">
            <a:xfrm>
              <a:off x="1753" y="2681"/>
              <a:ext cx="38" cy="39"/>
            </a:xfrm>
            <a:custGeom>
              <a:avLst/>
              <a:gdLst>
                <a:gd name="T0" fmla="*/ 21 w 25"/>
                <a:gd name="T1" fmla="*/ 4 h 26"/>
                <a:gd name="T2" fmla="*/ 21 w 25"/>
                <a:gd name="T3" fmla="*/ 4 h 26"/>
                <a:gd name="T4" fmla="*/ 17 w 25"/>
                <a:gd name="T5" fmla="*/ 1 h 26"/>
                <a:gd name="T6" fmla="*/ 12 w 25"/>
                <a:gd name="T7" fmla="*/ 0 h 26"/>
                <a:gd name="T8" fmla="*/ 8 w 25"/>
                <a:gd name="T9" fmla="*/ 1 h 26"/>
                <a:gd name="T10" fmla="*/ 3 w 25"/>
                <a:gd name="T11" fmla="*/ 4 h 26"/>
                <a:gd name="T12" fmla="*/ 1 w 25"/>
                <a:gd name="T13" fmla="*/ 8 h 26"/>
                <a:gd name="T14" fmla="*/ 0 w 25"/>
                <a:gd name="T15" fmla="*/ 13 h 26"/>
                <a:gd name="T16" fmla="*/ 0 w 25"/>
                <a:gd name="T17" fmla="*/ 15 h 26"/>
                <a:gd name="T18" fmla="*/ 1 w 25"/>
                <a:gd name="T19" fmla="*/ 18 h 26"/>
                <a:gd name="T20" fmla="*/ 3 w 25"/>
                <a:gd name="T21" fmla="*/ 22 h 26"/>
                <a:gd name="T22" fmla="*/ 8 w 25"/>
                <a:gd name="T23" fmla="*/ 25 h 26"/>
                <a:gd name="T24" fmla="*/ 12 w 25"/>
                <a:gd name="T25" fmla="*/ 26 h 26"/>
                <a:gd name="T26" fmla="*/ 17 w 25"/>
                <a:gd name="T27" fmla="*/ 25 h 26"/>
                <a:gd name="T28" fmla="*/ 21 w 25"/>
                <a:gd name="T29" fmla="*/ 22 h 26"/>
                <a:gd name="T30" fmla="*/ 24 w 25"/>
                <a:gd name="T31" fmla="*/ 18 h 26"/>
                <a:gd name="T32" fmla="*/ 25 w 25"/>
                <a:gd name="T33" fmla="*/ 15 h 26"/>
                <a:gd name="T34" fmla="*/ 25 w 25"/>
                <a:gd name="T35" fmla="*/ 13 h 26"/>
                <a:gd name="T36" fmla="*/ 24 w 25"/>
                <a:gd name="T37" fmla="*/ 8 h 26"/>
                <a:gd name="T38" fmla="*/ 21 w 25"/>
                <a:gd name="T39" fmla="*/ 4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25" h="26">
                  <a:moveTo>
                    <a:pt x="21" y="4"/>
                  </a:moveTo>
                  <a:lnTo>
                    <a:pt x="21" y="4"/>
                  </a:lnTo>
                  <a:cubicBezTo>
                    <a:pt x="20" y="3"/>
                    <a:pt x="19" y="2"/>
                    <a:pt x="17" y="1"/>
                  </a:cubicBezTo>
                  <a:cubicBezTo>
                    <a:pt x="16" y="1"/>
                    <a:pt x="14" y="0"/>
                    <a:pt x="12" y="0"/>
                  </a:cubicBezTo>
                  <a:cubicBezTo>
                    <a:pt x="11" y="0"/>
                    <a:pt x="9" y="1"/>
                    <a:pt x="8" y="1"/>
                  </a:cubicBezTo>
                  <a:cubicBezTo>
                    <a:pt x="6" y="2"/>
                    <a:pt x="5" y="3"/>
                    <a:pt x="3" y="4"/>
                  </a:cubicBezTo>
                  <a:cubicBezTo>
                    <a:pt x="2" y="5"/>
                    <a:pt x="1" y="7"/>
                    <a:pt x="1" y="8"/>
                  </a:cubicBezTo>
                  <a:cubicBezTo>
                    <a:pt x="0" y="10"/>
                    <a:pt x="0" y="11"/>
                    <a:pt x="0" y="13"/>
                  </a:cubicBezTo>
                  <a:cubicBezTo>
                    <a:pt x="0" y="14"/>
                    <a:pt x="0" y="14"/>
                    <a:pt x="0" y="15"/>
                  </a:cubicBezTo>
                  <a:cubicBezTo>
                    <a:pt x="0" y="16"/>
                    <a:pt x="0" y="17"/>
                    <a:pt x="1" y="18"/>
                  </a:cubicBezTo>
                  <a:cubicBezTo>
                    <a:pt x="1" y="20"/>
                    <a:pt x="2" y="21"/>
                    <a:pt x="3" y="22"/>
                  </a:cubicBezTo>
                  <a:cubicBezTo>
                    <a:pt x="5" y="23"/>
                    <a:pt x="6" y="24"/>
                    <a:pt x="8" y="25"/>
                  </a:cubicBezTo>
                  <a:cubicBezTo>
                    <a:pt x="9" y="26"/>
                    <a:pt x="11" y="26"/>
                    <a:pt x="12" y="26"/>
                  </a:cubicBezTo>
                  <a:cubicBezTo>
                    <a:pt x="14" y="26"/>
                    <a:pt x="16" y="26"/>
                    <a:pt x="17" y="25"/>
                  </a:cubicBezTo>
                  <a:cubicBezTo>
                    <a:pt x="19" y="24"/>
                    <a:pt x="20" y="23"/>
                    <a:pt x="21" y="22"/>
                  </a:cubicBezTo>
                  <a:cubicBezTo>
                    <a:pt x="23" y="21"/>
                    <a:pt x="24" y="20"/>
                    <a:pt x="24" y="18"/>
                  </a:cubicBezTo>
                  <a:cubicBezTo>
                    <a:pt x="25" y="17"/>
                    <a:pt x="25" y="16"/>
                    <a:pt x="25" y="15"/>
                  </a:cubicBezTo>
                  <a:cubicBezTo>
                    <a:pt x="25" y="14"/>
                    <a:pt x="25" y="14"/>
                    <a:pt x="25" y="13"/>
                  </a:cubicBezTo>
                  <a:cubicBezTo>
                    <a:pt x="25" y="11"/>
                    <a:pt x="25" y="10"/>
                    <a:pt x="24" y="8"/>
                  </a:cubicBezTo>
                  <a:cubicBezTo>
                    <a:pt x="24" y="7"/>
                    <a:pt x="23" y="5"/>
                    <a:pt x="21" y="4"/>
                  </a:cubicBezTo>
                  <a:close/>
                </a:path>
              </a:pathLst>
            </a:custGeom>
            <a:solidFill>
              <a:srgbClr val="0078D4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14" tIns="45706" rIns="91414" bIns="45706" numCol="1" anchor="t" anchorCtr="0" compatLnSpc="1">
              <a:prstTxWarp prst="textNoShape">
                <a:avLst/>
              </a:prstTxWarp>
            </a:bodyPr>
            <a:lstStyle/>
            <a:p>
              <a:pPr defTabSz="914016">
                <a:defRPr/>
              </a:pPr>
              <a:endParaRPr lang="en-US" sz="1765">
                <a:solidFill>
                  <a:srgbClr val="1A1A1A"/>
                </a:solidFill>
                <a:latin typeface="Segoe UI"/>
              </a:endParaRPr>
            </a:p>
          </p:txBody>
        </p:sp>
      </p:grpSp>
      <p:grpSp>
        <p:nvGrpSpPr>
          <p:cNvPr id="60" name="Group 59">
            <a:extLst>
              <a:ext uri="{FF2B5EF4-FFF2-40B4-BE49-F238E27FC236}">
                <a16:creationId xmlns:a16="http://schemas.microsoft.com/office/drawing/2014/main" id="{6BDF8B1C-EF39-2A43-A02C-F21EFF70E6F0}"/>
              </a:ext>
            </a:extLst>
          </p:cNvPr>
          <p:cNvGrpSpPr/>
          <p:nvPr/>
        </p:nvGrpSpPr>
        <p:grpSpPr>
          <a:xfrm>
            <a:off x="2511374" y="4734619"/>
            <a:ext cx="1322884" cy="578051"/>
            <a:chOff x="1671603" y="4900917"/>
            <a:chExt cx="1323259" cy="578215"/>
          </a:xfrm>
        </p:grpSpPr>
        <p:grpSp>
          <p:nvGrpSpPr>
            <p:cNvPr id="61" name="Group 60">
              <a:extLst>
                <a:ext uri="{FF2B5EF4-FFF2-40B4-BE49-F238E27FC236}">
                  <a16:creationId xmlns:a16="http://schemas.microsoft.com/office/drawing/2014/main" id="{20F502AE-EDF4-7048-84E8-7C920DB88DFA}"/>
                </a:ext>
              </a:extLst>
            </p:cNvPr>
            <p:cNvGrpSpPr/>
            <p:nvPr/>
          </p:nvGrpSpPr>
          <p:grpSpPr>
            <a:xfrm>
              <a:off x="1671603" y="4900917"/>
              <a:ext cx="627183" cy="578215"/>
              <a:chOff x="2501959" y="5037105"/>
              <a:chExt cx="627183" cy="578215"/>
            </a:xfrm>
          </p:grpSpPr>
          <p:sp>
            <p:nvSpPr>
              <p:cNvPr id="65" name="Freeform 5">
                <a:extLst>
                  <a:ext uri="{FF2B5EF4-FFF2-40B4-BE49-F238E27FC236}">
                    <a16:creationId xmlns:a16="http://schemas.microsoft.com/office/drawing/2014/main" id="{7C28F5A5-B655-7D45-BAB6-EDDBBF6A9BB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01959" y="5037105"/>
                <a:ext cx="627183" cy="578215"/>
              </a:xfrm>
              <a:custGeom>
                <a:avLst/>
                <a:gdLst>
                  <a:gd name="T0" fmla="*/ 0 w 426"/>
                  <a:gd name="T1" fmla="*/ 12 h 333"/>
                  <a:gd name="T2" fmla="*/ 0 w 426"/>
                  <a:gd name="T3" fmla="*/ 12 h 333"/>
                  <a:gd name="T4" fmla="*/ 0 w 426"/>
                  <a:gd name="T5" fmla="*/ 255 h 333"/>
                  <a:gd name="T6" fmla="*/ 12 w 426"/>
                  <a:gd name="T7" fmla="*/ 268 h 333"/>
                  <a:gd name="T8" fmla="*/ 195 w 426"/>
                  <a:gd name="T9" fmla="*/ 268 h 333"/>
                  <a:gd name="T10" fmla="*/ 195 w 426"/>
                  <a:gd name="T11" fmla="*/ 306 h 333"/>
                  <a:gd name="T12" fmla="*/ 130 w 426"/>
                  <a:gd name="T13" fmla="*/ 306 h 333"/>
                  <a:gd name="T14" fmla="*/ 130 w 426"/>
                  <a:gd name="T15" fmla="*/ 333 h 333"/>
                  <a:gd name="T16" fmla="*/ 293 w 426"/>
                  <a:gd name="T17" fmla="*/ 333 h 333"/>
                  <a:gd name="T18" fmla="*/ 293 w 426"/>
                  <a:gd name="T19" fmla="*/ 306 h 333"/>
                  <a:gd name="T20" fmla="*/ 228 w 426"/>
                  <a:gd name="T21" fmla="*/ 306 h 333"/>
                  <a:gd name="T22" fmla="*/ 228 w 426"/>
                  <a:gd name="T23" fmla="*/ 268 h 333"/>
                  <a:gd name="T24" fmla="*/ 413 w 426"/>
                  <a:gd name="T25" fmla="*/ 268 h 333"/>
                  <a:gd name="T26" fmla="*/ 426 w 426"/>
                  <a:gd name="T27" fmla="*/ 255 h 333"/>
                  <a:gd name="T28" fmla="*/ 426 w 426"/>
                  <a:gd name="T29" fmla="*/ 12 h 333"/>
                  <a:gd name="T30" fmla="*/ 413 w 426"/>
                  <a:gd name="T31" fmla="*/ 0 h 333"/>
                  <a:gd name="T32" fmla="*/ 12 w 426"/>
                  <a:gd name="T33" fmla="*/ 0 h 333"/>
                  <a:gd name="T34" fmla="*/ 0 w 426"/>
                  <a:gd name="T35" fmla="*/ 12 h 3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426" h="333">
                    <a:moveTo>
                      <a:pt x="0" y="12"/>
                    </a:moveTo>
                    <a:lnTo>
                      <a:pt x="0" y="12"/>
                    </a:lnTo>
                    <a:lnTo>
                      <a:pt x="0" y="255"/>
                    </a:lnTo>
                    <a:cubicBezTo>
                      <a:pt x="0" y="262"/>
                      <a:pt x="5" y="268"/>
                      <a:pt x="12" y="268"/>
                    </a:cubicBezTo>
                    <a:lnTo>
                      <a:pt x="195" y="268"/>
                    </a:lnTo>
                    <a:lnTo>
                      <a:pt x="195" y="306"/>
                    </a:lnTo>
                    <a:lnTo>
                      <a:pt x="130" y="306"/>
                    </a:lnTo>
                    <a:lnTo>
                      <a:pt x="130" y="333"/>
                    </a:lnTo>
                    <a:lnTo>
                      <a:pt x="293" y="333"/>
                    </a:lnTo>
                    <a:lnTo>
                      <a:pt x="293" y="306"/>
                    </a:lnTo>
                    <a:lnTo>
                      <a:pt x="228" y="306"/>
                    </a:lnTo>
                    <a:lnTo>
                      <a:pt x="228" y="268"/>
                    </a:lnTo>
                    <a:lnTo>
                      <a:pt x="413" y="268"/>
                    </a:lnTo>
                    <a:cubicBezTo>
                      <a:pt x="420" y="268"/>
                      <a:pt x="426" y="262"/>
                      <a:pt x="426" y="255"/>
                    </a:cubicBezTo>
                    <a:lnTo>
                      <a:pt x="426" y="12"/>
                    </a:lnTo>
                    <a:cubicBezTo>
                      <a:pt x="426" y="5"/>
                      <a:pt x="420" y="0"/>
                      <a:pt x="413" y="0"/>
                    </a:cubicBezTo>
                    <a:lnTo>
                      <a:pt x="12" y="0"/>
                    </a:lnTo>
                    <a:cubicBezTo>
                      <a:pt x="5" y="0"/>
                      <a:pt x="0" y="5"/>
                      <a:pt x="0" y="12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1905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14" tIns="45706" rIns="91414" bIns="45706" numCol="1" anchor="t" anchorCtr="0" compatLnSpc="1">
                <a:prstTxWarp prst="textNoShape">
                  <a:avLst/>
                </a:prstTxWarp>
              </a:bodyPr>
              <a:lstStyle/>
              <a:p>
                <a:pPr defTabSz="914016">
                  <a:defRPr/>
                </a:pPr>
                <a:endParaRPr lang="en-US" sz="1765">
                  <a:solidFill>
                    <a:srgbClr val="1A1A1A"/>
                  </a:solidFill>
                  <a:latin typeface="Segoe UI"/>
                </a:endParaRPr>
              </a:p>
            </p:txBody>
          </p:sp>
          <p:pic>
            <p:nvPicPr>
              <p:cNvPr id="66" name="Picture 65">
                <a:extLst>
                  <a:ext uri="{FF2B5EF4-FFF2-40B4-BE49-F238E27FC236}">
                    <a16:creationId xmlns:a16="http://schemas.microsoft.com/office/drawing/2014/main" id="{5DB35C78-39D6-EF40-9715-64DC6DA0D5F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2667438" y="5132878"/>
                <a:ext cx="279838" cy="302928"/>
              </a:xfrm>
              <a:prstGeom prst="rect">
                <a:avLst/>
              </a:prstGeom>
            </p:spPr>
          </p:pic>
        </p:grpSp>
        <p:grpSp>
          <p:nvGrpSpPr>
            <p:cNvPr id="62" name="Group 61">
              <a:extLst>
                <a:ext uri="{FF2B5EF4-FFF2-40B4-BE49-F238E27FC236}">
                  <a16:creationId xmlns:a16="http://schemas.microsoft.com/office/drawing/2014/main" id="{197FE37F-FC27-374D-AF39-C5E66A9443AB}"/>
                </a:ext>
              </a:extLst>
            </p:cNvPr>
            <p:cNvGrpSpPr/>
            <p:nvPr/>
          </p:nvGrpSpPr>
          <p:grpSpPr>
            <a:xfrm>
              <a:off x="2367679" y="4900917"/>
              <a:ext cx="627183" cy="578215"/>
              <a:chOff x="2501959" y="5037105"/>
              <a:chExt cx="627183" cy="578215"/>
            </a:xfrm>
          </p:grpSpPr>
          <p:sp>
            <p:nvSpPr>
              <p:cNvPr id="63" name="Freeform 5">
                <a:extLst>
                  <a:ext uri="{FF2B5EF4-FFF2-40B4-BE49-F238E27FC236}">
                    <a16:creationId xmlns:a16="http://schemas.microsoft.com/office/drawing/2014/main" id="{A6918536-1CC4-9048-A4A3-8834CF933A4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01959" y="5037105"/>
                <a:ext cx="627183" cy="578215"/>
              </a:xfrm>
              <a:custGeom>
                <a:avLst/>
                <a:gdLst>
                  <a:gd name="T0" fmla="*/ 0 w 426"/>
                  <a:gd name="T1" fmla="*/ 12 h 333"/>
                  <a:gd name="T2" fmla="*/ 0 w 426"/>
                  <a:gd name="T3" fmla="*/ 12 h 333"/>
                  <a:gd name="T4" fmla="*/ 0 w 426"/>
                  <a:gd name="T5" fmla="*/ 255 h 333"/>
                  <a:gd name="T6" fmla="*/ 12 w 426"/>
                  <a:gd name="T7" fmla="*/ 268 h 333"/>
                  <a:gd name="T8" fmla="*/ 195 w 426"/>
                  <a:gd name="T9" fmla="*/ 268 h 333"/>
                  <a:gd name="T10" fmla="*/ 195 w 426"/>
                  <a:gd name="T11" fmla="*/ 306 h 333"/>
                  <a:gd name="T12" fmla="*/ 130 w 426"/>
                  <a:gd name="T13" fmla="*/ 306 h 333"/>
                  <a:gd name="T14" fmla="*/ 130 w 426"/>
                  <a:gd name="T15" fmla="*/ 333 h 333"/>
                  <a:gd name="T16" fmla="*/ 293 w 426"/>
                  <a:gd name="T17" fmla="*/ 333 h 333"/>
                  <a:gd name="T18" fmla="*/ 293 w 426"/>
                  <a:gd name="T19" fmla="*/ 306 h 333"/>
                  <a:gd name="T20" fmla="*/ 228 w 426"/>
                  <a:gd name="T21" fmla="*/ 306 h 333"/>
                  <a:gd name="T22" fmla="*/ 228 w 426"/>
                  <a:gd name="T23" fmla="*/ 268 h 333"/>
                  <a:gd name="T24" fmla="*/ 413 w 426"/>
                  <a:gd name="T25" fmla="*/ 268 h 333"/>
                  <a:gd name="T26" fmla="*/ 426 w 426"/>
                  <a:gd name="T27" fmla="*/ 255 h 333"/>
                  <a:gd name="T28" fmla="*/ 426 w 426"/>
                  <a:gd name="T29" fmla="*/ 12 h 333"/>
                  <a:gd name="T30" fmla="*/ 413 w 426"/>
                  <a:gd name="T31" fmla="*/ 0 h 333"/>
                  <a:gd name="T32" fmla="*/ 12 w 426"/>
                  <a:gd name="T33" fmla="*/ 0 h 333"/>
                  <a:gd name="T34" fmla="*/ 0 w 426"/>
                  <a:gd name="T35" fmla="*/ 12 h 3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426" h="333">
                    <a:moveTo>
                      <a:pt x="0" y="12"/>
                    </a:moveTo>
                    <a:lnTo>
                      <a:pt x="0" y="12"/>
                    </a:lnTo>
                    <a:lnTo>
                      <a:pt x="0" y="255"/>
                    </a:lnTo>
                    <a:cubicBezTo>
                      <a:pt x="0" y="262"/>
                      <a:pt x="5" y="268"/>
                      <a:pt x="12" y="268"/>
                    </a:cubicBezTo>
                    <a:lnTo>
                      <a:pt x="195" y="268"/>
                    </a:lnTo>
                    <a:lnTo>
                      <a:pt x="195" y="306"/>
                    </a:lnTo>
                    <a:lnTo>
                      <a:pt x="130" y="306"/>
                    </a:lnTo>
                    <a:lnTo>
                      <a:pt x="130" y="333"/>
                    </a:lnTo>
                    <a:lnTo>
                      <a:pt x="293" y="333"/>
                    </a:lnTo>
                    <a:lnTo>
                      <a:pt x="293" y="306"/>
                    </a:lnTo>
                    <a:lnTo>
                      <a:pt x="228" y="306"/>
                    </a:lnTo>
                    <a:lnTo>
                      <a:pt x="228" y="268"/>
                    </a:lnTo>
                    <a:lnTo>
                      <a:pt x="413" y="268"/>
                    </a:lnTo>
                    <a:cubicBezTo>
                      <a:pt x="420" y="268"/>
                      <a:pt x="426" y="262"/>
                      <a:pt x="426" y="255"/>
                    </a:cubicBezTo>
                    <a:lnTo>
                      <a:pt x="426" y="12"/>
                    </a:lnTo>
                    <a:cubicBezTo>
                      <a:pt x="426" y="5"/>
                      <a:pt x="420" y="0"/>
                      <a:pt x="413" y="0"/>
                    </a:cubicBezTo>
                    <a:lnTo>
                      <a:pt x="12" y="0"/>
                    </a:lnTo>
                    <a:cubicBezTo>
                      <a:pt x="5" y="0"/>
                      <a:pt x="0" y="5"/>
                      <a:pt x="0" y="12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1905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14" tIns="45706" rIns="91414" bIns="45706" numCol="1" anchor="t" anchorCtr="0" compatLnSpc="1">
                <a:prstTxWarp prst="textNoShape">
                  <a:avLst/>
                </a:prstTxWarp>
              </a:bodyPr>
              <a:lstStyle/>
              <a:p>
                <a:pPr defTabSz="914016">
                  <a:defRPr/>
                </a:pPr>
                <a:endParaRPr lang="en-US" sz="1765">
                  <a:solidFill>
                    <a:srgbClr val="1A1A1A"/>
                  </a:solidFill>
                  <a:latin typeface="Segoe UI"/>
                </a:endParaRPr>
              </a:p>
            </p:txBody>
          </p:sp>
          <p:pic>
            <p:nvPicPr>
              <p:cNvPr id="64" name="Picture 63">
                <a:extLst>
                  <a:ext uri="{FF2B5EF4-FFF2-40B4-BE49-F238E27FC236}">
                    <a16:creationId xmlns:a16="http://schemas.microsoft.com/office/drawing/2014/main" id="{1B693CC9-8DCE-C14B-941A-0EEC29A9842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2681505" y="5132878"/>
                <a:ext cx="256062" cy="275758"/>
              </a:xfrm>
              <a:prstGeom prst="rect">
                <a:avLst/>
              </a:prstGeom>
            </p:spPr>
          </p:pic>
        </p:grpSp>
      </p:grpSp>
      <p:sp>
        <p:nvSpPr>
          <p:cNvPr id="67" name="Freeform 16">
            <a:extLst>
              <a:ext uri="{FF2B5EF4-FFF2-40B4-BE49-F238E27FC236}">
                <a16:creationId xmlns:a16="http://schemas.microsoft.com/office/drawing/2014/main" id="{24DABC94-4758-A646-A619-BCA153D393D3}"/>
              </a:ext>
            </a:extLst>
          </p:cNvPr>
          <p:cNvSpPr>
            <a:spLocks noEditPoints="1"/>
          </p:cNvSpPr>
          <p:nvPr/>
        </p:nvSpPr>
        <p:spPr bwMode="auto">
          <a:xfrm>
            <a:off x="2288560" y="4809254"/>
            <a:ext cx="323220" cy="324243"/>
          </a:xfrm>
          <a:custGeom>
            <a:avLst/>
            <a:gdLst>
              <a:gd name="T0" fmla="*/ 146 w 213"/>
              <a:gd name="T1" fmla="*/ 108 h 213"/>
              <a:gd name="T2" fmla="*/ 134 w 213"/>
              <a:gd name="T3" fmla="*/ 134 h 213"/>
              <a:gd name="T4" fmla="*/ 106 w 213"/>
              <a:gd name="T5" fmla="*/ 146 h 213"/>
              <a:gd name="T6" fmla="*/ 79 w 213"/>
              <a:gd name="T7" fmla="*/ 134 h 213"/>
              <a:gd name="T8" fmla="*/ 67 w 213"/>
              <a:gd name="T9" fmla="*/ 108 h 213"/>
              <a:gd name="T10" fmla="*/ 70 w 213"/>
              <a:gd name="T11" fmla="*/ 91 h 213"/>
              <a:gd name="T12" fmla="*/ 79 w 213"/>
              <a:gd name="T13" fmla="*/ 78 h 213"/>
              <a:gd name="T14" fmla="*/ 106 w 213"/>
              <a:gd name="T15" fmla="*/ 67 h 213"/>
              <a:gd name="T16" fmla="*/ 134 w 213"/>
              <a:gd name="T17" fmla="*/ 78 h 213"/>
              <a:gd name="T18" fmla="*/ 143 w 213"/>
              <a:gd name="T19" fmla="*/ 91 h 213"/>
              <a:gd name="T20" fmla="*/ 146 w 213"/>
              <a:gd name="T21" fmla="*/ 108 h 213"/>
              <a:gd name="T22" fmla="*/ 212 w 213"/>
              <a:gd name="T23" fmla="*/ 83 h 213"/>
              <a:gd name="T24" fmla="*/ 187 w 213"/>
              <a:gd name="T25" fmla="*/ 48 h 213"/>
              <a:gd name="T26" fmla="*/ 160 w 213"/>
              <a:gd name="T27" fmla="*/ 47 h 213"/>
              <a:gd name="T28" fmla="*/ 127 w 213"/>
              <a:gd name="T29" fmla="*/ 0 h 213"/>
              <a:gd name="T30" fmla="*/ 108 w 213"/>
              <a:gd name="T31" fmla="*/ 27 h 213"/>
              <a:gd name="T32" fmla="*/ 105 w 213"/>
              <a:gd name="T33" fmla="*/ 27 h 213"/>
              <a:gd name="T34" fmla="*/ 86 w 213"/>
              <a:gd name="T35" fmla="*/ 0 h 213"/>
              <a:gd name="T36" fmla="*/ 48 w 213"/>
              <a:gd name="T37" fmla="*/ 28 h 213"/>
              <a:gd name="T38" fmla="*/ 48 w 213"/>
              <a:gd name="T39" fmla="*/ 53 h 213"/>
              <a:gd name="T40" fmla="*/ 16 w 213"/>
              <a:gd name="T41" fmla="*/ 45 h 213"/>
              <a:gd name="T42" fmla="*/ 2 w 213"/>
              <a:gd name="T43" fmla="*/ 81 h 213"/>
              <a:gd name="T44" fmla="*/ 27 w 213"/>
              <a:gd name="T45" fmla="*/ 102 h 213"/>
              <a:gd name="T46" fmla="*/ 27 w 213"/>
              <a:gd name="T47" fmla="*/ 106 h 213"/>
              <a:gd name="T48" fmla="*/ 27 w 213"/>
              <a:gd name="T49" fmla="*/ 108 h 213"/>
              <a:gd name="T50" fmla="*/ 0 w 213"/>
              <a:gd name="T51" fmla="*/ 127 h 213"/>
              <a:gd name="T52" fmla="*/ 48 w 213"/>
              <a:gd name="T53" fmla="*/ 160 h 213"/>
              <a:gd name="T54" fmla="*/ 46 w 213"/>
              <a:gd name="T55" fmla="*/ 196 h 213"/>
              <a:gd name="T56" fmla="*/ 103 w 213"/>
              <a:gd name="T57" fmla="*/ 186 h 213"/>
              <a:gd name="T58" fmla="*/ 106 w 213"/>
              <a:gd name="T59" fmla="*/ 186 h 213"/>
              <a:gd name="T60" fmla="*/ 110 w 213"/>
              <a:gd name="T61" fmla="*/ 186 h 213"/>
              <a:gd name="T62" fmla="*/ 167 w 213"/>
              <a:gd name="T63" fmla="*/ 196 h 213"/>
              <a:gd name="T64" fmla="*/ 165 w 213"/>
              <a:gd name="T65" fmla="*/ 160 h 213"/>
              <a:gd name="T66" fmla="*/ 213 w 213"/>
              <a:gd name="T67" fmla="*/ 127 h 213"/>
              <a:gd name="T68" fmla="*/ 186 w 213"/>
              <a:gd name="T69" fmla="*/ 108 h 213"/>
              <a:gd name="T70" fmla="*/ 186 w 213"/>
              <a:gd name="T71" fmla="*/ 106 h 213"/>
              <a:gd name="T72" fmla="*/ 186 w 213"/>
              <a:gd name="T73" fmla="*/ 102 h 213"/>
              <a:gd name="T74" fmla="*/ 212 w 213"/>
              <a:gd name="T75" fmla="*/ 83 h 2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</a:cxnLst>
            <a:rect l="0" t="0" r="r" b="b"/>
            <a:pathLst>
              <a:path w="213" h="213">
                <a:moveTo>
                  <a:pt x="146" y="108"/>
                </a:moveTo>
                <a:lnTo>
                  <a:pt x="146" y="108"/>
                </a:lnTo>
                <a:cubicBezTo>
                  <a:pt x="146" y="112"/>
                  <a:pt x="145" y="117"/>
                  <a:pt x="143" y="122"/>
                </a:cubicBezTo>
                <a:cubicBezTo>
                  <a:pt x="141" y="126"/>
                  <a:pt x="138" y="130"/>
                  <a:pt x="134" y="134"/>
                </a:cubicBezTo>
                <a:cubicBezTo>
                  <a:pt x="131" y="138"/>
                  <a:pt x="127" y="140"/>
                  <a:pt x="122" y="142"/>
                </a:cubicBezTo>
                <a:cubicBezTo>
                  <a:pt x="117" y="145"/>
                  <a:pt x="112" y="146"/>
                  <a:pt x="106" y="146"/>
                </a:cubicBezTo>
                <a:cubicBezTo>
                  <a:pt x="101" y="146"/>
                  <a:pt x="96" y="145"/>
                  <a:pt x="91" y="142"/>
                </a:cubicBezTo>
                <a:cubicBezTo>
                  <a:pt x="86" y="140"/>
                  <a:pt x="82" y="138"/>
                  <a:pt x="79" y="134"/>
                </a:cubicBezTo>
                <a:cubicBezTo>
                  <a:pt x="75" y="130"/>
                  <a:pt x="72" y="126"/>
                  <a:pt x="70" y="122"/>
                </a:cubicBezTo>
                <a:cubicBezTo>
                  <a:pt x="68" y="117"/>
                  <a:pt x="67" y="112"/>
                  <a:pt x="67" y="108"/>
                </a:cubicBezTo>
                <a:cubicBezTo>
                  <a:pt x="67" y="107"/>
                  <a:pt x="67" y="107"/>
                  <a:pt x="67" y="106"/>
                </a:cubicBezTo>
                <a:cubicBezTo>
                  <a:pt x="67" y="101"/>
                  <a:pt x="68" y="96"/>
                  <a:pt x="70" y="91"/>
                </a:cubicBezTo>
                <a:cubicBezTo>
                  <a:pt x="72" y="87"/>
                  <a:pt x="74" y="84"/>
                  <a:pt x="76" y="81"/>
                </a:cubicBezTo>
                <a:cubicBezTo>
                  <a:pt x="77" y="80"/>
                  <a:pt x="78" y="79"/>
                  <a:pt x="79" y="78"/>
                </a:cubicBezTo>
                <a:cubicBezTo>
                  <a:pt x="82" y="75"/>
                  <a:pt x="86" y="72"/>
                  <a:pt x="91" y="70"/>
                </a:cubicBezTo>
                <a:cubicBezTo>
                  <a:pt x="96" y="68"/>
                  <a:pt x="101" y="67"/>
                  <a:pt x="106" y="67"/>
                </a:cubicBezTo>
                <a:cubicBezTo>
                  <a:pt x="112" y="67"/>
                  <a:pt x="117" y="68"/>
                  <a:pt x="122" y="70"/>
                </a:cubicBezTo>
                <a:cubicBezTo>
                  <a:pt x="127" y="72"/>
                  <a:pt x="131" y="75"/>
                  <a:pt x="134" y="78"/>
                </a:cubicBezTo>
                <a:cubicBezTo>
                  <a:pt x="135" y="79"/>
                  <a:pt x="136" y="80"/>
                  <a:pt x="136" y="81"/>
                </a:cubicBezTo>
                <a:cubicBezTo>
                  <a:pt x="139" y="84"/>
                  <a:pt x="141" y="87"/>
                  <a:pt x="143" y="91"/>
                </a:cubicBezTo>
                <a:cubicBezTo>
                  <a:pt x="145" y="96"/>
                  <a:pt x="146" y="101"/>
                  <a:pt x="146" y="106"/>
                </a:cubicBezTo>
                <a:cubicBezTo>
                  <a:pt x="146" y="107"/>
                  <a:pt x="146" y="107"/>
                  <a:pt x="146" y="108"/>
                </a:cubicBezTo>
                <a:close/>
                <a:moveTo>
                  <a:pt x="212" y="83"/>
                </a:moveTo>
                <a:lnTo>
                  <a:pt x="212" y="83"/>
                </a:lnTo>
                <a:lnTo>
                  <a:pt x="196" y="45"/>
                </a:lnTo>
                <a:lnTo>
                  <a:pt x="187" y="48"/>
                </a:lnTo>
                <a:lnTo>
                  <a:pt x="165" y="53"/>
                </a:lnTo>
                <a:cubicBezTo>
                  <a:pt x="164" y="51"/>
                  <a:pt x="162" y="49"/>
                  <a:pt x="160" y="47"/>
                </a:cubicBezTo>
                <a:lnTo>
                  <a:pt x="167" y="16"/>
                </a:lnTo>
                <a:lnTo>
                  <a:pt x="127" y="0"/>
                </a:lnTo>
                <a:lnTo>
                  <a:pt x="110" y="27"/>
                </a:lnTo>
                <a:cubicBezTo>
                  <a:pt x="110" y="27"/>
                  <a:pt x="109" y="27"/>
                  <a:pt x="108" y="27"/>
                </a:cubicBezTo>
                <a:cubicBezTo>
                  <a:pt x="108" y="27"/>
                  <a:pt x="107" y="27"/>
                  <a:pt x="106" y="27"/>
                </a:cubicBezTo>
                <a:cubicBezTo>
                  <a:pt x="106" y="27"/>
                  <a:pt x="105" y="27"/>
                  <a:pt x="105" y="27"/>
                </a:cubicBezTo>
                <a:cubicBezTo>
                  <a:pt x="104" y="27"/>
                  <a:pt x="103" y="27"/>
                  <a:pt x="103" y="27"/>
                </a:cubicBezTo>
                <a:lnTo>
                  <a:pt x="86" y="0"/>
                </a:lnTo>
                <a:lnTo>
                  <a:pt x="46" y="16"/>
                </a:lnTo>
                <a:lnTo>
                  <a:pt x="48" y="28"/>
                </a:lnTo>
                <a:lnTo>
                  <a:pt x="53" y="47"/>
                </a:lnTo>
                <a:cubicBezTo>
                  <a:pt x="51" y="49"/>
                  <a:pt x="49" y="51"/>
                  <a:pt x="48" y="53"/>
                </a:cubicBezTo>
                <a:lnTo>
                  <a:pt x="27" y="48"/>
                </a:lnTo>
                <a:lnTo>
                  <a:pt x="16" y="45"/>
                </a:lnTo>
                <a:lnTo>
                  <a:pt x="13" y="54"/>
                </a:lnTo>
                <a:lnTo>
                  <a:pt x="2" y="81"/>
                </a:lnTo>
                <a:lnTo>
                  <a:pt x="0" y="86"/>
                </a:lnTo>
                <a:lnTo>
                  <a:pt x="27" y="102"/>
                </a:lnTo>
                <a:cubicBezTo>
                  <a:pt x="27" y="103"/>
                  <a:pt x="27" y="104"/>
                  <a:pt x="27" y="104"/>
                </a:cubicBezTo>
                <a:cubicBezTo>
                  <a:pt x="27" y="105"/>
                  <a:pt x="27" y="106"/>
                  <a:pt x="27" y="106"/>
                </a:cubicBezTo>
                <a:cubicBezTo>
                  <a:pt x="27" y="107"/>
                  <a:pt x="27" y="107"/>
                  <a:pt x="27" y="108"/>
                </a:cubicBezTo>
                <a:cubicBezTo>
                  <a:pt x="27" y="108"/>
                  <a:pt x="27" y="108"/>
                  <a:pt x="27" y="108"/>
                </a:cubicBezTo>
                <a:cubicBezTo>
                  <a:pt x="27" y="109"/>
                  <a:pt x="27" y="109"/>
                  <a:pt x="27" y="110"/>
                </a:cubicBezTo>
                <a:lnTo>
                  <a:pt x="0" y="127"/>
                </a:lnTo>
                <a:lnTo>
                  <a:pt x="16" y="167"/>
                </a:lnTo>
                <a:lnTo>
                  <a:pt x="48" y="160"/>
                </a:lnTo>
                <a:cubicBezTo>
                  <a:pt x="49" y="162"/>
                  <a:pt x="51" y="163"/>
                  <a:pt x="53" y="165"/>
                </a:cubicBezTo>
                <a:lnTo>
                  <a:pt x="46" y="196"/>
                </a:lnTo>
                <a:lnTo>
                  <a:pt x="86" y="213"/>
                </a:lnTo>
                <a:lnTo>
                  <a:pt x="103" y="186"/>
                </a:lnTo>
                <a:cubicBezTo>
                  <a:pt x="103" y="186"/>
                  <a:pt x="104" y="186"/>
                  <a:pt x="105" y="186"/>
                </a:cubicBezTo>
                <a:cubicBezTo>
                  <a:pt x="105" y="186"/>
                  <a:pt x="106" y="186"/>
                  <a:pt x="106" y="186"/>
                </a:cubicBezTo>
                <a:cubicBezTo>
                  <a:pt x="107" y="186"/>
                  <a:pt x="108" y="186"/>
                  <a:pt x="108" y="186"/>
                </a:cubicBezTo>
                <a:cubicBezTo>
                  <a:pt x="109" y="186"/>
                  <a:pt x="110" y="186"/>
                  <a:pt x="110" y="186"/>
                </a:cubicBezTo>
                <a:lnTo>
                  <a:pt x="127" y="213"/>
                </a:lnTo>
                <a:lnTo>
                  <a:pt x="167" y="196"/>
                </a:lnTo>
                <a:lnTo>
                  <a:pt x="160" y="165"/>
                </a:lnTo>
                <a:cubicBezTo>
                  <a:pt x="162" y="163"/>
                  <a:pt x="164" y="162"/>
                  <a:pt x="165" y="160"/>
                </a:cubicBezTo>
                <a:lnTo>
                  <a:pt x="196" y="167"/>
                </a:lnTo>
                <a:lnTo>
                  <a:pt x="213" y="127"/>
                </a:lnTo>
                <a:lnTo>
                  <a:pt x="186" y="110"/>
                </a:lnTo>
                <a:cubicBezTo>
                  <a:pt x="186" y="109"/>
                  <a:pt x="186" y="109"/>
                  <a:pt x="186" y="108"/>
                </a:cubicBezTo>
                <a:cubicBezTo>
                  <a:pt x="186" y="108"/>
                  <a:pt x="186" y="107"/>
                  <a:pt x="186" y="107"/>
                </a:cubicBezTo>
                <a:cubicBezTo>
                  <a:pt x="186" y="107"/>
                  <a:pt x="186" y="106"/>
                  <a:pt x="186" y="106"/>
                </a:cubicBezTo>
                <a:cubicBezTo>
                  <a:pt x="186" y="106"/>
                  <a:pt x="186" y="105"/>
                  <a:pt x="186" y="104"/>
                </a:cubicBezTo>
                <a:cubicBezTo>
                  <a:pt x="186" y="104"/>
                  <a:pt x="186" y="103"/>
                  <a:pt x="186" y="102"/>
                </a:cubicBezTo>
                <a:lnTo>
                  <a:pt x="211" y="87"/>
                </a:lnTo>
                <a:cubicBezTo>
                  <a:pt x="211" y="86"/>
                  <a:pt x="212" y="84"/>
                  <a:pt x="212" y="83"/>
                </a:cubicBezTo>
                <a:close/>
              </a:path>
            </a:pathLst>
          </a:custGeom>
          <a:solidFill>
            <a:schemeClr val="accent5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14" tIns="45706" rIns="91414" bIns="45706" numCol="1" anchor="t" anchorCtr="0" compatLnSpc="1">
            <a:prstTxWarp prst="textNoShape">
              <a:avLst/>
            </a:prstTxWarp>
          </a:bodyPr>
          <a:lstStyle/>
          <a:p>
            <a:pPr defTabSz="914016">
              <a:defRPr/>
            </a:pPr>
            <a:endParaRPr lang="en-US" sz="1765">
              <a:solidFill>
                <a:srgbClr val="1A1A1A"/>
              </a:solidFill>
              <a:latin typeface="Segoe UI"/>
            </a:endParaRPr>
          </a:p>
        </p:txBody>
      </p:sp>
      <p:sp>
        <p:nvSpPr>
          <p:cNvPr id="68" name="Freeform 16">
            <a:extLst>
              <a:ext uri="{FF2B5EF4-FFF2-40B4-BE49-F238E27FC236}">
                <a16:creationId xmlns:a16="http://schemas.microsoft.com/office/drawing/2014/main" id="{181A7828-8926-234A-9A71-6103E36F8666}"/>
              </a:ext>
            </a:extLst>
          </p:cNvPr>
          <p:cNvSpPr>
            <a:spLocks noEditPoints="1"/>
          </p:cNvSpPr>
          <p:nvPr/>
        </p:nvSpPr>
        <p:spPr bwMode="auto">
          <a:xfrm>
            <a:off x="3741522" y="4809254"/>
            <a:ext cx="323220" cy="324243"/>
          </a:xfrm>
          <a:custGeom>
            <a:avLst/>
            <a:gdLst>
              <a:gd name="T0" fmla="*/ 146 w 213"/>
              <a:gd name="T1" fmla="*/ 108 h 213"/>
              <a:gd name="T2" fmla="*/ 134 w 213"/>
              <a:gd name="T3" fmla="*/ 134 h 213"/>
              <a:gd name="T4" fmla="*/ 106 w 213"/>
              <a:gd name="T5" fmla="*/ 146 h 213"/>
              <a:gd name="T6" fmla="*/ 79 w 213"/>
              <a:gd name="T7" fmla="*/ 134 h 213"/>
              <a:gd name="T8" fmla="*/ 67 w 213"/>
              <a:gd name="T9" fmla="*/ 108 h 213"/>
              <a:gd name="T10" fmla="*/ 70 w 213"/>
              <a:gd name="T11" fmla="*/ 91 h 213"/>
              <a:gd name="T12" fmla="*/ 79 w 213"/>
              <a:gd name="T13" fmla="*/ 78 h 213"/>
              <a:gd name="T14" fmla="*/ 106 w 213"/>
              <a:gd name="T15" fmla="*/ 67 h 213"/>
              <a:gd name="T16" fmla="*/ 134 w 213"/>
              <a:gd name="T17" fmla="*/ 78 h 213"/>
              <a:gd name="T18" fmla="*/ 143 w 213"/>
              <a:gd name="T19" fmla="*/ 91 h 213"/>
              <a:gd name="T20" fmla="*/ 146 w 213"/>
              <a:gd name="T21" fmla="*/ 108 h 213"/>
              <a:gd name="T22" fmla="*/ 212 w 213"/>
              <a:gd name="T23" fmla="*/ 83 h 213"/>
              <a:gd name="T24" fmla="*/ 187 w 213"/>
              <a:gd name="T25" fmla="*/ 48 h 213"/>
              <a:gd name="T26" fmla="*/ 160 w 213"/>
              <a:gd name="T27" fmla="*/ 47 h 213"/>
              <a:gd name="T28" fmla="*/ 127 w 213"/>
              <a:gd name="T29" fmla="*/ 0 h 213"/>
              <a:gd name="T30" fmla="*/ 108 w 213"/>
              <a:gd name="T31" fmla="*/ 27 h 213"/>
              <a:gd name="T32" fmla="*/ 105 w 213"/>
              <a:gd name="T33" fmla="*/ 27 h 213"/>
              <a:gd name="T34" fmla="*/ 86 w 213"/>
              <a:gd name="T35" fmla="*/ 0 h 213"/>
              <a:gd name="T36" fmla="*/ 48 w 213"/>
              <a:gd name="T37" fmla="*/ 28 h 213"/>
              <a:gd name="T38" fmla="*/ 48 w 213"/>
              <a:gd name="T39" fmla="*/ 53 h 213"/>
              <a:gd name="T40" fmla="*/ 16 w 213"/>
              <a:gd name="T41" fmla="*/ 45 h 213"/>
              <a:gd name="T42" fmla="*/ 2 w 213"/>
              <a:gd name="T43" fmla="*/ 81 h 213"/>
              <a:gd name="T44" fmla="*/ 27 w 213"/>
              <a:gd name="T45" fmla="*/ 102 h 213"/>
              <a:gd name="T46" fmla="*/ 27 w 213"/>
              <a:gd name="T47" fmla="*/ 106 h 213"/>
              <a:gd name="T48" fmla="*/ 27 w 213"/>
              <a:gd name="T49" fmla="*/ 108 h 213"/>
              <a:gd name="T50" fmla="*/ 0 w 213"/>
              <a:gd name="T51" fmla="*/ 127 h 213"/>
              <a:gd name="T52" fmla="*/ 48 w 213"/>
              <a:gd name="T53" fmla="*/ 160 h 213"/>
              <a:gd name="T54" fmla="*/ 46 w 213"/>
              <a:gd name="T55" fmla="*/ 196 h 213"/>
              <a:gd name="T56" fmla="*/ 103 w 213"/>
              <a:gd name="T57" fmla="*/ 186 h 213"/>
              <a:gd name="T58" fmla="*/ 106 w 213"/>
              <a:gd name="T59" fmla="*/ 186 h 213"/>
              <a:gd name="T60" fmla="*/ 110 w 213"/>
              <a:gd name="T61" fmla="*/ 186 h 213"/>
              <a:gd name="T62" fmla="*/ 167 w 213"/>
              <a:gd name="T63" fmla="*/ 196 h 213"/>
              <a:gd name="T64" fmla="*/ 165 w 213"/>
              <a:gd name="T65" fmla="*/ 160 h 213"/>
              <a:gd name="T66" fmla="*/ 213 w 213"/>
              <a:gd name="T67" fmla="*/ 127 h 213"/>
              <a:gd name="T68" fmla="*/ 186 w 213"/>
              <a:gd name="T69" fmla="*/ 108 h 213"/>
              <a:gd name="T70" fmla="*/ 186 w 213"/>
              <a:gd name="T71" fmla="*/ 106 h 213"/>
              <a:gd name="T72" fmla="*/ 186 w 213"/>
              <a:gd name="T73" fmla="*/ 102 h 213"/>
              <a:gd name="T74" fmla="*/ 212 w 213"/>
              <a:gd name="T75" fmla="*/ 83 h 2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</a:cxnLst>
            <a:rect l="0" t="0" r="r" b="b"/>
            <a:pathLst>
              <a:path w="213" h="213">
                <a:moveTo>
                  <a:pt x="146" y="108"/>
                </a:moveTo>
                <a:lnTo>
                  <a:pt x="146" y="108"/>
                </a:lnTo>
                <a:cubicBezTo>
                  <a:pt x="146" y="112"/>
                  <a:pt x="145" y="117"/>
                  <a:pt x="143" y="122"/>
                </a:cubicBezTo>
                <a:cubicBezTo>
                  <a:pt x="141" y="126"/>
                  <a:pt x="138" y="130"/>
                  <a:pt x="134" y="134"/>
                </a:cubicBezTo>
                <a:cubicBezTo>
                  <a:pt x="131" y="138"/>
                  <a:pt x="127" y="140"/>
                  <a:pt x="122" y="142"/>
                </a:cubicBezTo>
                <a:cubicBezTo>
                  <a:pt x="117" y="145"/>
                  <a:pt x="112" y="146"/>
                  <a:pt x="106" y="146"/>
                </a:cubicBezTo>
                <a:cubicBezTo>
                  <a:pt x="101" y="146"/>
                  <a:pt x="96" y="145"/>
                  <a:pt x="91" y="142"/>
                </a:cubicBezTo>
                <a:cubicBezTo>
                  <a:pt x="86" y="140"/>
                  <a:pt x="82" y="138"/>
                  <a:pt x="79" y="134"/>
                </a:cubicBezTo>
                <a:cubicBezTo>
                  <a:pt x="75" y="130"/>
                  <a:pt x="72" y="126"/>
                  <a:pt x="70" y="122"/>
                </a:cubicBezTo>
                <a:cubicBezTo>
                  <a:pt x="68" y="117"/>
                  <a:pt x="67" y="112"/>
                  <a:pt x="67" y="108"/>
                </a:cubicBezTo>
                <a:cubicBezTo>
                  <a:pt x="67" y="107"/>
                  <a:pt x="67" y="107"/>
                  <a:pt x="67" y="106"/>
                </a:cubicBezTo>
                <a:cubicBezTo>
                  <a:pt x="67" y="101"/>
                  <a:pt x="68" y="96"/>
                  <a:pt x="70" y="91"/>
                </a:cubicBezTo>
                <a:cubicBezTo>
                  <a:pt x="72" y="87"/>
                  <a:pt x="74" y="84"/>
                  <a:pt x="76" y="81"/>
                </a:cubicBezTo>
                <a:cubicBezTo>
                  <a:pt x="77" y="80"/>
                  <a:pt x="78" y="79"/>
                  <a:pt x="79" y="78"/>
                </a:cubicBezTo>
                <a:cubicBezTo>
                  <a:pt x="82" y="75"/>
                  <a:pt x="86" y="72"/>
                  <a:pt x="91" y="70"/>
                </a:cubicBezTo>
                <a:cubicBezTo>
                  <a:pt x="96" y="68"/>
                  <a:pt x="101" y="67"/>
                  <a:pt x="106" y="67"/>
                </a:cubicBezTo>
                <a:cubicBezTo>
                  <a:pt x="112" y="67"/>
                  <a:pt x="117" y="68"/>
                  <a:pt x="122" y="70"/>
                </a:cubicBezTo>
                <a:cubicBezTo>
                  <a:pt x="127" y="72"/>
                  <a:pt x="131" y="75"/>
                  <a:pt x="134" y="78"/>
                </a:cubicBezTo>
                <a:cubicBezTo>
                  <a:pt x="135" y="79"/>
                  <a:pt x="136" y="80"/>
                  <a:pt x="136" y="81"/>
                </a:cubicBezTo>
                <a:cubicBezTo>
                  <a:pt x="139" y="84"/>
                  <a:pt x="141" y="87"/>
                  <a:pt x="143" y="91"/>
                </a:cubicBezTo>
                <a:cubicBezTo>
                  <a:pt x="145" y="96"/>
                  <a:pt x="146" y="101"/>
                  <a:pt x="146" y="106"/>
                </a:cubicBezTo>
                <a:cubicBezTo>
                  <a:pt x="146" y="107"/>
                  <a:pt x="146" y="107"/>
                  <a:pt x="146" y="108"/>
                </a:cubicBezTo>
                <a:close/>
                <a:moveTo>
                  <a:pt x="212" y="83"/>
                </a:moveTo>
                <a:lnTo>
                  <a:pt x="212" y="83"/>
                </a:lnTo>
                <a:lnTo>
                  <a:pt x="196" y="45"/>
                </a:lnTo>
                <a:lnTo>
                  <a:pt x="187" y="48"/>
                </a:lnTo>
                <a:lnTo>
                  <a:pt x="165" y="53"/>
                </a:lnTo>
                <a:cubicBezTo>
                  <a:pt x="164" y="51"/>
                  <a:pt x="162" y="49"/>
                  <a:pt x="160" y="47"/>
                </a:cubicBezTo>
                <a:lnTo>
                  <a:pt x="167" y="16"/>
                </a:lnTo>
                <a:lnTo>
                  <a:pt x="127" y="0"/>
                </a:lnTo>
                <a:lnTo>
                  <a:pt x="110" y="27"/>
                </a:lnTo>
                <a:cubicBezTo>
                  <a:pt x="110" y="27"/>
                  <a:pt x="109" y="27"/>
                  <a:pt x="108" y="27"/>
                </a:cubicBezTo>
                <a:cubicBezTo>
                  <a:pt x="108" y="27"/>
                  <a:pt x="107" y="27"/>
                  <a:pt x="106" y="27"/>
                </a:cubicBezTo>
                <a:cubicBezTo>
                  <a:pt x="106" y="27"/>
                  <a:pt x="105" y="27"/>
                  <a:pt x="105" y="27"/>
                </a:cubicBezTo>
                <a:cubicBezTo>
                  <a:pt x="104" y="27"/>
                  <a:pt x="103" y="27"/>
                  <a:pt x="103" y="27"/>
                </a:cubicBezTo>
                <a:lnTo>
                  <a:pt x="86" y="0"/>
                </a:lnTo>
                <a:lnTo>
                  <a:pt x="46" y="16"/>
                </a:lnTo>
                <a:lnTo>
                  <a:pt x="48" y="28"/>
                </a:lnTo>
                <a:lnTo>
                  <a:pt x="53" y="47"/>
                </a:lnTo>
                <a:cubicBezTo>
                  <a:pt x="51" y="49"/>
                  <a:pt x="49" y="51"/>
                  <a:pt x="48" y="53"/>
                </a:cubicBezTo>
                <a:lnTo>
                  <a:pt x="27" y="48"/>
                </a:lnTo>
                <a:lnTo>
                  <a:pt x="16" y="45"/>
                </a:lnTo>
                <a:lnTo>
                  <a:pt x="13" y="54"/>
                </a:lnTo>
                <a:lnTo>
                  <a:pt x="2" y="81"/>
                </a:lnTo>
                <a:lnTo>
                  <a:pt x="0" y="86"/>
                </a:lnTo>
                <a:lnTo>
                  <a:pt x="27" y="102"/>
                </a:lnTo>
                <a:cubicBezTo>
                  <a:pt x="27" y="103"/>
                  <a:pt x="27" y="104"/>
                  <a:pt x="27" y="104"/>
                </a:cubicBezTo>
                <a:cubicBezTo>
                  <a:pt x="27" y="105"/>
                  <a:pt x="27" y="106"/>
                  <a:pt x="27" y="106"/>
                </a:cubicBezTo>
                <a:cubicBezTo>
                  <a:pt x="27" y="107"/>
                  <a:pt x="27" y="107"/>
                  <a:pt x="27" y="108"/>
                </a:cubicBezTo>
                <a:cubicBezTo>
                  <a:pt x="27" y="108"/>
                  <a:pt x="27" y="108"/>
                  <a:pt x="27" y="108"/>
                </a:cubicBezTo>
                <a:cubicBezTo>
                  <a:pt x="27" y="109"/>
                  <a:pt x="27" y="109"/>
                  <a:pt x="27" y="110"/>
                </a:cubicBezTo>
                <a:lnTo>
                  <a:pt x="0" y="127"/>
                </a:lnTo>
                <a:lnTo>
                  <a:pt x="16" y="167"/>
                </a:lnTo>
                <a:lnTo>
                  <a:pt x="48" y="160"/>
                </a:lnTo>
                <a:cubicBezTo>
                  <a:pt x="49" y="162"/>
                  <a:pt x="51" y="163"/>
                  <a:pt x="53" y="165"/>
                </a:cubicBezTo>
                <a:lnTo>
                  <a:pt x="46" y="196"/>
                </a:lnTo>
                <a:lnTo>
                  <a:pt x="86" y="213"/>
                </a:lnTo>
                <a:lnTo>
                  <a:pt x="103" y="186"/>
                </a:lnTo>
                <a:cubicBezTo>
                  <a:pt x="103" y="186"/>
                  <a:pt x="104" y="186"/>
                  <a:pt x="105" y="186"/>
                </a:cubicBezTo>
                <a:cubicBezTo>
                  <a:pt x="105" y="186"/>
                  <a:pt x="106" y="186"/>
                  <a:pt x="106" y="186"/>
                </a:cubicBezTo>
                <a:cubicBezTo>
                  <a:pt x="107" y="186"/>
                  <a:pt x="108" y="186"/>
                  <a:pt x="108" y="186"/>
                </a:cubicBezTo>
                <a:cubicBezTo>
                  <a:pt x="109" y="186"/>
                  <a:pt x="110" y="186"/>
                  <a:pt x="110" y="186"/>
                </a:cubicBezTo>
                <a:lnTo>
                  <a:pt x="127" y="213"/>
                </a:lnTo>
                <a:lnTo>
                  <a:pt x="167" y="196"/>
                </a:lnTo>
                <a:lnTo>
                  <a:pt x="160" y="165"/>
                </a:lnTo>
                <a:cubicBezTo>
                  <a:pt x="162" y="163"/>
                  <a:pt x="164" y="162"/>
                  <a:pt x="165" y="160"/>
                </a:cubicBezTo>
                <a:lnTo>
                  <a:pt x="196" y="167"/>
                </a:lnTo>
                <a:lnTo>
                  <a:pt x="213" y="127"/>
                </a:lnTo>
                <a:lnTo>
                  <a:pt x="186" y="110"/>
                </a:lnTo>
                <a:cubicBezTo>
                  <a:pt x="186" y="109"/>
                  <a:pt x="186" y="109"/>
                  <a:pt x="186" y="108"/>
                </a:cubicBezTo>
                <a:cubicBezTo>
                  <a:pt x="186" y="108"/>
                  <a:pt x="186" y="107"/>
                  <a:pt x="186" y="107"/>
                </a:cubicBezTo>
                <a:cubicBezTo>
                  <a:pt x="186" y="107"/>
                  <a:pt x="186" y="106"/>
                  <a:pt x="186" y="106"/>
                </a:cubicBezTo>
                <a:cubicBezTo>
                  <a:pt x="186" y="106"/>
                  <a:pt x="186" y="105"/>
                  <a:pt x="186" y="104"/>
                </a:cubicBezTo>
                <a:cubicBezTo>
                  <a:pt x="186" y="104"/>
                  <a:pt x="186" y="103"/>
                  <a:pt x="186" y="102"/>
                </a:cubicBezTo>
                <a:lnTo>
                  <a:pt x="211" y="87"/>
                </a:lnTo>
                <a:cubicBezTo>
                  <a:pt x="211" y="86"/>
                  <a:pt x="212" y="84"/>
                  <a:pt x="212" y="83"/>
                </a:cubicBezTo>
                <a:close/>
              </a:path>
            </a:pathLst>
          </a:custGeom>
          <a:solidFill>
            <a:schemeClr val="accent5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14" tIns="45706" rIns="91414" bIns="45706" numCol="1" anchor="t" anchorCtr="0" compatLnSpc="1">
            <a:prstTxWarp prst="textNoShape">
              <a:avLst/>
            </a:prstTxWarp>
          </a:bodyPr>
          <a:lstStyle/>
          <a:p>
            <a:pPr defTabSz="914016">
              <a:defRPr/>
            </a:pPr>
            <a:endParaRPr lang="en-US" sz="1765">
              <a:solidFill>
                <a:srgbClr val="1A1A1A"/>
              </a:solidFill>
              <a:latin typeface="Segoe UI"/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415D419-1E29-2E4F-AA5B-CE5FC212B53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5995" y="881209"/>
            <a:ext cx="11653518" cy="482763"/>
          </a:xfrm>
        </p:spPr>
        <p:txBody>
          <a:bodyPr/>
          <a:lstStyle/>
          <a:p>
            <a:r>
              <a:rPr lang="en-US" dirty="0"/>
              <a:t>For physical servers/AWS, GCP, other cloud servers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E48FB4B7-B47F-A141-BD57-3B60E75FDBB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5995" y="433143"/>
            <a:ext cx="11303917" cy="813704"/>
          </a:xfrm>
        </p:spPr>
        <p:txBody>
          <a:bodyPr/>
          <a:lstStyle/>
          <a:p>
            <a:r>
              <a:rPr lang="en-US" dirty="0"/>
              <a:t>Agent-based: Process</a:t>
            </a:r>
          </a:p>
        </p:txBody>
      </p:sp>
      <p:sp>
        <p:nvSpPr>
          <p:cNvPr id="5" name="bk object 17">
            <a:extLst>
              <a:ext uri="{FF2B5EF4-FFF2-40B4-BE49-F238E27FC236}">
                <a16:creationId xmlns:a16="http://schemas.microsoft.com/office/drawing/2014/main" id="{7F1D2147-33E7-4ADE-97D3-2068F985E59E}"/>
              </a:ext>
            </a:extLst>
          </p:cNvPr>
          <p:cNvSpPr/>
          <p:nvPr/>
        </p:nvSpPr>
        <p:spPr>
          <a:xfrm>
            <a:off x="0" y="6497955"/>
            <a:ext cx="12192000" cy="360045"/>
          </a:xfrm>
          <a:custGeom>
            <a:avLst/>
            <a:gdLst/>
            <a:ahLst/>
            <a:cxnLst/>
            <a:rect l="l" t="t" r="r" b="b"/>
            <a:pathLst>
              <a:path w="12434570" h="360045">
                <a:moveTo>
                  <a:pt x="0" y="359994"/>
                </a:moveTo>
                <a:lnTo>
                  <a:pt x="12434404" y="359994"/>
                </a:lnTo>
                <a:lnTo>
                  <a:pt x="12434404" y="0"/>
                </a:lnTo>
                <a:lnTo>
                  <a:pt x="0" y="0"/>
                </a:lnTo>
                <a:lnTo>
                  <a:pt x="0" y="359994"/>
                </a:lnTo>
                <a:close/>
              </a:path>
            </a:pathLst>
          </a:custGeom>
          <a:solidFill>
            <a:srgbClr val="007FBA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45CB1E21-41D0-4C65-8410-413A289519DE}"/>
              </a:ext>
            </a:extLst>
          </p:cNvPr>
          <p:cNvSpPr txBox="1"/>
          <p:nvPr/>
        </p:nvSpPr>
        <p:spPr>
          <a:xfrm>
            <a:off x="7278010" y="6591175"/>
            <a:ext cx="425867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100" b="0" i="0" kern="0" spc="-20" baseline="0" dirty="0">
                <a:solidFill>
                  <a:schemeClr val="bg1"/>
                </a:solidFill>
                <a:latin typeface="Segoe UI Semibold" charset="0"/>
              </a:rPr>
              <a:t>Microsoft Azure    </a:t>
            </a:r>
            <a:r>
              <a:rPr lang="en-US" sz="1100" b="0" i="0" kern="0" spc="-20" baseline="0" dirty="0">
                <a:solidFill>
                  <a:schemeClr val="bg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|  @</a:t>
            </a:r>
            <a:r>
              <a:rPr lang="en-US" sz="1100" b="0" i="0" kern="0" spc="-20" baseline="0" dirty="0" err="1">
                <a:solidFill>
                  <a:schemeClr val="bg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Techielass</a:t>
            </a:r>
            <a:endParaRPr lang="en-US" sz="1100" b="0" i="0" kern="0" spc="-20" baseline="0" dirty="0">
              <a:solidFill>
                <a:schemeClr val="bg1"/>
              </a:solidFill>
              <a:latin typeface="Segoe UI Semilight" panose="020B0402040204020203" pitchFamily="34" charset="0"/>
              <a:ea typeface="Segoe UI Semilight" charset="0"/>
              <a:cs typeface="Segoe UI Semilight" panose="020B04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0746259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5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5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5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5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1" dur="500" fill="hold"/>
                                        <p:tgtEl>
                                          <p:spTgt spid="6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2" dur="500" fill="hold"/>
                                        <p:tgtEl>
                                          <p:spTgt spid="6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3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6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6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5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5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3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5" dur="5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6" dur="5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1" dur="500" fill="hold"/>
                                        <p:tgtEl>
                                          <p:spTgt spid="5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2" dur="500" fill="hold"/>
                                        <p:tgtEl>
                                          <p:spTgt spid="5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3" presetID="2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4" dur="500" tmFilter="0, 0; .2, .5; .8, .5; 1, 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45" dur="250" autoRev="1" fill="hold"/>
                                        <p:tgtEl>
                                          <p:spTgt spid="43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6" fill="hold">
                      <p:stCondLst>
                        <p:cond delay="indefinite"/>
                      </p:stCondLst>
                      <p:childTnLst>
                        <p:par>
                          <p:cTn id="47" fill="hold">
                            <p:stCondLst>
                              <p:cond delay="0"/>
                            </p:stCondLst>
                            <p:childTnLst>
                              <p:par>
                                <p:cTn id="48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0" dur="500" fill="hold"/>
                                        <p:tgtEl>
                                          <p:spTgt spid="55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1" dur="500" fill="hold"/>
                                        <p:tgtEl>
                                          <p:spTgt spid="55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2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4" dur="500" fill="hold"/>
                                        <p:tgtEl>
                                          <p:spTgt spid="8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5" dur="500" fill="hold"/>
                                        <p:tgtEl>
                                          <p:spTgt spid="8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6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8" dur="500" fill="hold"/>
                                        <p:tgtEl>
                                          <p:spTgt spid="8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9" dur="500" fill="hold"/>
                                        <p:tgtEl>
                                          <p:spTgt spid="8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0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2" dur="500" fill="hold"/>
                                        <p:tgtEl>
                                          <p:spTgt spid="8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3" dur="500" fill="hold"/>
                                        <p:tgtEl>
                                          <p:spTgt spid="8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4" fill="hold">
                      <p:stCondLst>
                        <p:cond delay="indefinite"/>
                      </p:stCondLst>
                      <p:childTnLst>
                        <p:par>
                          <p:cTn id="65" fill="hold">
                            <p:stCondLst>
                              <p:cond delay="0"/>
                            </p:stCondLst>
                            <p:childTnLst>
                              <p:par>
                                <p:cTn id="66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8" dur="500" fill="hold"/>
                                        <p:tgtEl>
                                          <p:spTgt spid="55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9" dur="500" fill="hold"/>
                                        <p:tgtEl>
                                          <p:spTgt spid="55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0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2" dur="500" fill="hold"/>
                                        <p:tgtEl>
                                          <p:spTgt spid="7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3" dur="500" fill="hold"/>
                                        <p:tgtEl>
                                          <p:spTgt spid="7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7" grpId="0"/>
      <p:bldP spid="88" grpId="0" animBg="1"/>
      <p:bldP spid="67" grpId="0" animBg="1"/>
      <p:bldP spid="68" grpId="0" animBg="1"/>
    </p:bld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66529D59-E790-0640-90BC-71EDB570ED03}"/>
              </a:ext>
            </a:extLst>
          </p:cNvPr>
          <p:cNvSpPr/>
          <p:nvPr/>
        </p:nvSpPr>
        <p:spPr bwMode="auto">
          <a:xfrm>
            <a:off x="8192328" y="487"/>
            <a:ext cx="3999673" cy="6857027"/>
          </a:xfrm>
          <a:prstGeom prst="rect">
            <a:avLst/>
          </a:prstGeom>
          <a:solidFill>
            <a:schemeClr val="tx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46644933-C5C8-42EB-80A5-0CC0565AAD2F}"/>
              </a:ext>
            </a:extLst>
          </p:cNvPr>
          <p:cNvSpPr txBox="1">
            <a:spLocks/>
          </p:cNvSpPr>
          <p:nvPr/>
        </p:nvSpPr>
        <p:spPr>
          <a:xfrm>
            <a:off x="589825" y="458045"/>
            <a:ext cx="11015394" cy="553841"/>
          </a:xfrm>
          <a:prstGeom prst="rect">
            <a:avLst/>
          </a:prstGeom>
        </p:spPr>
        <p:txBody>
          <a:bodyPr vert="horz" wrap="square" lIns="0" tIns="89630" rIns="143407" bIns="89630" rtlCol="0" anchor="t">
            <a:noAutofit/>
          </a:bodyPr>
          <a:lstStyle>
            <a:lvl1pPr algn="l" defTabSz="93256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800" b="0" kern="1200" cap="none" spc="-50" baseline="0" dirty="0" smtClean="0">
                <a:ln w="3175">
                  <a:noFill/>
                </a:ln>
                <a:solidFill>
                  <a:srgbClr val="000000"/>
                </a:soli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defTabSz="914225">
              <a:lnSpc>
                <a:spcPct val="100000"/>
              </a:lnSpc>
              <a:spcBef>
                <a:spcPts val="0"/>
              </a:spcBef>
              <a:defRPr/>
            </a:pPr>
            <a:endParaRPr lang="en-US" sz="2745" dirty="0">
              <a:latin typeface="Segoe UI Semibold (Headings)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4DA9710-C83C-DD42-9F92-26837201F3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5995" y="433143"/>
            <a:ext cx="11303917" cy="813704"/>
          </a:xfrm>
        </p:spPr>
        <p:txBody>
          <a:bodyPr/>
          <a:lstStyle/>
          <a:p>
            <a:r>
              <a:rPr lang="en-US" dirty="0"/>
              <a:t>Migration: Test Migration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B36B7349-2AFF-F342-BA7D-7F5E0122DFE8}"/>
              </a:ext>
            </a:extLst>
          </p:cNvPr>
          <p:cNvSpPr/>
          <p:nvPr/>
        </p:nvSpPr>
        <p:spPr>
          <a:xfrm>
            <a:off x="3999674" y="2504636"/>
            <a:ext cx="3907927" cy="298709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896181">
              <a:spcAft>
                <a:spcPts val="1176"/>
              </a:spcAft>
              <a:defRPr/>
            </a:pPr>
            <a:r>
              <a:rPr lang="en-US" sz="2353" dirty="0">
                <a:solidFill>
                  <a:srgbClr val="0078D4"/>
                </a:solidFill>
                <a:latin typeface="Segoe UI Semibold (Headings)"/>
                <a:cs typeface="Segoe UI Semilight" panose="020B0402040204020203" pitchFamily="34" charset="0"/>
              </a:rPr>
              <a:t>What is it?</a:t>
            </a:r>
            <a:endParaRPr lang="en-US" sz="1765" dirty="0">
              <a:gradFill>
                <a:gsLst>
                  <a:gs pos="2917">
                    <a:srgbClr val="1A1A1A"/>
                  </a:gs>
                  <a:gs pos="30000">
                    <a:srgbClr val="1A1A1A"/>
                  </a:gs>
                </a:gsLst>
                <a:lin ang="5400000" scaled="0"/>
              </a:gradFill>
              <a:cs typeface="Segoe UI Semilight" panose="020B0402040204020203" pitchFamily="34" charset="0"/>
            </a:endParaRPr>
          </a:p>
          <a:p>
            <a:pPr marL="0" lvl="1" defTabSz="896181">
              <a:spcAft>
                <a:spcPts val="1176"/>
              </a:spcAft>
              <a:defRPr/>
            </a:pPr>
            <a:r>
              <a:rPr lang="en-US" sz="1568" dirty="0">
                <a:gradFill>
                  <a:gsLst>
                    <a:gs pos="2917">
                      <a:srgbClr val="1A1A1A"/>
                    </a:gs>
                    <a:gs pos="30000">
                      <a:srgbClr val="1A1A1A"/>
                    </a:gs>
                  </a:gsLst>
                  <a:lin ang="5400000" scaled="0"/>
                </a:gradFill>
                <a:cs typeface="Segoe UI Semilight" panose="020B0402040204020203" pitchFamily="34" charset="0"/>
              </a:rPr>
              <a:t>Creates test copies of replicating servers in an Azure sandbox environment</a:t>
            </a:r>
          </a:p>
          <a:p>
            <a:pPr marL="0" lvl="1" defTabSz="896181">
              <a:spcAft>
                <a:spcPts val="1176"/>
              </a:spcAft>
              <a:defRPr/>
            </a:pPr>
            <a:r>
              <a:rPr lang="en-US" sz="1568" dirty="0">
                <a:gradFill>
                  <a:gsLst>
                    <a:gs pos="2917">
                      <a:srgbClr val="1A1A1A"/>
                    </a:gs>
                    <a:gs pos="30000">
                      <a:srgbClr val="1A1A1A"/>
                    </a:gs>
                  </a:gsLst>
                  <a:lin ang="5400000" scaled="0"/>
                </a:gradFill>
                <a:cs typeface="Segoe UI Semilight" panose="020B0402040204020203" pitchFamily="34" charset="0"/>
              </a:rPr>
              <a:t>Intended to help validate server and app functionality </a:t>
            </a:r>
          </a:p>
          <a:p>
            <a:pPr marL="0" lvl="1" defTabSz="896181">
              <a:spcAft>
                <a:spcPts val="1176"/>
              </a:spcAft>
              <a:defRPr/>
            </a:pPr>
            <a:r>
              <a:rPr lang="en-US" sz="1568" dirty="0">
                <a:gradFill>
                  <a:gsLst>
                    <a:gs pos="2917">
                      <a:srgbClr val="1A1A1A"/>
                    </a:gs>
                    <a:gs pos="30000">
                      <a:srgbClr val="1A1A1A"/>
                    </a:gs>
                  </a:gsLst>
                  <a:lin ang="5400000" scaled="0"/>
                </a:gradFill>
                <a:cs typeface="Segoe UI Semilight" panose="020B0402040204020203" pitchFamily="34" charset="0"/>
              </a:rPr>
              <a:t>Non-disruptive to source server and ongoing replication</a:t>
            </a:r>
          </a:p>
          <a:p>
            <a:pPr marL="0" lvl="1" defTabSz="896181">
              <a:spcAft>
                <a:spcPts val="1176"/>
              </a:spcAft>
              <a:defRPr/>
            </a:pPr>
            <a:r>
              <a:rPr lang="en-US" sz="1568" dirty="0">
                <a:gradFill>
                  <a:gsLst>
                    <a:gs pos="2917">
                      <a:srgbClr val="1A1A1A"/>
                    </a:gs>
                    <a:gs pos="30000">
                      <a:srgbClr val="1A1A1A"/>
                    </a:gs>
                  </a:gsLst>
                  <a:lin ang="5400000" scaled="0"/>
                </a:gradFill>
                <a:cs typeface="Segoe UI Semilight" panose="020B0402040204020203" pitchFamily="34" charset="0"/>
              </a:rPr>
              <a:t>Can be performed multiple times once Initial Replication is completed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DB9AB353-B716-5F44-A47B-07FFE09CAA45}"/>
              </a:ext>
            </a:extLst>
          </p:cNvPr>
          <p:cNvSpPr/>
          <p:nvPr/>
        </p:nvSpPr>
        <p:spPr>
          <a:xfrm>
            <a:off x="8690341" y="1256434"/>
            <a:ext cx="3184953" cy="467675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896181">
              <a:spcAft>
                <a:spcPts val="1176"/>
              </a:spcAft>
              <a:defRPr/>
            </a:pPr>
            <a:r>
              <a:rPr lang="en-US" sz="2353" dirty="0">
                <a:solidFill>
                  <a:schemeClr val="accent5"/>
                </a:solidFill>
                <a:latin typeface="Segoe UI Semibold (Headings)"/>
                <a:cs typeface="Segoe UI Semilight" panose="020B0402040204020203" pitchFamily="34" charset="0"/>
              </a:rPr>
              <a:t>How do I demarcate </a:t>
            </a:r>
            <a:br>
              <a:rPr lang="en-US" sz="2353" dirty="0">
                <a:solidFill>
                  <a:schemeClr val="accent5"/>
                </a:solidFill>
                <a:latin typeface="Segoe UI Semibold (Headings)"/>
                <a:cs typeface="Segoe UI Semilight" panose="020B0402040204020203" pitchFamily="34" charset="0"/>
              </a:rPr>
            </a:br>
            <a:r>
              <a:rPr lang="en-US" sz="2353" dirty="0">
                <a:solidFill>
                  <a:schemeClr val="accent5"/>
                </a:solidFill>
                <a:latin typeface="Segoe UI Semibold (Headings)"/>
                <a:cs typeface="Segoe UI Semilight" panose="020B0402040204020203" pitchFamily="34" charset="0"/>
              </a:rPr>
              <a:t>a sandbox environment?</a:t>
            </a:r>
            <a:endParaRPr lang="en-US" sz="1568" dirty="0">
              <a:solidFill>
                <a:schemeClr val="accent5"/>
              </a:solidFill>
              <a:cs typeface="Segoe UI Semilight" panose="020B0402040204020203" pitchFamily="34" charset="0"/>
            </a:endParaRPr>
          </a:p>
          <a:p>
            <a:pPr marL="0" lvl="1" defTabSz="896181">
              <a:spcAft>
                <a:spcPts val="1176"/>
              </a:spcAft>
              <a:defRPr/>
            </a:pPr>
            <a:r>
              <a:rPr lang="en-US" sz="1568" dirty="0">
                <a:solidFill>
                  <a:schemeClr val="bg1"/>
                </a:solidFill>
                <a:cs typeface="Segoe UI Semilight" panose="020B0402040204020203" pitchFamily="34" charset="0"/>
              </a:rPr>
              <a:t>By specifying a Virtual Network while starting test migration</a:t>
            </a:r>
          </a:p>
          <a:p>
            <a:pPr marL="0" lvl="1" defTabSz="896181">
              <a:spcAft>
                <a:spcPts val="1176"/>
              </a:spcAft>
              <a:defRPr/>
            </a:pPr>
            <a:r>
              <a:rPr lang="en-US" sz="1568" dirty="0">
                <a:solidFill>
                  <a:schemeClr val="bg1"/>
                </a:solidFill>
                <a:cs typeface="Segoe UI Semilight" panose="020B0402040204020203" pitchFamily="34" charset="0"/>
              </a:rPr>
              <a:t>Subnet is automatically selected in following priority -</a:t>
            </a:r>
          </a:p>
          <a:p>
            <a:pPr marL="280121" lvl="1" indent="-280121" defTabSz="896181">
              <a:spcAft>
                <a:spcPts val="1176"/>
              </a:spcAft>
              <a:buFont typeface="Arial" panose="020B0604020202020204" pitchFamily="34" charset="0"/>
              <a:buChar char="•"/>
              <a:defRPr/>
            </a:pPr>
            <a:r>
              <a:rPr lang="en-US" sz="1568" dirty="0">
                <a:solidFill>
                  <a:schemeClr val="bg1"/>
                </a:solidFill>
                <a:cs typeface="Segoe UI Semilight" panose="020B0402040204020203" pitchFamily="34" charset="0"/>
              </a:rPr>
              <a:t>Subnet with same name as the target subnet specified while enabling replication</a:t>
            </a:r>
          </a:p>
          <a:p>
            <a:pPr marL="280121" lvl="1" indent="-280121" defTabSz="896181">
              <a:spcAft>
                <a:spcPts val="1176"/>
              </a:spcAft>
              <a:buFont typeface="Arial" panose="020B0604020202020204" pitchFamily="34" charset="0"/>
              <a:buChar char="•"/>
              <a:defRPr/>
            </a:pPr>
            <a:r>
              <a:rPr lang="en-US" sz="1568" dirty="0">
                <a:solidFill>
                  <a:schemeClr val="bg1"/>
                </a:solidFill>
                <a:cs typeface="Segoe UI Semilight" panose="020B0402040204020203" pitchFamily="34" charset="0"/>
              </a:rPr>
              <a:t>First subnet available alphabetically that is not a gateway/application gateway/firewall/bastion subnet</a:t>
            </a:r>
          </a:p>
        </p:txBody>
      </p:sp>
      <p:pic>
        <p:nvPicPr>
          <p:cNvPr id="10" name="Picture 9" descr="Graphical user interface, application&#10;&#10;Description automatically generated">
            <a:extLst>
              <a:ext uri="{FF2B5EF4-FFF2-40B4-BE49-F238E27FC236}">
                <a16:creationId xmlns:a16="http://schemas.microsoft.com/office/drawing/2014/main" id="{BAA4A5AA-EFA1-E243-B37E-406A286A931C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2335812"/>
            <a:ext cx="3907927" cy="3432735"/>
          </a:xfrm>
          <a:prstGeom prst="rect">
            <a:avLst/>
          </a:prstGeom>
        </p:spPr>
      </p:pic>
      <p:sp>
        <p:nvSpPr>
          <p:cNvPr id="2" name="bk object 17">
            <a:extLst>
              <a:ext uri="{FF2B5EF4-FFF2-40B4-BE49-F238E27FC236}">
                <a16:creationId xmlns:a16="http://schemas.microsoft.com/office/drawing/2014/main" id="{D47D9DEC-3EA2-49DC-8BAE-563DD2F6701E}"/>
              </a:ext>
            </a:extLst>
          </p:cNvPr>
          <p:cNvSpPr/>
          <p:nvPr/>
        </p:nvSpPr>
        <p:spPr>
          <a:xfrm>
            <a:off x="0" y="6509039"/>
            <a:ext cx="12192000" cy="360045"/>
          </a:xfrm>
          <a:custGeom>
            <a:avLst/>
            <a:gdLst/>
            <a:ahLst/>
            <a:cxnLst/>
            <a:rect l="l" t="t" r="r" b="b"/>
            <a:pathLst>
              <a:path w="12434570" h="360045">
                <a:moveTo>
                  <a:pt x="0" y="359994"/>
                </a:moveTo>
                <a:lnTo>
                  <a:pt x="12434404" y="359994"/>
                </a:lnTo>
                <a:lnTo>
                  <a:pt x="12434404" y="0"/>
                </a:lnTo>
                <a:lnTo>
                  <a:pt x="0" y="0"/>
                </a:lnTo>
                <a:lnTo>
                  <a:pt x="0" y="359994"/>
                </a:lnTo>
                <a:close/>
              </a:path>
            </a:pathLst>
          </a:custGeom>
          <a:solidFill>
            <a:srgbClr val="007FBA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05B251FC-F6A8-47A3-BDA0-E5166EC655F2}"/>
              </a:ext>
            </a:extLst>
          </p:cNvPr>
          <p:cNvSpPr txBox="1"/>
          <p:nvPr/>
        </p:nvSpPr>
        <p:spPr>
          <a:xfrm>
            <a:off x="7278010" y="6591175"/>
            <a:ext cx="425867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100" b="0" i="0" kern="0" spc="-20" baseline="0" dirty="0">
                <a:solidFill>
                  <a:schemeClr val="bg1"/>
                </a:solidFill>
                <a:latin typeface="Segoe UI Semibold" charset="0"/>
              </a:rPr>
              <a:t>Microsoft Azure    </a:t>
            </a:r>
            <a:r>
              <a:rPr lang="en-US" sz="1100" b="0" i="0" kern="0" spc="-20" baseline="0" dirty="0">
                <a:solidFill>
                  <a:schemeClr val="bg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|  @</a:t>
            </a:r>
            <a:r>
              <a:rPr lang="en-US" sz="1100" b="0" i="0" kern="0" spc="-20" baseline="0" dirty="0" err="1">
                <a:solidFill>
                  <a:schemeClr val="bg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Techielass</a:t>
            </a:r>
            <a:endParaRPr lang="en-US" sz="1100" b="0" i="0" kern="0" spc="-20" baseline="0" dirty="0">
              <a:solidFill>
                <a:schemeClr val="bg1"/>
              </a:solidFill>
              <a:latin typeface="Segoe UI Semilight" panose="020B0402040204020203" pitchFamily="34" charset="0"/>
              <a:ea typeface="Segoe UI Semilight" charset="0"/>
              <a:cs typeface="Segoe UI Semilight" panose="020B04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8006636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46644933-C5C8-42EB-80A5-0CC0565AAD2F}"/>
              </a:ext>
            </a:extLst>
          </p:cNvPr>
          <p:cNvSpPr txBox="1">
            <a:spLocks/>
          </p:cNvSpPr>
          <p:nvPr/>
        </p:nvSpPr>
        <p:spPr>
          <a:xfrm>
            <a:off x="589825" y="458045"/>
            <a:ext cx="11015394" cy="553841"/>
          </a:xfrm>
          <a:prstGeom prst="rect">
            <a:avLst/>
          </a:prstGeom>
        </p:spPr>
        <p:txBody>
          <a:bodyPr vert="horz" wrap="square" lIns="0" tIns="89630" rIns="143407" bIns="89630" rtlCol="0" anchor="t">
            <a:noAutofit/>
          </a:bodyPr>
          <a:lstStyle>
            <a:lvl1pPr algn="l" defTabSz="93256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800" b="0" kern="1200" cap="none" spc="-50" baseline="0" dirty="0" smtClean="0">
                <a:ln w="3175">
                  <a:noFill/>
                </a:ln>
                <a:solidFill>
                  <a:srgbClr val="000000"/>
                </a:soli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defTabSz="914225">
              <a:lnSpc>
                <a:spcPct val="100000"/>
              </a:lnSpc>
              <a:spcBef>
                <a:spcPts val="0"/>
              </a:spcBef>
              <a:defRPr/>
            </a:pPr>
            <a:endParaRPr lang="en-US" sz="1765" i="1" dirty="0">
              <a:solidFill>
                <a:prstClr val="black"/>
              </a:solidFill>
              <a:latin typeface="Segoe UI Semibold (Headings)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B71EB5AC-E26B-4300-9F42-608D0A3145E8}"/>
              </a:ext>
            </a:extLst>
          </p:cNvPr>
          <p:cNvSpPr/>
          <p:nvPr/>
        </p:nvSpPr>
        <p:spPr>
          <a:xfrm>
            <a:off x="-3035133" y="1628193"/>
            <a:ext cx="2383435" cy="2291102"/>
          </a:xfrm>
          <a:prstGeom prst="rect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765"/>
              <a:t>To what does this asterisk refer?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51E42909-F01B-754D-B099-874924A60989}"/>
              </a:ext>
            </a:extLst>
          </p:cNvPr>
          <p:cNvSpPr/>
          <p:nvPr/>
        </p:nvSpPr>
        <p:spPr>
          <a:xfrm>
            <a:off x="533652" y="2880332"/>
            <a:ext cx="4247281" cy="3922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896181">
              <a:defRPr/>
            </a:pPr>
            <a:r>
              <a:rPr lang="en-US" sz="1961" dirty="0">
                <a:solidFill>
                  <a:srgbClr val="0078D4"/>
                </a:solidFill>
                <a:latin typeface="Segoe UI Semibold (Headings)"/>
                <a:cs typeface="Segoe UI Semilight" panose="020B0402040204020203" pitchFamily="34" charset="0"/>
              </a:rPr>
              <a:t>For agentless migrations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5F12AE9A-31B7-BF48-9899-439CEBC14DBB}"/>
              </a:ext>
            </a:extLst>
          </p:cNvPr>
          <p:cNvSpPr/>
          <p:nvPr/>
        </p:nvSpPr>
        <p:spPr>
          <a:xfrm>
            <a:off x="512064" y="3367278"/>
            <a:ext cx="4903836" cy="161348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1" defTabSz="896181">
              <a:spcAft>
                <a:spcPts val="588"/>
              </a:spcAft>
              <a:defRPr/>
            </a:pPr>
            <a:r>
              <a:rPr lang="en-US" sz="1567" b="1" dirty="0">
                <a:gradFill>
                  <a:gsLst>
                    <a:gs pos="2917">
                      <a:srgbClr val="1A1A1A"/>
                    </a:gs>
                    <a:gs pos="30000">
                      <a:srgbClr val="1A1A1A"/>
                    </a:gs>
                  </a:gsLst>
                  <a:lin ang="5400000" scaled="0"/>
                </a:gradFill>
                <a:cs typeface="Segoe UI Semilight" panose="020B0402040204020203" pitchFamily="34" charset="0"/>
              </a:rPr>
              <a:t>Estimate time needed or bandwidth required based on volume of data</a:t>
            </a:r>
          </a:p>
          <a:p>
            <a:pPr marL="0" lvl="1" defTabSz="896181">
              <a:spcAft>
                <a:spcPts val="588"/>
              </a:spcAft>
              <a:defRPr/>
            </a:pPr>
            <a:r>
              <a:rPr lang="en-US" sz="1567" dirty="0">
                <a:gradFill>
                  <a:gsLst>
                    <a:gs pos="2917">
                      <a:srgbClr val="1A1A1A"/>
                    </a:gs>
                    <a:gs pos="30000">
                      <a:srgbClr val="1A1A1A"/>
                    </a:gs>
                  </a:gsLst>
                  <a:lin ang="5400000" scaled="0"/>
                </a:gradFill>
                <a:cs typeface="Segoe UI Semilight" panose="020B0402040204020203" pitchFamily="34" charset="0"/>
              </a:rPr>
              <a:t>Time to complete initial replication = {size of disks (or used size if available) * 0.7 (assuming a 30 percent compression average)}/bandwidth available for replication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09EB2F62-8A6E-CF4F-8FE9-4E86B2D37D96}"/>
              </a:ext>
            </a:extLst>
          </p:cNvPr>
          <p:cNvSpPr/>
          <p:nvPr/>
        </p:nvSpPr>
        <p:spPr>
          <a:xfrm>
            <a:off x="6273261" y="2880332"/>
            <a:ext cx="5218408" cy="3922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896181">
              <a:defRPr/>
            </a:pPr>
            <a:r>
              <a:rPr lang="en-US" sz="1961" dirty="0">
                <a:solidFill>
                  <a:srgbClr val="0078D4"/>
                </a:solidFill>
                <a:latin typeface="Segoe UI Semibold (Headings)"/>
                <a:cs typeface="Segoe UI Semilight" panose="020B0402040204020203" pitchFamily="34" charset="0"/>
              </a:rPr>
              <a:t>For agent-based migrations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A5C288F8-8B3D-FF43-8CC5-1E933A60608A}"/>
              </a:ext>
            </a:extLst>
          </p:cNvPr>
          <p:cNvSpPr/>
          <p:nvPr/>
        </p:nvSpPr>
        <p:spPr>
          <a:xfrm>
            <a:off x="6251673" y="3367278"/>
            <a:ext cx="5218407" cy="23977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1" defTabSz="896181">
              <a:spcAft>
                <a:spcPts val="588"/>
              </a:spcAft>
              <a:defRPr/>
            </a:pPr>
            <a:r>
              <a:rPr lang="en-US" sz="1567" b="1" dirty="0">
                <a:gradFill>
                  <a:gsLst>
                    <a:gs pos="2917">
                      <a:srgbClr val="1A1A1A"/>
                    </a:gs>
                    <a:gs pos="30000">
                      <a:srgbClr val="1A1A1A"/>
                    </a:gs>
                  </a:gsLst>
                  <a:lin ang="5400000" scaled="0"/>
                </a:gradFill>
                <a:cs typeface="Segoe UI Semilight" panose="020B0402040204020203" pitchFamily="34" charset="0"/>
              </a:rPr>
              <a:t>For VMs on the same </a:t>
            </a:r>
            <a:r>
              <a:rPr lang="en-US" sz="1567" b="1" dirty="0" err="1">
                <a:gradFill>
                  <a:gsLst>
                    <a:gs pos="2917">
                      <a:srgbClr val="1A1A1A"/>
                    </a:gs>
                    <a:gs pos="30000">
                      <a:srgbClr val="1A1A1A"/>
                    </a:gs>
                  </a:gsLst>
                  <a:lin ang="5400000" scaled="0"/>
                </a:gradFill>
                <a:cs typeface="Segoe UI Semilight" panose="020B0402040204020203" pitchFamily="34" charset="0"/>
              </a:rPr>
              <a:t>ESXi</a:t>
            </a:r>
            <a:r>
              <a:rPr lang="en-US" sz="1567" b="1" dirty="0">
                <a:gradFill>
                  <a:gsLst>
                    <a:gs pos="2917">
                      <a:srgbClr val="1A1A1A"/>
                    </a:gs>
                    <a:gs pos="30000">
                      <a:srgbClr val="1A1A1A"/>
                    </a:gs>
                  </a:gsLst>
                  <a:lin ang="5400000" scaled="0"/>
                </a:gradFill>
                <a:cs typeface="Segoe UI Semilight" panose="020B0402040204020203" pitchFamily="34" charset="0"/>
              </a:rPr>
              <a:t> host:</a:t>
            </a:r>
          </a:p>
          <a:p>
            <a:pPr marL="0" lvl="1" defTabSz="896181">
              <a:spcAft>
                <a:spcPts val="588"/>
              </a:spcAft>
              <a:defRPr/>
            </a:pPr>
            <a:r>
              <a:rPr lang="en-US" sz="1567" b="1" dirty="0">
                <a:gradFill>
                  <a:gsLst>
                    <a:gs pos="2917">
                      <a:srgbClr val="1A1A1A"/>
                    </a:gs>
                    <a:gs pos="30000">
                      <a:srgbClr val="1A1A1A"/>
                    </a:gs>
                  </a:gsLst>
                  <a:lin ang="5400000" scaled="0"/>
                </a:gradFill>
                <a:cs typeface="Segoe UI Semilight" panose="020B0402040204020203" pitchFamily="34" charset="0"/>
              </a:rPr>
              <a:t>Use Azure Site Recovery Deployment planner tool. Outputs from the tool include:</a:t>
            </a:r>
          </a:p>
          <a:p>
            <a:pPr marL="0" lvl="1" defTabSz="896181">
              <a:spcAft>
                <a:spcPts val="588"/>
              </a:spcAft>
              <a:defRPr/>
            </a:pPr>
            <a:r>
              <a:rPr lang="en-US" sz="1567" dirty="0">
                <a:gradFill>
                  <a:gsLst>
                    <a:gs pos="2917">
                      <a:srgbClr val="1A1A1A"/>
                    </a:gs>
                    <a:gs pos="30000">
                      <a:srgbClr val="1A1A1A"/>
                    </a:gs>
                  </a:gsLst>
                  <a:lin ang="5400000" scaled="0"/>
                </a:gradFill>
                <a:cs typeface="Segoe UI Semilight" panose="020B0402040204020203" pitchFamily="34" charset="0"/>
              </a:rPr>
              <a:t>Estimated network bandwidth required</a:t>
            </a:r>
          </a:p>
          <a:p>
            <a:pPr marL="0" lvl="1" defTabSz="896181">
              <a:spcAft>
                <a:spcPts val="588"/>
              </a:spcAft>
              <a:defRPr/>
            </a:pPr>
            <a:r>
              <a:rPr lang="en-US" sz="1567" dirty="0">
                <a:gradFill>
                  <a:gsLst>
                    <a:gs pos="2917">
                      <a:srgbClr val="1A1A1A"/>
                    </a:gs>
                    <a:gs pos="30000">
                      <a:srgbClr val="1A1A1A"/>
                    </a:gs>
                  </a:gsLst>
                  <a:lin ang="5400000" scaled="0"/>
                </a:gradFill>
                <a:cs typeface="Segoe UI Semilight" panose="020B0402040204020203" pitchFamily="34" charset="0"/>
              </a:rPr>
              <a:t>Projected throughput for replication</a:t>
            </a:r>
          </a:p>
          <a:p>
            <a:pPr marL="0" lvl="1" defTabSz="896181">
              <a:spcAft>
                <a:spcPts val="588"/>
              </a:spcAft>
              <a:defRPr/>
            </a:pPr>
            <a:r>
              <a:rPr lang="en-US" sz="1567" dirty="0">
                <a:gradFill>
                  <a:gsLst>
                    <a:gs pos="2917">
                      <a:srgbClr val="1A1A1A"/>
                    </a:gs>
                    <a:gs pos="30000">
                      <a:srgbClr val="1A1A1A"/>
                    </a:gs>
                  </a:gsLst>
                  <a:lin ang="5400000" scaled="0"/>
                </a:gradFill>
                <a:cs typeface="Segoe UI Semilight" panose="020B0402040204020203" pitchFamily="34" charset="0"/>
              </a:rPr>
              <a:t>Concurrent replications that can be enabled (for specified time period to complete migration)</a:t>
            </a:r>
          </a:p>
          <a:p>
            <a:pPr marL="0" lvl="1" defTabSz="896181">
              <a:spcAft>
                <a:spcPts val="588"/>
              </a:spcAft>
              <a:defRPr/>
            </a:pPr>
            <a:r>
              <a:rPr lang="en-US" sz="1567" dirty="0">
                <a:gradFill>
                  <a:gsLst>
                    <a:gs pos="2917">
                      <a:srgbClr val="1A1A1A"/>
                    </a:gs>
                    <a:gs pos="30000">
                      <a:srgbClr val="1A1A1A"/>
                    </a:gs>
                  </a:gsLst>
                  <a:lin ang="5400000" scaled="0"/>
                </a:gradFill>
                <a:cs typeface="Segoe UI Semilight" panose="020B0402040204020203" pitchFamily="34" charset="0"/>
              </a:rPr>
              <a:t>Disks to be used for Azure VMs (standard, premium)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18F075EE-CB11-074A-A54B-F1B8B308FCFE}"/>
              </a:ext>
            </a:extLst>
          </p:cNvPr>
          <p:cNvCxnSpPr>
            <a:cxnSpLocks/>
          </p:cNvCxnSpPr>
          <p:nvPr/>
        </p:nvCxnSpPr>
        <p:spPr>
          <a:xfrm>
            <a:off x="5809642" y="1934959"/>
            <a:ext cx="0" cy="383003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itle 2">
            <a:extLst>
              <a:ext uri="{FF2B5EF4-FFF2-40B4-BE49-F238E27FC236}">
                <a16:creationId xmlns:a16="http://schemas.microsoft.com/office/drawing/2014/main" id="{0E5CF18B-8E84-CC46-A1B7-03233A6C81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pc="-50" dirty="0">
                <a:latin typeface="Segoe UI Semibold (Headings)"/>
              </a:rPr>
              <a:t>Migration: Bandwidth Consumption</a:t>
            </a:r>
            <a:endParaRPr lang="en-US" dirty="0"/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7C78E988-240B-E345-ACA2-06D41D2F12D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382360" y="1906457"/>
            <a:ext cx="738912" cy="738912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EC350900-D63D-2345-82E8-293F593BD7A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77970" y="2062692"/>
            <a:ext cx="582676" cy="582676"/>
          </a:xfrm>
          <a:prstGeom prst="rect">
            <a:avLst/>
          </a:prstGeom>
        </p:spPr>
      </p:pic>
      <p:sp>
        <p:nvSpPr>
          <p:cNvPr id="5" name="bk object 17">
            <a:extLst>
              <a:ext uri="{FF2B5EF4-FFF2-40B4-BE49-F238E27FC236}">
                <a16:creationId xmlns:a16="http://schemas.microsoft.com/office/drawing/2014/main" id="{81DFD61C-A848-47F2-9D23-62F9C8D1C383}"/>
              </a:ext>
            </a:extLst>
          </p:cNvPr>
          <p:cNvSpPr/>
          <p:nvPr/>
        </p:nvSpPr>
        <p:spPr>
          <a:xfrm>
            <a:off x="0" y="6497955"/>
            <a:ext cx="12192000" cy="360045"/>
          </a:xfrm>
          <a:custGeom>
            <a:avLst/>
            <a:gdLst/>
            <a:ahLst/>
            <a:cxnLst/>
            <a:rect l="l" t="t" r="r" b="b"/>
            <a:pathLst>
              <a:path w="12434570" h="360045">
                <a:moveTo>
                  <a:pt x="0" y="359994"/>
                </a:moveTo>
                <a:lnTo>
                  <a:pt x="12434404" y="359994"/>
                </a:lnTo>
                <a:lnTo>
                  <a:pt x="12434404" y="0"/>
                </a:lnTo>
                <a:lnTo>
                  <a:pt x="0" y="0"/>
                </a:lnTo>
                <a:lnTo>
                  <a:pt x="0" y="359994"/>
                </a:lnTo>
                <a:close/>
              </a:path>
            </a:pathLst>
          </a:custGeom>
          <a:solidFill>
            <a:srgbClr val="007FBA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2E07B38D-C318-4FF5-BE60-F09A54F9E823}"/>
              </a:ext>
            </a:extLst>
          </p:cNvPr>
          <p:cNvSpPr txBox="1"/>
          <p:nvPr/>
        </p:nvSpPr>
        <p:spPr>
          <a:xfrm>
            <a:off x="7278010" y="6591175"/>
            <a:ext cx="425867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100" b="0" i="0" kern="0" spc="-20" baseline="0" dirty="0">
                <a:solidFill>
                  <a:schemeClr val="bg1"/>
                </a:solidFill>
                <a:latin typeface="Segoe UI Semibold" charset="0"/>
              </a:rPr>
              <a:t>Microsoft Azure    </a:t>
            </a:r>
            <a:r>
              <a:rPr lang="en-US" sz="1100" b="0" i="0" kern="0" spc="-20" baseline="0" dirty="0">
                <a:solidFill>
                  <a:schemeClr val="bg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|  @</a:t>
            </a:r>
            <a:r>
              <a:rPr lang="en-US" sz="1100" b="0" i="0" kern="0" spc="-20" baseline="0" dirty="0" err="1">
                <a:solidFill>
                  <a:schemeClr val="bg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Techielass</a:t>
            </a:r>
            <a:endParaRPr lang="en-US" sz="1100" b="0" i="0" kern="0" spc="-20" baseline="0" dirty="0">
              <a:solidFill>
                <a:schemeClr val="bg1"/>
              </a:solidFill>
              <a:latin typeface="Segoe UI Semilight" panose="020B0402040204020203" pitchFamily="34" charset="0"/>
              <a:ea typeface="Segoe UI Semilight" charset="0"/>
              <a:cs typeface="Segoe UI Semilight" panose="020B04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5739269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E4371E87-DFE9-4054-B7FD-EEC66AA1BE82}"/>
              </a:ext>
            </a:extLst>
          </p:cNvPr>
          <p:cNvSpPr/>
          <p:nvPr/>
        </p:nvSpPr>
        <p:spPr>
          <a:xfrm>
            <a:off x="1" y="4525639"/>
            <a:ext cx="3375757" cy="1636552"/>
          </a:xfrm>
          <a:prstGeom prst="rect">
            <a:avLst/>
          </a:prstGeom>
          <a:solidFill>
            <a:schemeClr val="bg1"/>
          </a:solidFill>
          <a:ln>
            <a:noFill/>
            <a:prstDash val="dash"/>
          </a:ln>
        </p:spPr>
        <p:txBody>
          <a:bodyPr wrap="square">
            <a:spAutoFit/>
          </a:bodyPr>
          <a:lstStyle/>
          <a:p>
            <a:pPr marL="285695" indent="-285695" defTabSz="896181">
              <a:buFont typeface="Arial" panose="020B0604020202020204" pitchFamily="34" charset="0"/>
              <a:buChar char="•"/>
              <a:defRPr/>
            </a:pPr>
            <a:endParaRPr lang="en-US" sz="1569" dirty="0">
              <a:gradFill>
                <a:gsLst>
                  <a:gs pos="2917">
                    <a:srgbClr val="1A1A1A"/>
                  </a:gs>
                  <a:gs pos="30000">
                    <a:srgbClr val="1A1A1A"/>
                  </a:gs>
                </a:gsLst>
                <a:lin ang="5400000" scaled="0"/>
              </a:gradFill>
              <a:latin typeface="Segoe UI"/>
              <a:cs typeface="Segoe UI Semilight" panose="020B0402040204020203" pitchFamily="34" charset="0"/>
            </a:endParaRPr>
          </a:p>
          <a:p>
            <a:pPr marL="285695" indent="-285695" defTabSz="896181">
              <a:buFont typeface="Arial" panose="020B0604020202020204" pitchFamily="34" charset="0"/>
              <a:buChar char="•"/>
              <a:defRPr/>
            </a:pPr>
            <a:endParaRPr lang="en-US" sz="1569" dirty="0">
              <a:gradFill>
                <a:gsLst>
                  <a:gs pos="2917">
                    <a:srgbClr val="1A1A1A"/>
                  </a:gs>
                  <a:gs pos="30000">
                    <a:srgbClr val="1A1A1A"/>
                  </a:gs>
                </a:gsLst>
                <a:lin ang="5400000" scaled="0"/>
              </a:gradFill>
              <a:latin typeface="Segoe UI"/>
              <a:cs typeface="Segoe UI Semilight" panose="020B0402040204020203" pitchFamily="34" charset="0"/>
            </a:endParaRPr>
          </a:p>
          <a:p>
            <a:pPr marL="285695" indent="-285695" defTabSz="896181">
              <a:buFont typeface="Arial" panose="020B0604020202020204" pitchFamily="34" charset="0"/>
              <a:buChar char="•"/>
              <a:defRPr/>
            </a:pPr>
            <a:endParaRPr lang="en-US" sz="1569" dirty="0">
              <a:gradFill>
                <a:gsLst>
                  <a:gs pos="2917">
                    <a:srgbClr val="1A1A1A"/>
                  </a:gs>
                  <a:gs pos="30000">
                    <a:srgbClr val="1A1A1A"/>
                  </a:gs>
                </a:gsLst>
                <a:lin ang="5400000" scaled="0"/>
              </a:gradFill>
              <a:latin typeface="Segoe UI"/>
              <a:cs typeface="Segoe UI Semilight" panose="020B0402040204020203" pitchFamily="34" charset="0"/>
            </a:endParaRPr>
          </a:p>
          <a:p>
            <a:pPr marL="285695" indent="-285695" defTabSz="896181">
              <a:buFont typeface="Arial" panose="020B0604020202020204" pitchFamily="34" charset="0"/>
              <a:buChar char="•"/>
              <a:defRPr/>
            </a:pPr>
            <a:endParaRPr lang="en-US" sz="1569" dirty="0">
              <a:gradFill>
                <a:gsLst>
                  <a:gs pos="2917">
                    <a:srgbClr val="1A1A1A"/>
                  </a:gs>
                  <a:gs pos="30000">
                    <a:srgbClr val="1A1A1A"/>
                  </a:gs>
                </a:gsLst>
                <a:lin ang="5400000" scaled="0"/>
              </a:gradFill>
              <a:latin typeface="Segoe UI"/>
              <a:cs typeface="Segoe UI Semilight" panose="020B0402040204020203" pitchFamily="34" charset="0"/>
            </a:endParaRPr>
          </a:p>
          <a:p>
            <a:pPr defTabSz="914225">
              <a:defRPr/>
            </a:pPr>
            <a:endParaRPr lang="en-US" sz="1569" dirty="0">
              <a:ln>
                <a:solidFill>
                  <a:prstClr val="white"/>
                </a:solidFill>
              </a:ln>
              <a:solidFill>
                <a:prstClr val="black"/>
              </a:solidFill>
              <a:latin typeface="Segoe UI"/>
            </a:endParaRPr>
          </a:p>
          <a:p>
            <a:pPr defTabSz="914225">
              <a:defRPr/>
            </a:pPr>
            <a:endParaRPr lang="en-US" sz="800" dirty="0">
              <a:ln>
                <a:solidFill>
                  <a:prstClr val="white"/>
                </a:solidFill>
              </a:ln>
              <a:solidFill>
                <a:prstClr val="black"/>
              </a:solidFill>
              <a:latin typeface="Segoe UI"/>
            </a:endParaRPr>
          </a:p>
          <a:p>
            <a:pPr defTabSz="914225">
              <a:defRPr/>
            </a:pPr>
            <a:r>
              <a:rPr lang="en-US" sz="1400" dirty="0">
                <a:ln>
                  <a:solidFill>
                    <a:prstClr val="white"/>
                  </a:solidFill>
                </a:ln>
                <a:solidFill>
                  <a:prstClr val="black"/>
                </a:solidFill>
                <a:latin typeface="Segoe UI"/>
              </a:rPr>
              <a:t> 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36B2F32-D3F8-43EA-86DE-9214CFABE44F}"/>
              </a:ext>
            </a:extLst>
          </p:cNvPr>
          <p:cNvSpPr txBox="1">
            <a:spLocks/>
          </p:cNvSpPr>
          <p:nvPr/>
        </p:nvSpPr>
        <p:spPr>
          <a:xfrm>
            <a:off x="589825" y="458045"/>
            <a:ext cx="11015394" cy="553841"/>
          </a:xfrm>
          <a:prstGeom prst="rect">
            <a:avLst/>
          </a:prstGeom>
        </p:spPr>
        <p:txBody>
          <a:bodyPr vert="horz" wrap="square" lIns="0" tIns="89630" rIns="143407" bIns="89630" rtlCol="0" anchor="t">
            <a:noAutofit/>
          </a:bodyPr>
          <a:lstStyle>
            <a:lvl1pPr algn="l" defTabSz="93256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800" b="0" kern="1200" cap="none" spc="-50" baseline="0" dirty="0" smtClean="0">
                <a:ln w="3175">
                  <a:noFill/>
                </a:ln>
                <a:solidFill>
                  <a:srgbClr val="000000"/>
                </a:soli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defTabSz="914225">
              <a:lnSpc>
                <a:spcPct val="100000"/>
              </a:lnSpc>
              <a:spcBef>
                <a:spcPts val="0"/>
              </a:spcBef>
              <a:defRPr/>
            </a:pPr>
            <a:endParaRPr lang="en-US" sz="2745" dirty="0">
              <a:latin typeface="Segoe UI Semibold (Headings)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83FA528-0650-7944-A922-2E82C920336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5995" y="433143"/>
            <a:ext cx="11303917" cy="813704"/>
          </a:xfrm>
        </p:spPr>
        <p:txBody>
          <a:bodyPr/>
          <a:lstStyle/>
          <a:p>
            <a:r>
              <a:rPr lang="en-US" dirty="0"/>
              <a:t>Migration: Replication Bandwidth Throttling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23099729-79AE-7C4C-8FE1-7B124FE110FE}"/>
              </a:ext>
            </a:extLst>
          </p:cNvPr>
          <p:cNvSpPr/>
          <p:nvPr/>
        </p:nvSpPr>
        <p:spPr>
          <a:xfrm>
            <a:off x="543148" y="2916375"/>
            <a:ext cx="2842787" cy="693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896181">
              <a:defRPr/>
            </a:pPr>
            <a:r>
              <a:rPr lang="en-US" sz="1961" dirty="0">
                <a:solidFill>
                  <a:srgbClr val="0078D4"/>
                </a:solidFill>
                <a:latin typeface="Segoe UI Semibold (Headings)"/>
                <a:cs typeface="Segoe UI Semilight" panose="020B0402040204020203" pitchFamily="34" charset="0"/>
              </a:rPr>
              <a:t>For agentless VMware migrations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EA22C719-2B22-CE4A-9132-093D82D9CF99}"/>
              </a:ext>
            </a:extLst>
          </p:cNvPr>
          <p:cNvSpPr/>
          <p:nvPr/>
        </p:nvSpPr>
        <p:spPr>
          <a:xfrm>
            <a:off x="543148" y="3746023"/>
            <a:ext cx="2842787" cy="81428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1" defTabSz="896181">
              <a:spcAft>
                <a:spcPts val="588"/>
              </a:spcAft>
              <a:defRPr/>
            </a:pPr>
            <a:r>
              <a:rPr lang="en-US" sz="1567" b="1" dirty="0">
                <a:gradFill>
                  <a:gsLst>
                    <a:gs pos="2917">
                      <a:srgbClr val="1A1A1A"/>
                    </a:gs>
                    <a:gs pos="30000">
                      <a:srgbClr val="1A1A1A"/>
                    </a:gs>
                  </a:gsLst>
                  <a:lin ang="5400000" scaled="0"/>
                </a:gradFill>
                <a:cs typeface="Segoe UI Semilight" panose="020B0402040204020203" pitchFamily="34" charset="0"/>
              </a:rPr>
              <a:t>Set the </a:t>
            </a:r>
            <a:r>
              <a:rPr lang="en-US" sz="1567" b="1" dirty="0" err="1">
                <a:gradFill>
                  <a:gsLst>
                    <a:gs pos="2917">
                      <a:srgbClr val="1A1A1A"/>
                    </a:gs>
                    <a:gs pos="30000">
                      <a:srgbClr val="1A1A1A"/>
                    </a:gs>
                  </a:gsLst>
                  <a:lin ang="5400000" scaled="0"/>
                </a:gradFill>
                <a:cs typeface="Segoe UI Semilight" panose="020B0402040204020203" pitchFamily="34" charset="0"/>
              </a:rPr>
              <a:t>NetQoSPolicy</a:t>
            </a:r>
            <a:r>
              <a:rPr lang="en-US" sz="1567" b="1" dirty="0">
                <a:gradFill>
                  <a:gsLst>
                    <a:gs pos="2917">
                      <a:srgbClr val="1A1A1A"/>
                    </a:gs>
                    <a:gs pos="30000">
                      <a:srgbClr val="1A1A1A"/>
                    </a:gs>
                  </a:gsLst>
                  <a:lin ang="5400000" scaled="0"/>
                </a:gradFill>
                <a:cs typeface="Segoe UI Semilight" panose="020B0402040204020203" pitchFamily="34" charset="0"/>
              </a:rPr>
              <a:t> with throttle rate on Azure Migrate applianc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2BA772E0-8905-574D-9787-BB600144EEB9}"/>
              </a:ext>
            </a:extLst>
          </p:cNvPr>
          <p:cNvSpPr/>
          <p:nvPr/>
        </p:nvSpPr>
        <p:spPr>
          <a:xfrm>
            <a:off x="3872058" y="2916375"/>
            <a:ext cx="3150092" cy="693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896181">
              <a:defRPr/>
            </a:pPr>
            <a:r>
              <a:rPr lang="en-US" sz="1961" dirty="0">
                <a:solidFill>
                  <a:srgbClr val="0078D4"/>
                </a:solidFill>
                <a:latin typeface="Segoe UI Semibold (Headings)"/>
                <a:cs typeface="Segoe UI Semilight" panose="020B0402040204020203" pitchFamily="34" charset="0"/>
              </a:rPr>
              <a:t>For agentless Hyper-V migration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7A6B66F7-F80B-7243-95DE-EB30C1B1F629}"/>
              </a:ext>
            </a:extLst>
          </p:cNvPr>
          <p:cNvSpPr/>
          <p:nvPr/>
        </p:nvSpPr>
        <p:spPr>
          <a:xfrm>
            <a:off x="3872058" y="3746024"/>
            <a:ext cx="3375757" cy="217142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1" defTabSz="896181">
              <a:spcAft>
                <a:spcPts val="588"/>
              </a:spcAft>
              <a:defRPr/>
            </a:pPr>
            <a:r>
              <a:rPr lang="en-US" sz="1567" b="1" dirty="0">
                <a:gradFill>
                  <a:gsLst>
                    <a:gs pos="2917">
                      <a:srgbClr val="1A1A1A"/>
                    </a:gs>
                    <a:gs pos="30000">
                      <a:srgbClr val="1A1A1A"/>
                    </a:gs>
                  </a:gsLst>
                  <a:lin ang="5400000" scaled="0"/>
                </a:gradFill>
                <a:cs typeface="Segoe UI Semilight" panose="020B0402040204020203" pitchFamily="34" charset="0"/>
              </a:rPr>
              <a:t>On the Hyper-V host</a:t>
            </a:r>
          </a:p>
          <a:p>
            <a:pPr marL="0" lvl="1" defTabSz="896181">
              <a:spcAft>
                <a:spcPts val="588"/>
              </a:spcAft>
              <a:defRPr/>
            </a:pPr>
            <a:r>
              <a:rPr lang="en-US" sz="1567" dirty="0">
                <a:gradFill>
                  <a:gsLst>
                    <a:gs pos="2917">
                      <a:srgbClr val="1A1A1A"/>
                    </a:gs>
                    <a:gs pos="30000">
                      <a:srgbClr val="1A1A1A"/>
                    </a:gs>
                  </a:gsLst>
                  <a:lin ang="5400000" scaled="0"/>
                </a:gradFill>
                <a:cs typeface="Segoe UI Semilight" panose="020B0402040204020203" pitchFamily="34" charset="0"/>
              </a:rPr>
              <a:t>To control upload bandwidth, use the Windows Azure Backup MMC snap-in and configure maximum bandwidth to use</a:t>
            </a:r>
          </a:p>
          <a:p>
            <a:pPr marL="0" lvl="1" defTabSz="896181">
              <a:spcAft>
                <a:spcPts val="588"/>
              </a:spcAft>
              <a:defRPr/>
            </a:pPr>
            <a:r>
              <a:rPr lang="en-US" sz="1567" dirty="0">
                <a:gradFill>
                  <a:gsLst>
                    <a:gs pos="2917">
                      <a:srgbClr val="1A1A1A"/>
                    </a:gs>
                    <a:gs pos="30000">
                      <a:srgbClr val="1A1A1A"/>
                    </a:gs>
                  </a:gsLst>
                  <a:lin ang="5400000" scaled="0"/>
                </a:gradFill>
                <a:cs typeface="Segoe UI Semilight" panose="020B0402040204020203" pitchFamily="34" charset="0"/>
              </a:rPr>
              <a:t>To increase upload efficacy, increase the number of threads used for data upload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0EB5E96C-52FF-C24A-B175-138BCE101907}"/>
              </a:ext>
            </a:extLst>
          </p:cNvPr>
          <p:cNvSpPr/>
          <p:nvPr/>
        </p:nvSpPr>
        <p:spPr>
          <a:xfrm>
            <a:off x="7918420" y="2916375"/>
            <a:ext cx="3150092" cy="693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896181">
              <a:defRPr/>
            </a:pPr>
            <a:r>
              <a:rPr lang="en-US" sz="1961" dirty="0">
                <a:solidFill>
                  <a:srgbClr val="0078D4"/>
                </a:solidFill>
                <a:latin typeface="Segoe UI Semibold (Headings)"/>
                <a:cs typeface="Segoe UI Semilight" panose="020B0402040204020203" pitchFamily="34" charset="0"/>
              </a:rPr>
              <a:t>For agent-based migrations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ECE7CF25-27D8-884B-9BCF-A3820FA06C77}"/>
              </a:ext>
            </a:extLst>
          </p:cNvPr>
          <p:cNvSpPr/>
          <p:nvPr/>
        </p:nvSpPr>
        <p:spPr>
          <a:xfrm>
            <a:off x="7918420" y="3746024"/>
            <a:ext cx="3535898" cy="265393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1" defTabSz="896181">
              <a:spcAft>
                <a:spcPts val="588"/>
              </a:spcAft>
              <a:defRPr/>
            </a:pPr>
            <a:r>
              <a:rPr lang="en-US" sz="1567" b="1" dirty="0">
                <a:gradFill>
                  <a:gsLst>
                    <a:gs pos="2917">
                      <a:srgbClr val="1A1A1A"/>
                    </a:gs>
                    <a:gs pos="30000">
                      <a:srgbClr val="1A1A1A"/>
                    </a:gs>
                  </a:gsLst>
                  <a:lin ang="5400000" scaled="0"/>
                </a:gradFill>
                <a:cs typeface="Segoe UI Semilight" panose="020B0402040204020203" pitchFamily="34" charset="0"/>
              </a:rPr>
              <a:t>On the replication appliance (configuration server) and/or scale-out process servers</a:t>
            </a:r>
          </a:p>
          <a:p>
            <a:pPr marL="0" lvl="1" defTabSz="896181">
              <a:spcAft>
                <a:spcPts val="588"/>
              </a:spcAft>
              <a:defRPr/>
            </a:pPr>
            <a:r>
              <a:rPr lang="en-US" sz="1567" dirty="0">
                <a:gradFill>
                  <a:gsLst>
                    <a:gs pos="2917">
                      <a:srgbClr val="1A1A1A"/>
                    </a:gs>
                    <a:gs pos="30000">
                      <a:srgbClr val="1A1A1A"/>
                    </a:gs>
                  </a:gsLst>
                  <a:lin ang="5400000" scaled="0"/>
                </a:gradFill>
                <a:cs typeface="Segoe UI Semilight" panose="020B0402040204020203" pitchFamily="34" charset="0"/>
              </a:rPr>
              <a:t>To control upload throughput, use the Windows Azure Backup MMC snap-in and configure maximum bandwidth to use</a:t>
            </a:r>
          </a:p>
          <a:p>
            <a:pPr marL="0" lvl="1" defTabSz="896181">
              <a:spcAft>
                <a:spcPts val="588"/>
              </a:spcAft>
              <a:defRPr/>
            </a:pPr>
            <a:r>
              <a:rPr lang="en-US" sz="1567" dirty="0">
                <a:gradFill>
                  <a:gsLst>
                    <a:gs pos="2917">
                      <a:srgbClr val="1A1A1A"/>
                    </a:gs>
                    <a:gs pos="30000">
                      <a:srgbClr val="1A1A1A"/>
                    </a:gs>
                  </a:gsLst>
                  <a:lin ang="5400000" scaled="0"/>
                </a:gradFill>
                <a:cs typeface="Segoe UI Semilight" panose="020B0402040204020203" pitchFamily="34" charset="0"/>
              </a:rPr>
              <a:t>To increase upload efficacy, increase the number of threads used for data upload</a:t>
            </a:r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1093C890-150D-BB4D-851C-51731602D4A3}"/>
              </a:ext>
            </a:extLst>
          </p:cNvPr>
          <p:cNvGrpSpPr/>
          <p:nvPr/>
        </p:nvGrpSpPr>
        <p:grpSpPr>
          <a:xfrm>
            <a:off x="3622381" y="1934958"/>
            <a:ext cx="3872057" cy="4464998"/>
            <a:chOff x="3695017" y="1973262"/>
            <a:chExt cx="3949700" cy="3906838"/>
          </a:xfrm>
        </p:grpSpPr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0D82EE8A-3FC6-EF41-BD6D-518545009578}"/>
                </a:ext>
              </a:extLst>
            </p:cNvPr>
            <p:cNvCxnSpPr>
              <a:cxnSpLocks/>
            </p:cNvCxnSpPr>
            <p:nvPr/>
          </p:nvCxnSpPr>
          <p:spPr>
            <a:xfrm>
              <a:off x="7644717" y="1973262"/>
              <a:ext cx="0" cy="390683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CAEC5409-1D61-8040-9CAA-C7A627211600}"/>
                </a:ext>
              </a:extLst>
            </p:cNvPr>
            <p:cNvCxnSpPr>
              <a:cxnSpLocks/>
            </p:cNvCxnSpPr>
            <p:nvPr/>
          </p:nvCxnSpPr>
          <p:spPr>
            <a:xfrm>
              <a:off x="3695017" y="1973262"/>
              <a:ext cx="0" cy="390683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22" name="Picture 21">
            <a:extLst>
              <a:ext uri="{FF2B5EF4-FFF2-40B4-BE49-F238E27FC236}">
                <a16:creationId xmlns:a16="http://schemas.microsoft.com/office/drawing/2014/main" id="{6086CF8C-3308-6A4A-9AAF-0515186229D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966729" y="1906457"/>
            <a:ext cx="738912" cy="738912"/>
          </a:xfrm>
          <a:prstGeom prst="rect">
            <a:avLst/>
          </a:prstGeom>
        </p:spPr>
      </p:pic>
      <p:pic>
        <p:nvPicPr>
          <p:cNvPr id="23" name="Picture 22">
            <a:extLst>
              <a:ext uri="{FF2B5EF4-FFF2-40B4-BE49-F238E27FC236}">
                <a16:creationId xmlns:a16="http://schemas.microsoft.com/office/drawing/2014/main" id="{ED2C0DCB-4AD2-5541-BB14-0A8D44F1476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77970" y="2062692"/>
            <a:ext cx="582676" cy="582676"/>
          </a:xfrm>
          <a:prstGeom prst="rect">
            <a:avLst/>
          </a:prstGeom>
        </p:spPr>
      </p:pic>
      <p:pic>
        <p:nvPicPr>
          <p:cNvPr id="24" name="Picture 23">
            <a:extLst>
              <a:ext uri="{FF2B5EF4-FFF2-40B4-BE49-F238E27FC236}">
                <a16:creationId xmlns:a16="http://schemas.microsoft.com/office/drawing/2014/main" id="{8841D935-64E8-4245-A913-7C3A2711B42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964861" y="2062692"/>
            <a:ext cx="582676" cy="582676"/>
          </a:xfrm>
          <a:prstGeom prst="rect">
            <a:avLst/>
          </a:prstGeom>
        </p:spPr>
      </p:pic>
      <p:sp>
        <p:nvSpPr>
          <p:cNvPr id="4" name="bk object 17">
            <a:extLst>
              <a:ext uri="{FF2B5EF4-FFF2-40B4-BE49-F238E27FC236}">
                <a16:creationId xmlns:a16="http://schemas.microsoft.com/office/drawing/2014/main" id="{847C4805-DACB-4013-AB93-F3896DBE769F}"/>
              </a:ext>
            </a:extLst>
          </p:cNvPr>
          <p:cNvSpPr/>
          <p:nvPr/>
        </p:nvSpPr>
        <p:spPr>
          <a:xfrm>
            <a:off x="0" y="6497955"/>
            <a:ext cx="12192000" cy="360045"/>
          </a:xfrm>
          <a:custGeom>
            <a:avLst/>
            <a:gdLst/>
            <a:ahLst/>
            <a:cxnLst/>
            <a:rect l="l" t="t" r="r" b="b"/>
            <a:pathLst>
              <a:path w="12434570" h="360045">
                <a:moveTo>
                  <a:pt x="0" y="359994"/>
                </a:moveTo>
                <a:lnTo>
                  <a:pt x="12434404" y="359994"/>
                </a:lnTo>
                <a:lnTo>
                  <a:pt x="12434404" y="0"/>
                </a:lnTo>
                <a:lnTo>
                  <a:pt x="0" y="0"/>
                </a:lnTo>
                <a:lnTo>
                  <a:pt x="0" y="359994"/>
                </a:lnTo>
                <a:close/>
              </a:path>
            </a:pathLst>
          </a:custGeom>
          <a:solidFill>
            <a:srgbClr val="007FBA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D3EEE29A-745B-4D0F-B50D-CA3B16DF6AD9}"/>
              </a:ext>
            </a:extLst>
          </p:cNvPr>
          <p:cNvSpPr txBox="1"/>
          <p:nvPr/>
        </p:nvSpPr>
        <p:spPr>
          <a:xfrm>
            <a:off x="7278010" y="6591175"/>
            <a:ext cx="425867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100" b="0" i="0" kern="0" spc="-20" baseline="0" dirty="0">
                <a:solidFill>
                  <a:schemeClr val="bg1"/>
                </a:solidFill>
                <a:latin typeface="Segoe UI Semibold" charset="0"/>
              </a:rPr>
              <a:t>Microsoft Azure    </a:t>
            </a:r>
            <a:r>
              <a:rPr lang="en-US" sz="1100" b="0" i="0" kern="0" spc="-20" baseline="0" dirty="0">
                <a:solidFill>
                  <a:schemeClr val="bg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|  @</a:t>
            </a:r>
            <a:r>
              <a:rPr lang="en-US" sz="1100" b="0" i="0" kern="0" spc="-20" baseline="0" dirty="0" err="1">
                <a:solidFill>
                  <a:schemeClr val="bg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Techielass</a:t>
            </a:r>
            <a:endParaRPr lang="en-US" sz="1100" b="0" i="0" kern="0" spc="-20" baseline="0" dirty="0">
              <a:solidFill>
                <a:schemeClr val="bg1"/>
              </a:solidFill>
              <a:latin typeface="Segoe UI Semilight" panose="020B0402040204020203" pitchFamily="34" charset="0"/>
              <a:ea typeface="Segoe UI Semilight" charset="0"/>
              <a:cs typeface="Segoe UI Semilight" panose="020B04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8205860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" name="Rectangle 61">
            <a:extLst>
              <a:ext uri="{FF2B5EF4-FFF2-40B4-BE49-F238E27FC236}">
                <a16:creationId xmlns:a16="http://schemas.microsoft.com/office/drawing/2014/main" id="{17058819-809D-714C-A0C5-C3FF4E186B4B}"/>
              </a:ext>
            </a:extLst>
          </p:cNvPr>
          <p:cNvSpPr/>
          <p:nvPr/>
        </p:nvSpPr>
        <p:spPr bwMode="auto">
          <a:xfrm>
            <a:off x="5689983" y="487"/>
            <a:ext cx="6502018" cy="6857027"/>
          </a:xfrm>
          <a:prstGeom prst="rect">
            <a:avLst/>
          </a:prstGeom>
          <a:solidFill>
            <a:srgbClr val="FFFFFF">
              <a:lumMod val="95000"/>
            </a:srgb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2353" ker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14" name="Rectangle 113">
            <a:extLst>
              <a:ext uri="{FF2B5EF4-FFF2-40B4-BE49-F238E27FC236}">
                <a16:creationId xmlns:a16="http://schemas.microsoft.com/office/drawing/2014/main" id="{7CC3D3CD-60C6-4BC8-9695-9878A24B3208}"/>
              </a:ext>
            </a:extLst>
          </p:cNvPr>
          <p:cNvSpPr/>
          <p:nvPr/>
        </p:nvSpPr>
        <p:spPr>
          <a:xfrm>
            <a:off x="411561" y="1815319"/>
            <a:ext cx="4374198" cy="4320533"/>
          </a:xfrm>
          <a:prstGeom prst="rect">
            <a:avLst/>
          </a:prstGeom>
          <a:noFill/>
          <a:ln>
            <a:noFill/>
            <a:prstDash val="dash"/>
          </a:ln>
        </p:spPr>
        <p:txBody>
          <a:bodyPr wrap="square">
            <a:spAutoFit/>
          </a:bodyPr>
          <a:lstStyle/>
          <a:p>
            <a:pPr defTabSz="896181">
              <a:spcBef>
                <a:spcPts val="588"/>
              </a:spcBef>
              <a:spcAft>
                <a:spcPts val="588"/>
              </a:spcAft>
              <a:defRPr/>
            </a:pPr>
            <a:r>
              <a:rPr lang="en-US" sz="1569" b="1" dirty="0">
                <a:solidFill>
                  <a:schemeClr val="tx2"/>
                </a:solidFill>
                <a:latin typeface="Segoe UI"/>
                <a:cs typeface="Segoe UI Semilight" panose="020B0402040204020203" pitchFamily="34" charset="0"/>
              </a:rPr>
              <a:t>Replication data </a:t>
            </a:r>
            <a:r>
              <a:rPr lang="en-US" sz="1569" dirty="0">
                <a:gradFill>
                  <a:gsLst>
                    <a:gs pos="2917">
                      <a:srgbClr val="1A1A1A"/>
                    </a:gs>
                    <a:gs pos="30000">
                      <a:srgbClr val="1A1A1A"/>
                    </a:gs>
                  </a:gsLst>
                  <a:lin ang="5400000" scaled="0"/>
                </a:gradFill>
                <a:latin typeface="Segoe UI"/>
                <a:cs typeface="Segoe UI Semilight" panose="020B0402040204020203" pitchFamily="34" charset="0"/>
              </a:rPr>
              <a:t>can be routed through ExpressRoute with Microsoft Peering</a:t>
            </a:r>
          </a:p>
          <a:p>
            <a:pPr defTabSz="896181">
              <a:spcBef>
                <a:spcPts val="588"/>
              </a:spcBef>
              <a:spcAft>
                <a:spcPts val="588"/>
              </a:spcAft>
              <a:defRPr/>
            </a:pPr>
            <a:r>
              <a:rPr lang="en-US" sz="1569" b="1" dirty="0">
                <a:solidFill>
                  <a:schemeClr val="tx2"/>
                </a:solidFill>
                <a:latin typeface="Segoe UI"/>
                <a:cs typeface="Segoe UI Semilight" panose="020B0402040204020203" pitchFamily="34" charset="0"/>
              </a:rPr>
              <a:t>Control plane </a:t>
            </a:r>
            <a:r>
              <a:rPr lang="en-US" sz="1569" dirty="0">
                <a:gradFill>
                  <a:gsLst>
                    <a:gs pos="2917">
                      <a:srgbClr val="1A1A1A"/>
                    </a:gs>
                    <a:gs pos="30000">
                      <a:srgbClr val="1A1A1A"/>
                    </a:gs>
                  </a:gsLst>
                  <a:lin ang="5400000" scaled="0"/>
                </a:gradFill>
                <a:latin typeface="Segoe UI"/>
                <a:cs typeface="Segoe UI Semilight" panose="020B0402040204020203" pitchFamily="34" charset="0"/>
              </a:rPr>
              <a:t>(replication orchestration) communications happen over the Internet </a:t>
            </a:r>
          </a:p>
          <a:p>
            <a:pPr defTabSz="896181">
              <a:spcBef>
                <a:spcPts val="588"/>
              </a:spcBef>
              <a:spcAft>
                <a:spcPts val="588"/>
              </a:spcAft>
              <a:defRPr/>
            </a:pPr>
            <a:r>
              <a:rPr lang="en-US" sz="1569" b="1" dirty="0">
                <a:solidFill>
                  <a:schemeClr val="tx2"/>
                </a:solidFill>
                <a:latin typeface="Segoe UI"/>
                <a:cs typeface="Segoe UI Semilight" panose="020B0402040204020203" pitchFamily="34" charset="0"/>
              </a:rPr>
              <a:t>To configure Microsoft Peering </a:t>
            </a:r>
            <a:r>
              <a:rPr lang="en-US" sz="1569" dirty="0">
                <a:solidFill>
                  <a:srgbClr val="44546A">
                    <a:lumMod val="50000"/>
                  </a:srgbClr>
                </a:solidFill>
                <a:latin typeface="Segoe UI"/>
                <a:cs typeface="Segoe UI Semilight" panose="020B0402040204020203" pitchFamily="34" charset="0"/>
              </a:rPr>
              <a:t>for replication data transfer, advertise routes </a:t>
            </a:r>
            <a:r>
              <a:rPr lang="en-US" sz="1569" dirty="0">
                <a:gradFill>
                  <a:gsLst>
                    <a:gs pos="2917">
                      <a:srgbClr val="1A1A1A"/>
                    </a:gs>
                    <a:gs pos="30000">
                      <a:srgbClr val="1A1A1A"/>
                    </a:gs>
                  </a:gsLst>
                  <a:lin ang="5400000" scaled="0"/>
                </a:gradFill>
                <a:latin typeface="Segoe UI"/>
                <a:cs typeface="Segoe UI Semilight" panose="020B0402040204020203" pitchFamily="34" charset="0"/>
              </a:rPr>
              <a:t>for following BGP communities –</a:t>
            </a:r>
          </a:p>
          <a:p>
            <a:pPr marL="161848" indent="-161848" defTabSz="896181">
              <a:spcAft>
                <a:spcPts val="588"/>
              </a:spcAft>
              <a:buSzPct val="100000"/>
              <a:buFont typeface="Arial" panose="020B0604020202020204" pitchFamily="34" charset="0"/>
              <a:buChar char="•"/>
              <a:defRPr/>
            </a:pPr>
            <a:r>
              <a:rPr lang="en-US" sz="1568" dirty="0">
                <a:gradFill>
                  <a:gsLst>
                    <a:gs pos="2917">
                      <a:srgbClr val="1A1A1A"/>
                    </a:gs>
                    <a:gs pos="30000">
                      <a:srgbClr val="1A1A1A"/>
                    </a:gs>
                  </a:gsLst>
                  <a:lin ang="5400000" scaled="0"/>
                </a:gradFill>
                <a:latin typeface="Segoe UI"/>
                <a:cs typeface="Segoe UI Semilight" panose="020B0402040204020203" pitchFamily="34" charset="0"/>
              </a:rPr>
              <a:t>Regional BGP community for the source Azure region (Azure Migrate Project region)</a:t>
            </a:r>
          </a:p>
          <a:p>
            <a:pPr marL="161848" indent="-161848" defTabSz="896181">
              <a:spcAft>
                <a:spcPts val="588"/>
              </a:spcAft>
              <a:buSzPct val="100000"/>
              <a:buFont typeface="Arial" panose="020B0604020202020204" pitchFamily="34" charset="0"/>
              <a:buChar char="•"/>
              <a:defRPr/>
            </a:pPr>
            <a:r>
              <a:rPr lang="en-US" sz="1568" dirty="0">
                <a:gradFill>
                  <a:gsLst>
                    <a:gs pos="2917">
                      <a:srgbClr val="1A1A1A"/>
                    </a:gs>
                    <a:gs pos="30000">
                      <a:srgbClr val="1A1A1A"/>
                    </a:gs>
                  </a:gsLst>
                  <a:lin ang="5400000" scaled="0"/>
                </a:gradFill>
                <a:latin typeface="Segoe UI"/>
                <a:cs typeface="Segoe UI Semilight" panose="020B0402040204020203" pitchFamily="34" charset="0"/>
              </a:rPr>
              <a:t>Regional BGP community for the target Azure region (region for migration)</a:t>
            </a:r>
          </a:p>
          <a:p>
            <a:pPr marL="161848" indent="-161848" defTabSz="896181">
              <a:spcAft>
                <a:spcPts val="588"/>
              </a:spcAft>
              <a:buSzPct val="100000"/>
              <a:buFont typeface="Arial" panose="020B0604020202020204" pitchFamily="34" charset="0"/>
              <a:buChar char="•"/>
              <a:defRPr/>
            </a:pPr>
            <a:r>
              <a:rPr lang="en-US" sz="1568" dirty="0">
                <a:gradFill>
                  <a:gsLst>
                    <a:gs pos="2917">
                      <a:srgbClr val="1A1A1A"/>
                    </a:gs>
                    <a:gs pos="30000">
                      <a:srgbClr val="1A1A1A"/>
                    </a:gs>
                  </a:gsLst>
                  <a:lin ang="5400000" scaled="0"/>
                </a:gradFill>
                <a:latin typeface="Segoe UI"/>
                <a:cs typeface="Segoe UI Semilight" panose="020B0402040204020203" pitchFamily="34" charset="0"/>
              </a:rPr>
              <a:t>BGP community for Azure Active Directory (12076:5060)</a:t>
            </a:r>
          </a:p>
          <a:p>
            <a:pPr defTabSz="896181">
              <a:spcAft>
                <a:spcPts val="588"/>
              </a:spcAft>
              <a:defRPr/>
            </a:pPr>
            <a:r>
              <a:rPr lang="en-US" sz="1569" dirty="0">
                <a:gradFill>
                  <a:gsLst>
                    <a:gs pos="2917">
                      <a:srgbClr val="1A1A1A"/>
                    </a:gs>
                    <a:gs pos="30000">
                      <a:srgbClr val="1A1A1A"/>
                    </a:gs>
                  </a:gsLst>
                  <a:lin ang="5400000" scaled="0"/>
                </a:gradFill>
                <a:latin typeface="Segoe UI"/>
                <a:cs typeface="Segoe UI Semilight" panose="020B0402040204020203" pitchFamily="34" charset="0"/>
              </a:rPr>
              <a:t>If using proxy setup on-premise, then configure proxy bypass for “</a:t>
            </a:r>
            <a:r>
              <a:rPr lang="en-US" sz="1569" i="1" dirty="0">
                <a:gradFill>
                  <a:gsLst>
                    <a:gs pos="2917">
                      <a:srgbClr val="1A1A1A"/>
                    </a:gs>
                    <a:gs pos="30000">
                      <a:srgbClr val="1A1A1A"/>
                    </a:gs>
                  </a:gsLst>
                  <a:lin ang="5400000" scaled="0"/>
                </a:gradFill>
                <a:latin typeface="Segoe UI"/>
                <a:cs typeface="Segoe UI Semilight" panose="020B0402040204020203" pitchFamily="34" charset="0"/>
              </a:rPr>
              <a:t>.*.</a:t>
            </a:r>
            <a:r>
              <a:rPr lang="en-US" sz="1569" i="1" dirty="0" err="1">
                <a:gradFill>
                  <a:gsLst>
                    <a:gs pos="2917">
                      <a:srgbClr val="1A1A1A"/>
                    </a:gs>
                    <a:gs pos="30000">
                      <a:srgbClr val="1A1A1A"/>
                    </a:gs>
                  </a:gsLst>
                  <a:lin ang="5400000" scaled="0"/>
                </a:gradFill>
                <a:latin typeface="Segoe UI"/>
                <a:cs typeface="Segoe UI Semilight" panose="020B0402040204020203" pitchFamily="34" charset="0"/>
              </a:rPr>
              <a:t>blob.core.windows</a:t>
            </a:r>
            <a:r>
              <a:rPr lang="en-US" sz="1600" i="1" dirty="0" err="1">
                <a:gradFill>
                  <a:gsLst>
                    <a:gs pos="2917">
                      <a:srgbClr val="1A1A1A"/>
                    </a:gs>
                    <a:gs pos="30000">
                      <a:srgbClr val="1A1A1A"/>
                    </a:gs>
                  </a:gsLst>
                  <a:lin ang="5400000" scaled="0"/>
                </a:gradFill>
                <a:latin typeface="Segoe UI"/>
                <a:cs typeface="Segoe UI Semilight" panose="020B0402040204020203" pitchFamily="34" charset="0"/>
              </a:rPr>
              <a:t>.net</a:t>
            </a:r>
            <a:r>
              <a:rPr lang="en-US" sz="1600" dirty="0">
                <a:gradFill>
                  <a:gsLst>
                    <a:gs pos="2917">
                      <a:srgbClr val="1A1A1A"/>
                    </a:gs>
                    <a:gs pos="30000">
                      <a:srgbClr val="1A1A1A"/>
                    </a:gs>
                  </a:gsLst>
                  <a:lin ang="5400000" scaled="0"/>
                </a:gradFill>
                <a:latin typeface="Segoe UI"/>
                <a:cs typeface="Segoe UI Semilight" panose="020B0402040204020203" pitchFamily="34" charset="0"/>
              </a:rPr>
              <a:t>”</a:t>
            </a:r>
            <a:endParaRPr lang="en-US" sz="1400" dirty="0">
              <a:ln>
                <a:solidFill>
                  <a:prstClr val="white"/>
                </a:solidFill>
              </a:ln>
              <a:gradFill>
                <a:gsLst>
                  <a:gs pos="2917">
                    <a:srgbClr val="1A1A1A"/>
                  </a:gs>
                  <a:gs pos="30000">
                    <a:srgbClr val="1A1A1A"/>
                  </a:gs>
                </a:gsLst>
                <a:lin ang="5400000" scaled="0"/>
              </a:gradFill>
              <a:latin typeface="Segoe UI"/>
              <a:cs typeface="Segoe UI Semilight" panose="020B0402040204020203" pitchFamily="34" charset="0"/>
            </a:endParaRP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46644933-C5C8-42EB-80A5-0CC0565AAD2F}"/>
              </a:ext>
            </a:extLst>
          </p:cNvPr>
          <p:cNvSpPr txBox="1">
            <a:spLocks/>
          </p:cNvSpPr>
          <p:nvPr/>
        </p:nvSpPr>
        <p:spPr>
          <a:xfrm>
            <a:off x="589825" y="458045"/>
            <a:ext cx="11015394" cy="553841"/>
          </a:xfrm>
          <a:prstGeom prst="rect">
            <a:avLst/>
          </a:prstGeom>
        </p:spPr>
        <p:txBody>
          <a:bodyPr vert="horz" wrap="square" lIns="0" tIns="89630" rIns="143407" bIns="89630" rtlCol="0" anchor="t">
            <a:noAutofit/>
          </a:bodyPr>
          <a:lstStyle>
            <a:lvl1pPr algn="l" defTabSz="93256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800" b="0" kern="1200" cap="none" spc="-50" baseline="0" dirty="0" smtClean="0">
                <a:ln w="3175">
                  <a:noFill/>
                </a:ln>
                <a:solidFill>
                  <a:srgbClr val="000000"/>
                </a:soli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defTabSz="914225">
              <a:lnSpc>
                <a:spcPct val="100000"/>
              </a:lnSpc>
              <a:spcBef>
                <a:spcPts val="0"/>
              </a:spcBef>
              <a:defRPr/>
            </a:pPr>
            <a:endParaRPr lang="en-US" sz="1765" i="1" dirty="0">
              <a:solidFill>
                <a:prstClr val="black"/>
              </a:solidFill>
              <a:latin typeface="Segoe UI Semibold (Headings)"/>
            </a:endParaRPr>
          </a:p>
        </p:txBody>
      </p:sp>
      <p:cxnSp>
        <p:nvCxnSpPr>
          <p:cNvPr id="85" name="Straight Connector 84">
            <a:extLst>
              <a:ext uri="{FF2B5EF4-FFF2-40B4-BE49-F238E27FC236}">
                <a16:creationId xmlns:a16="http://schemas.microsoft.com/office/drawing/2014/main" id="{D79B1A02-1A98-49A4-BE78-EBECAC841412}"/>
              </a:ext>
            </a:extLst>
          </p:cNvPr>
          <p:cNvCxnSpPr>
            <a:cxnSpLocks/>
          </p:cNvCxnSpPr>
          <p:nvPr/>
        </p:nvCxnSpPr>
        <p:spPr>
          <a:xfrm flipV="1">
            <a:off x="6096000" y="5763562"/>
            <a:ext cx="482673" cy="3342"/>
          </a:xfrm>
          <a:prstGeom prst="line">
            <a:avLst/>
          </a:prstGeom>
          <a:ln w="190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Straight Connector 87">
            <a:extLst>
              <a:ext uri="{FF2B5EF4-FFF2-40B4-BE49-F238E27FC236}">
                <a16:creationId xmlns:a16="http://schemas.microsoft.com/office/drawing/2014/main" id="{92BAEEFB-1017-49BC-917E-F0D430558107}"/>
              </a:ext>
            </a:extLst>
          </p:cNvPr>
          <p:cNvCxnSpPr>
            <a:cxnSpLocks/>
          </p:cNvCxnSpPr>
          <p:nvPr/>
        </p:nvCxnSpPr>
        <p:spPr>
          <a:xfrm flipV="1">
            <a:off x="6096000" y="5973408"/>
            <a:ext cx="482673" cy="3342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0" name="Straight Connector 89">
            <a:extLst>
              <a:ext uri="{FF2B5EF4-FFF2-40B4-BE49-F238E27FC236}">
                <a16:creationId xmlns:a16="http://schemas.microsoft.com/office/drawing/2014/main" id="{89ECFBA7-F8E8-4E97-A7DC-8FF428F0EC27}"/>
              </a:ext>
            </a:extLst>
          </p:cNvPr>
          <p:cNvCxnSpPr>
            <a:cxnSpLocks/>
          </p:cNvCxnSpPr>
          <p:nvPr/>
        </p:nvCxnSpPr>
        <p:spPr>
          <a:xfrm flipV="1">
            <a:off x="6096000" y="6177700"/>
            <a:ext cx="482673" cy="3342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8" name="TextBox 97">
            <a:extLst>
              <a:ext uri="{FF2B5EF4-FFF2-40B4-BE49-F238E27FC236}">
                <a16:creationId xmlns:a16="http://schemas.microsoft.com/office/drawing/2014/main" id="{6D699E8F-4012-453E-9100-B8DFB94A4B0C}"/>
              </a:ext>
            </a:extLst>
          </p:cNvPr>
          <p:cNvSpPr txBox="1"/>
          <p:nvPr/>
        </p:nvSpPr>
        <p:spPr>
          <a:xfrm>
            <a:off x="6656856" y="5623428"/>
            <a:ext cx="3511968" cy="26497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049">
              <a:defRPr/>
            </a:pPr>
            <a:r>
              <a:rPr lang="en-US" sz="1100" i="1" kern="0">
                <a:solidFill>
                  <a:schemeClr val="accent2"/>
                </a:solidFill>
                <a:latin typeface="Segoe UI"/>
              </a:rPr>
              <a:t>Orchestration data (over Internet)</a:t>
            </a:r>
          </a:p>
        </p:txBody>
      </p:sp>
      <p:sp>
        <p:nvSpPr>
          <p:cNvPr id="100" name="TextBox 99">
            <a:extLst>
              <a:ext uri="{FF2B5EF4-FFF2-40B4-BE49-F238E27FC236}">
                <a16:creationId xmlns:a16="http://schemas.microsoft.com/office/drawing/2014/main" id="{EAB96522-AF2B-42C8-913C-E9203E288FA0}"/>
              </a:ext>
            </a:extLst>
          </p:cNvPr>
          <p:cNvSpPr txBox="1"/>
          <p:nvPr/>
        </p:nvSpPr>
        <p:spPr>
          <a:xfrm>
            <a:off x="6652037" y="5824378"/>
            <a:ext cx="3840936" cy="26497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049">
              <a:defRPr/>
            </a:pPr>
            <a:r>
              <a:rPr lang="en-US" sz="1100" i="1" kern="0" dirty="0">
                <a:solidFill>
                  <a:schemeClr val="accent2"/>
                </a:solidFill>
                <a:latin typeface="Segoe UI"/>
              </a:rPr>
              <a:t>Replication data (over ExpressRoute with Microsoft Peering)</a:t>
            </a:r>
          </a:p>
        </p:txBody>
      </p:sp>
      <p:sp>
        <p:nvSpPr>
          <p:cNvPr id="102" name="TextBox 101">
            <a:extLst>
              <a:ext uri="{FF2B5EF4-FFF2-40B4-BE49-F238E27FC236}">
                <a16:creationId xmlns:a16="http://schemas.microsoft.com/office/drawing/2014/main" id="{E5B73EF3-FE68-4361-A10A-3233C7A86423}"/>
              </a:ext>
            </a:extLst>
          </p:cNvPr>
          <p:cNvSpPr txBox="1"/>
          <p:nvPr/>
        </p:nvSpPr>
        <p:spPr>
          <a:xfrm>
            <a:off x="6647218" y="6009830"/>
            <a:ext cx="5042618" cy="26497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049">
              <a:defRPr/>
            </a:pPr>
            <a:r>
              <a:rPr lang="en-US" sz="1100" i="1" kern="0">
                <a:solidFill>
                  <a:schemeClr val="accent2"/>
                </a:solidFill>
                <a:latin typeface="Segoe UI"/>
              </a:rPr>
              <a:t>Connectivity to Azure VM post failover (over ExpressRoute with Private Peering)</a:t>
            </a:r>
          </a:p>
        </p:txBody>
      </p:sp>
      <p:sp>
        <p:nvSpPr>
          <p:cNvPr id="2" name="Rectangle: Rounded Corners 1">
            <a:extLst>
              <a:ext uri="{FF2B5EF4-FFF2-40B4-BE49-F238E27FC236}">
                <a16:creationId xmlns:a16="http://schemas.microsoft.com/office/drawing/2014/main" id="{D8F32752-BBD6-4FB3-B2CF-31CE77CE6AAA}"/>
              </a:ext>
            </a:extLst>
          </p:cNvPr>
          <p:cNvSpPr/>
          <p:nvPr/>
        </p:nvSpPr>
        <p:spPr>
          <a:xfrm>
            <a:off x="6358015" y="957290"/>
            <a:ext cx="5165953" cy="1338300"/>
          </a:xfrm>
          <a:prstGeom prst="roundRect">
            <a:avLst>
              <a:gd name="adj" fmla="val 7573"/>
            </a:avLst>
          </a:prstGeom>
          <a:solidFill>
            <a:schemeClr val="bg1"/>
          </a:solidFill>
          <a:ln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25"/>
            <a:endParaRPr lang="en-US">
              <a:solidFill>
                <a:prstClr val="white"/>
              </a:solidFill>
              <a:latin typeface="Segoe UI"/>
            </a:endParaRP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42DD1D82-B685-419B-BD48-188ABA5998A5}"/>
              </a:ext>
            </a:extLst>
          </p:cNvPr>
          <p:cNvGrpSpPr/>
          <p:nvPr/>
        </p:nvGrpSpPr>
        <p:grpSpPr>
          <a:xfrm>
            <a:off x="7106558" y="1135171"/>
            <a:ext cx="418916" cy="378425"/>
            <a:chOff x="5118964" y="3771564"/>
            <a:chExt cx="642073" cy="596676"/>
          </a:xfrm>
        </p:grpSpPr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6A63C451-4FEE-43C9-818F-B928A9DF0DDA}"/>
                </a:ext>
              </a:extLst>
            </p:cNvPr>
            <p:cNvSpPr/>
            <p:nvPr/>
          </p:nvSpPr>
          <p:spPr bwMode="auto">
            <a:xfrm>
              <a:off x="5141901" y="3805511"/>
              <a:ext cx="569259" cy="395082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82828" tIns="146263" rIns="182828" bIns="14626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114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kern="0" err="1">
                <a:latin typeface="+mj-lt"/>
                <a:ea typeface="Segoe UI" pitchFamily="34" charset="0"/>
                <a:cs typeface="Segoe UI" pitchFamily="34" charset="0"/>
              </a:endParaRPr>
            </a:p>
          </p:txBody>
        </p:sp>
        <p:grpSp>
          <p:nvGrpSpPr>
            <p:cNvPr id="13" name="Group 4">
              <a:extLst>
                <a:ext uri="{FF2B5EF4-FFF2-40B4-BE49-F238E27FC236}">
                  <a16:creationId xmlns:a16="http://schemas.microsoft.com/office/drawing/2014/main" id="{EEDECEC9-6F08-48D7-836E-D998E39EA2F0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5118964" y="3771564"/>
              <a:ext cx="642073" cy="596676"/>
              <a:chOff x="4030" y="1558"/>
              <a:chExt cx="341" cy="312"/>
            </a:xfrm>
            <a:solidFill>
              <a:srgbClr val="D83B01"/>
            </a:solidFill>
          </p:grpSpPr>
          <p:sp>
            <p:nvSpPr>
              <p:cNvPr id="14" name="Freeform 5">
                <a:extLst>
                  <a:ext uri="{FF2B5EF4-FFF2-40B4-BE49-F238E27FC236}">
                    <a16:creationId xmlns:a16="http://schemas.microsoft.com/office/drawing/2014/main" id="{631C3FC1-8D52-4E42-98A2-CD93A2012F3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030" y="1558"/>
                <a:ext cx="341" cy="312"/>
              </a:xfrm>
              <a:custGeom>
                <a:avLst/>
                <a:gdLst>
                  <a:gd name="T0" fmla="*/ 563 w 599"/>
                  <a:gd name="T1" fmla="*/ 0 h 553"/>
                  <a:gd name="T2" fmla="*/ 33 w 599"/>
                  <a:gd name="T3" fmla="*/ 0 h 553"/>
                  <a:gd name="T4" fmla="*/ 0 w 599"/>
                  <a:gd name="T5" fmla="*/ 34 h 553"/>
                  <a:gd name="T6" fmla="*/ 0 w 599"/>
                  <a:gd name="T7" fmla="*/ 404 h 553"/>
                  <a:gd name="T8" fmla="*/ 33 w 599"/>
                  <a:gd name="T9" fmla="*/ 438 h 553"/>
                  <a:gd name="T10" fmla="*/ 214 w 599"/>
                  <a:gd name="T11" fmla="*/ 438 h 553"/>
                  <a:gd name="T12" fmla="*/ 93 w 599"/>
                  <a:gd name="T13" fmla="*/ 517 h 553"/>
                  <a:gd name="T14" fmla="*/ 93 w 599"/>
                  <a:gd name="T15" fmla="*/ 553 h 553"/>
                  <a:gd name="T16" fmla="*/ 484 w 599"/>
                  <a:gd name="T17" fmla="*/ 553 h 553"/>
                  <a:gd name="T18" fmla="*/ 484 w 599"/>
                  <a:gd name="T19" fmla="*/ 517 h 553"/>
                  <a:gd name="T20" fmla="*/ 377 w 599"/>
                  <a:gd name="T21" fmla="*/ 438 h 553"/>
                  <a:gd name="T22" fmla="*/ 563 w 599"/>
                  <a:gd name="T23" fmla="*/ 438 h 553"/>
                  <a:gd name="T24" fmla="*/ 599 w 599"/>
                  <a:gd name="T25" fmla="*/ 404 h 553"/>
                  <a:gd name="T26" fmla="*/ 599 w 599"/>
                  <a:gd name="T27" fmla="*/ 34 h 553"/>
                  <a:gd name="T28" fmla="*/ 563 w 599"/>
                  <a:gd name="T29" fmla="*/ 0 h 553"/>
                  <a:gd name="T30" fmla="*/ 553 w 599"/>
                  <a:gd name="T31" fmla="*/ 47 h 553"/>
                  <a:gd name="T32" fmla="*/ 553 w 599"/>
                  <a:gd name="T33" fmla="*/ 392 h 553"/>
                  <a:gd name="T34" fmla="*/ 47 w 599"/>
                  <a:gd name="T35" fmla="*/ 392 h 553"/>
                  <a:gd name="T36" fmla="*/ 47 w 599"/>
                  <a:gd name="T37" fmla="*/ 47 h 553"/>
                  <a:gd name="T38" fmla="*/ 554 w 599"/>
                  <a:gd name="T39" fmla="*/ 46 h 553"/>
                  <a:gd name="T40" fmla="*/ 553 w 599"/>
                  <a:gd name="T41" fmla="*/ 47 h 5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599" h="553">
                    <a:moveTo>
                      <a:pt x="563" y="0"/>
                    </a:moveTo>
                    <a:lnTo>
                      <a:pt x="33" y="0"/>
                    </a:lnTo>
                    <a:cubicBezTo>
                      <a:pt x="15" y="0"/>
                      <a:pt x="0" y="17"/>
                      <a:pt x="0" y="34"/>
                    </a:cubicBezTo>
                    <a:lnTo>
                      <a:pt x="0" y="404"/>
                    </a:lnTo>
                    <a:cubicBezTo>
                      <a:pt x="0" y="422"/>
                      <a:pt x="15" y="438"/>
                      <a:pt x="33" y="438"/>
                    </a:cubicBezTo>
                    <a:lnTo>
                      <a:pt x="214" y="438"/>
                    </a:lnTo>
                    <a:cubicBezTo>
                      <a:pt x="234" y="507"/>
                      <a:pt x="208" y="517"/>
                      <a:pt x="93" y="517"/>
                    </a:cubicBezTo>
                    <a:lnTo>
                      <a:pt x="93" y="553"/>
                    </a:lnTo>
                    <a:lnTo>
                      <a:pt x="484" y="553"/>
                    </a:lnTo>
                    <a:lnTo>
                      <a:pt x="484" y="517"/>
                    </a:lnTo>
                    <a:cubicBezTo>
                      <a:pt x="369" y="517"/>
                      <a:pt x="357" y="507"/>
                      <a:pt x="377" y="438"/>
                    </a:cubicBezTo>
                    <a:lnTo>
                      <a:pt x="563" y="438"/>
                    </a:lnTo>
                    <a:cubicBezTo>
                      <a:pt x="581" y="438"/>
                      <a:pt x="599" y="422"/>
                      <a:pt x="599" y="404"/>
                    </a:cubicBezTo>
                    <a:lnTo>
                      <a:pt x="599" y="34"/>
                    </a:lnTo>
                    <a:cubicBezTo>
                      <a:pt x="599" y="17"/>
                      <a:pt x="581" y="0"/>
                      <a:pt x="563" y="0"/>
                    </a:cubicBezTo>
                    <a:close/>
                    <a:moveTo>
                      <a:pt x="553" y="47"/>
                    </a:moveTo>
                    <a:lnTo>
                      <a:pt x="553" y="392"/>
                    </a:lnTo>
                    <a:lnTo>
                      <a:pt x="47" y="392"/>
                    </a:lnTo>
                    <a:lnTo>
                      <a:pt x="47" y="47"/>
                    </a:lnTo>
                    <a:lnTo>
                      <a:pt x="554" y="46"/>
                    </a:lnTo>
                    <a:lnTo>
                      <a:pt x="553" y="47"/>
                    </a:lnTo>
                    <a:close/>
                  </a:path>
                </a:pathLst>
              </a:custGeom>
              <a:solidFill>
                <a:schemeClr val="tx1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14" tIns="45706" rIns="91414" bIns="45706" numCol="1" anchor="t" anchorCtr="0" compatLnSpc="1">
                <a:prstTxWarp prst="textNoShape">
                  <a:avLst/>
                </a:prstTxWarp>
              </a:bodyPr>
              <a:lstStyle/>
              <a:p>
                <a:pPr defTabSz="914049">
                  <a:defRPr/>
                </a:pPr>
                <a:endParaRPr lang="en-US" kern="0">
                  <a:latin typeface="+mj-lt"/>
                </a:endParaRPr>
              </a:p>
            </p:txBody>
          </p:sp>
          <p:sp>
            <p:nvSpPr>
              <p:cNvPr id="15" name="Freeform 6">
                <a:extLst>
                  <a:ext uri="{FF2B5EF4-FFF2-40B4-BE49-F238E27FC236}">
                    <a16:creationId xmlns:a16="http://schemas.microsoft.com/office/drawing/2014/main" id="{C336C801-2D50-41D1-BA63-84D81BB707A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44" y="1615"/>
                <a:ext cx="106" cy="61"/>
              </a:xfrm>
              <a:custGeom>
                <a:avLst/>
                <a:gdLst>
                  <a:gd name="T0" fmla="*/ 106 w 106"/>
                  <a:gd name="T1" fmla="*/ 30 h 61"/>
                  <a:gd name="T2" fmla="*/ 53 w 106"/>
                  <a:gd name="T3" fmla="*/ 0 h 61"/>
                  <a:gd name="T4" fmla="*/ 0 w 106"/>
                  <a:gd name="T5" fmla="*/ 30 h 61"/>
                  <a:gd name="T6" fmla="*/ 0 w 106"/>
                  <a:gd name="T7" fmla="*/ 31 h 61"/>
                  <a:gd name="T8" fmla="*/ 53 w 106"/>
                  <a:gd name="T9" fmla="*/ 61 h 61"/>
                  <a:gd name="T10" fmla="*/ 106 w 106"/>
                  <a:gd name="T11" fmla="*/ 31 h 61"/>
                  <a:gd name="T12" fmla="*/ 106 w 106"/>
                  <a:gd name="T13" fmla="*/ 30 h 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06" h="61">
                    <a:moveTo>
                      <a:pt x="106" y="30"/>
                    </a:moveTo>
                    <a:lnTo>
                      <a:pt x="53" y="0"/>
                    </a:lnTo>
                    <a:lnTo>
                      <a:pt x="0" y="30"/>
                    </a:lnTo>
                    <a:lnTo>
                      <a:pt x="0" y="31"/>
                    </a:lnTo>
                    <a:lnTo>
                      <a:pt x="53" y="61"/>
                    </a:lnTo>
                    <a:lnTo>
                      <a:pt x="106" y="31"/>
                    </a:lnTo>
                    <a:lnTo>
                      <a:pt x="106" y="30"/>
                    </a:ln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4" tIns="45706" rIns="91414" bIns="45706" numCol="1" anchor="t" anchorCtr="0" compatLnSpc="1">
                <a:prstTxWarp prst="textNoShape">
                  <a:avLst/>
                </a:prstTxWarp>
              </a:bodyPr>
              <a:lstStyle/>
              <a:p>
                <a:pPr defTabSz="914049">
                  <a:defRPr/>
                </a:pPr>
                <a:endParaRPr lang="en-US" kern="0">
                  <a:latin typeface="+mj-lt"/>
                </a:endParaRPr>
              </a:p>
            </p:txBody>
          </p:sp>
          <p:sp>
            <p:nvSpPr>
              <p:cNvPr id="16" name="Freeform 7">
                <a:extLst>
                  <a:ext uri="{FF2B5EF4-FFF2-40B4-BE49-F238E27FC236}">
                    <a16:creationId xmlns:a16="http://schemas.microsoft.com/office/drawing/2014/main" id="{78A0D329-7650-4E42-9318-128D5AC1D0A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02" y="1655"/>
                <a:ext cx="53" cy="90"/>
              </a:xfrm>
              <a:custGeom>
                <a:avLst/>
                <a:gdLst>
                  <a:gd name="T0" fmla="*/ 0 w 53"/>
                  <a:gd name="T1" fmla="*/ 30 h 90"/>
                  <a:gd name="T2" fmla="*/ 0 w 53"/>
                  <a:gd name="T3" fmla="*/ 90 h 90"/>
                  <a:gd name="T4" fmla="*/ 53 w 53"/>
                  <a:gd name="T5" fmla="*/ 60 h 90"/>
                  <a:gd name="T6" fmla="*/ 53 w 53"/>
                  <a:gd name="T7" fmla="*/ 0 h 90"/>
                  <a:gd name="T8" fmla="*/ 0 w 53"/>
                  <a:gd name="T9" fmla="*/ 30 h 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3" h="90">
                    <a:moveTo>
                      <a:pt x="0" y="30"/>
                    </a:moveTo>
                    <a:lnTo>
                      <a:pt x="0" y="90"/>
                    </a:lnTo>
                    <a:lnTo>
                      <a:pt x="53" y="60"/>
                    </a:lnTo>
                    <a:lnTo>
                      <a:pt x="53" y="0"/>
                    </a:lnTo>
                    <a:lnTo>
                      <a:pt x="0" y="30"/>
                    </a:ln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4" tIns="45706" rIns="91414" bIns="45706" numCol="1" anchor="t" anchorCtr="0" compatLnSpc="1">
                <a:prstTxWarp prst="textNoShape">
                  <a:avLst/>
                </a:prstTxWarp>
              </a:bodyPr>
              <a:lstStyle/>
              <a:p>
                <a:pPr defTabSz="914049">
                  <a:defRPr/>
                </a:pPr>
                <a:endParaRPr lang="en-US" kern="0">
                  <a:latin typeface="+mj-lt"/>
                </a:endParaRPr>
              </a:p>
            </p:txBody>
          </p:sp>
          <p:sp>
            <p:nvSpPr>
              <p:cNvPr id="17" name="Freeform 8">
                <a:extLst>
                  <a:ext uri="{FF2B5EF4-FFF2-40B4-BE49-F238E27FC236}">
                    <a16:creationId xmlns:a16="http://schemas.microsoft.com/office/drawing/2014/main" id="{B867CAB6-7EA6-46E7-9F3D-F3F7885FA7A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39" y="1655"/>
                <a:ext cx="53" cy="90"/>
              </a:xfrm>
              <a:custGeom>
                <a:avLst/>
                <a:gdLst>
                  <a:gd name="T0" fmla="*/ 53 w 53"/>
                  <a:gd name="T1" fmla="*/ 30 h 90"/>
                  <a:gd name="T2" fmla="*/ 0 w 53"/>
                  <a:gd name="T3" fmla="*/ 0 h 90"/>
                  <a:gd name="T4" fmla="*/ 0 w 53"/>
                  <a:gd name="T5" fmla="*/ 60 h 90"/>
                  <a:gd name="T6" fmla="*/ 53 w 53"/>
                  <a:gd name="T7" fmla="*/ 90 h 90"/>
                  <a:gd name="T8" fmla="*/ 53 w 53"/>
                  <a:gd name="T9" fmla="*/ 30 h 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3" h="90">
                    <a:moveTo>
                      <a:pt x="53" y="30"/>
                    </a:moveTo>
                    <a:lnTo>
                      <a:pt x="0" y="0"/>
                    </a:lnTo>
                    <a:lnTo>
                      <a:pt x="0" y="60"/>
                    </a:lnTo>
                    <a:lnTo>
                      <a:pt x="53" y="90"/>
                    </a:lnTo>
                    <a:lnTo>
                      <a:pt x="53" y="30"/>
                    </a:ln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4" tIns="45706" rIns="91414" bIns="45706" numCol="1" anchor="t" anchorCtr="0" compatLnSpc="1">
                <a:prstTxWarp prst="textNoShape">
                  <a:avLst/>
                </a:prstTxWarp>
              </a:bodyPr>
              <a:lstStyle/>
              <a:p>
                <a:pPr defTabSz="914049">
                  <a:defRPr/>
                </a:pPr>
                <a:endParaRPr lang="en-US" kern="0">
                  <a:latin typeface="+mj-lt"/>
                </a:endParaRPr>
              </a:p>
            </p:txBody>
          </p:sp>
        </p:grpSp>
      </p:grpSp>
      <p:sp>
        <p:nvSpPr>
          <p:cNvPr id="11" name="TextBox 10">
            <a:extLst>
              <a:ext uri="{FF2B5EF4-FFF2-40B4-BE49-F238E27FC236}">
                <a16:creationId xmlns:a16="http://schemas.microsoft.com/office/drawing/2014/main" id="{5C115390-85DE-4E8F-A0DA-13639541BB30}"/>
              </a:ext>
            </a:extLst>
          </p:cNvPr>
          <p:cNvSpPr txBox="1"/>
          <p:nvPr/>
        </p:nvSpPr>
        <p:spPr>
          <a:xfrm>
            <a:off x="6759135" y="1582859"/>
            <a:ext cx="1126377" cy="6102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049">
              <a:defRPr/>
            </a:pPr>
            <a:r>
              <a:rPr lang="en-US" sz="1100" kern="0" dirty="0">
                <a:latin typeface="+mj-lt"/>
              </a:rPr>
              <a:t>Replication appliance</a:t>
            </a:r>
          </a:p>
          <a:p>
            <a:pPr algn="ctr" defTabSz="914049">
              <a:defRPr/>
            </a:pPr>
            <a:r>
              <a:rPr lang="en-US" sz="1100" kern="0" dirty="0">
                <a:latin typeface="+mj-lt"/>
              </a:rPr>
              <a:t>(agent-based)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85A2018F-69CB-4687-A4CF-D02D4D163C7A}"/>
              </a:ext>
            </a:extLst>
          </p:cNvPr>
          <p:cNvSpPr txBox="1"/>
          <p:nvPr/>
        </p:nvSpPr>
        <p:spPr>
          <a:xfrm>
            <a:off x="8434431" y="1582859"/>
            <a:ext cx="1046794" cy="6102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049">
              <a:defRPr/>
            </a:pPr>
            <a:r>
              <a:rPr lang="en-US" sz="1100" kern="0" dirty="0">
                <a:latin typeface="+mj-lt"/>
              </a:rPr>
              <a:t>Hyper-V Replication Provider</a:t>
            </a:r>
          </a:p>
        </p:txBody>
      </p:sp>
      <p:sp>
        <p:nvSpPr>
          <p:cNvPr id="20" name="Freeform 342">
            <a:extLst>
              <a:ext uri="{FF2B5EF4-FFF2-40B4-BE49-F238E27FC236}">
                <a16:creationId xmlns:a16="http://schemas.microsoft.com/office/drawing/2014/main" id="{EB2D5D91-D012-409F-B512-4D3621663246}"/>
              </a:ext>
            </a:extLst>
          </p:cNvPr>
          <p:cNvSpPr>
            <a:spLocks noEditPoints="1"/>
          </p:cNvSpPr>
          <p:nvPr/>
        </p:nvSpPr>
        <p:spPr bwMode="auto">
          <a:xfrm>
            <a:off x="8782287" y="1166471"/>
            <a:ext cx="317410" cy="315823"/>
          </a:xfrm>
          <a:custGeom>
            <a:avLst/>
            <a:gdLst>
              <a:gd name="T0" fmla="*/ 19 w 93"/>
              <a:gd name="T1" fmla="*/ 23 h 93"/>
              <a:gd name="T2" fmla="*/ 19 w 93"/>
              <a:gd name="T3" fmla="*/ 29 h 93"/>
              <a:gd name="T4" fmla="*/ 12 w 93"/>
              <a:gd name="T5" fmla="*/ 35 h 93"/>
              <a:gd name="T6" fmla="*/ 1 w 93"/>
              <a:gd name="T7" fmla="*/ 37 h 93"/>
              <a:gd name="T8" fmla="*/ 2 w 93"/>
              <a:gd name="T9" fmla="*/ 47 h 93"/>
              <a:gd name="T10" fmla="*/ 14 w 93"/>
              <a:gd name="T11" fmla="*/ 53 h 93"/>
              <a:gd name="T12" fmla="*/ 14 w 93"/>
              <a:gd name="T13" fmla="*/ 63 h 93"/>
              <a:gd name="T14" fmla="*/ 7 w 93"/>
              <a:gd name="T15" fmla="*/ 72 h 93"/>
              <a:gd name="T16" fmla="*/ 16 w 93"/>
              <a:gd name="T17" fmla="*/ 78 h 93"/>
              <a:gd name="T18" fmla="*/ 28 w 93"/>
              <a:gd name="T19" fmla="*/ 74 h 93"/>
              <a:gd name="T20" fmla="*/ 35 w 93"/>
              <a:gd name="T21" fmla="*/ 81 h 93"/>
              <a:gd name="T22" fmla="*/ 37 w 93"/>
              <a:gd name="T23" fmla="*/ 92 h 93"/>
              <a:gd name="T24" fmla="*/ 47 w 93"/>
              <a:gd name="T25" fmla="*/ 90 h 93"/>
              <a:gd name="T26" fmla="*/ 53 w 93"/>
              <a:gd name="T27" fmla="*/ 78 h 93"/>
              <a:gd name="T28" fmla="*/ 57 w 93"/>
              <a:gd name="T29" fmla="*/ 77 h 93"/>
              <a:gd name="T30" fmla="*/ 62 w 93"/>
              <a:gd name="T31" fmla="*/ 79 h 93"/>
              <a:gd name="T32" fmla="*/ 72 w 93"/>
              <a:gd name="T33" fmla="*/ 85 h 93"/>
              <a:gd name="T34" fmla="*/ 78 w 93"/>
              <a:gd name="T35" fmla="*/ 77 h 93"/>
              <a:gd name="T36" fmla="*/ 73 w 93"/>
              <a:gd name="T37" fmla="*/ 65 h 93"/>
              <a:gd name="T38" fmla="*/ 75 w 93"/>
              <a:gd name="T39" fmla="*/ 61 h 93"/>
              <a:gd name="T40" fmla="*/ 80 w 93"/>
              <a:gd name="T41" fmla="*/ 58 h 93"/>
              <a:gd name="T42" fmla="*/ 92 w 93"/>
              <a:gd name="T43" fmla="*/ 56 h 93"/>
              <a:gd name="T44" fmla="*/ 90 w 93"/>
              <a:gd name="T45" fmla="*/ 46 h 93"/>
              <a:gd name="T46" fmla="*/ 78 w 93"/>
              <a:gd name="T47" fmla="*/ 40 h 93"/>
              <a:gd name="T48" fmla="*/ 77 w 93"/>
              <a:gd name="T49" fmla="*/ 36 h 93"/>
              <a:gd name="T50" fmla="*/ 78 w 93"/>
              <a:gd name="T51" fmla="*/ 31 h 93"/>
              <a:gd name="T52" fmla="*/ 85 w 93"/>
              <a:gd name="T53" fmla="*/ 21 h 93"/>
              <a:gd name="T54" fmla="*/ 77 w 93"/>
              <a:gd name="T55" fmla="*/ 15 h 93"/>
              <a:gd name="T56" fmla="*/ 64 w 93"/>
              <a:gd name="T57" fmla="*/ 20 h 93"/>
              <a:gd name="T58" fmla="*/ 61 w 93"/>
              <a:gd name="T59" fmla="*/ 18 h 93"/>
              <a:gd name="T60" fmla="*/ 58 w 93"/>
              <a:gd name="T61" fmla="*/ 13 h 93"/>
              <a:gd name="T62" fmla="*/ 56 w 93"/>
              <a:gd name="T63" fmla="*/ 1 h 93"/>
              <a:gd name="T64" fmla="*/ 46 w 93"/>
              <a:gd name="T65" fmla="*/ 3 h 93"/>
              <a:gd name="T66" fmla="*/ 40 w 93"/>
              <a:gd name="T67" fmla="*/ 15 h 93"/>
              <a:gd name="T68" fmla="*/ 36 w 93"/>
              <a:gd name="T69" fmla="*/ 16 h 93"/>
              <a:gd name="T70" fmla="*/ 30 w 93"/>
              <a:gd name="T71" fmla="*/ 14 h 93"/>
              <a:gd name="T72" fmla="*/ 21 w 93"/>
              <a:gd name="T73" fmla="*/ 8 h 93"/>
              <a:gd name="T74" fmla="*/ 15 w 93"/>
              <a:gd name="T75" fmla="*/ 16 h 93"/>
              <a:gd name="T76" fmla="*/ 57 w 93"/>
              <a:gd name="T77" fmla="*/ 60 h 93"/>
              <a:gd name="T78" fmla="*/ 36 w 93"/>
              <a:gd name="T79" fmla="*/ 33 h 9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</a:cxnLst>
            <a:rect l="0" t="0" r="r" b="b"/>
            <a:pathLst>
              <a:path w="93" h="93">
                <a:moveTo>
                  <a:pt x="15" y="16"/>
                </a:moveTo>
                <a:cubicBezTo>
                  <a:pt x="19" y="23"/>
                  <a:pt x="19" y="23"/>
                  <a:pt x="19" y="23"/>
                </a:cubicBezTo>
                <a:cubicBezTo>
                  <a:pt x="21" y="26"/>
                  <a:pt x="20" y="27"/>
                  <a:pt x="19" y="29"/>
                </a:cubicBezTo>
                <a:cubicBezTo>
                  <a:pt x="19" y="29"/>
                  <a:pt x="19" y="29"/>
                  <a:pt x="19" y="29"/>
                </a:cubicBezTo>
                <a:cubicBezTo>
                  <a:pt x="18" y="30"/>
                  <a:pt x="18" y="31"/>
                  <a:pt x="17" y="32"/>
                </a:cubicBezTo>
                <a:cubicBezTo>
                  <a:pt x="16" y="34"/>
                  <a:pt x="15" y="35"/>
                  <a:pt x="12" y="35"/>
                </a:cubicBezTo>
                <a:cubicBezTo>
                  <a:pt x="4" y="35"/>
                  <a:pt x="4" y="35"/>
                  <a:pt x="4" y="35"/>
                </a:cubicBezTo>
                <a:cubicBezTo>
                  <a:pt x="2" y="35"/>
                  <a:pt x="1" y="36"/>
                  <a:pt x="1" y="37"/>
                </a:cubicBezTo>
                <a:cubicBezTo>
                  <a:pt x="0" y="44"/>
                  <a:pt x="0" y="44"/>
                  <a:pt x="0" y="44"/>
                </a:cubicBezTo>
                <a:cubicBezTo>
                  <a:pt x="0" y="45"/>
                  <a:pt x="1" y="47"/>
                  <a:pt x="2" y="47"/>
                </a:cubicBezTo>
                <a:cubicBezTo>
                  <a:pt x="10" y="49"/>
                  <a:pt x="10" y="49"/>
                  <a:pt x="10" y="49"/>
                </a:cubicBezTo>
                <a:cubicBezTo>
                  <a:pt x="13" y="50"/>
                  <a:pt x="14" y="51"/>
                  <a:pt x="14" y="53"/>
                </a:cubicBezTo>
                <a:cubicBezTo>
                  <a:pt x="15" y="54"/>
                  <a:pt x="15" y="56"/>
                  <a:pt x="16" y="58"/>
                </a:cubicBezTo>
                <a:cubicBezTo>
                  <a:pt x="16" y="59"/>
                  <a:pt x="16" y="61"/>
                  <a:pt x="14" y="63"/>
                </a:cubicBezTo>
                <a:cubicBezTo>
                  <a:pt x="8" y="68"/>
                  <a:pt x="8" y="68"/>
                  <a:pt x="8" y="68"/>
                </a:cubicBezTo>
                <a:cubicBezTo>
                  <a:pt x="7" y="69"/>
                  <a:pt x="7" y="71"/>
                  <a:pt x="7" y="72"/>
                </a:cubicBezTo>
                <a:cubicBezTo>
                  <a:pt x="12" y="78"/>
                  <a:pt x="12" y="78"/>
                  <a:pt x="12" y="78"/>
                </a:cubicBezTo>
                <a:cubicBezTo>
                  <a:pt x="12" y="78"/>
                  <a:pt x="14" y="79"/>
                  <a:pt x="16" y="78"/>
                </a:cubicBezTo>
                <a:cubicBezTo>
                  <a:pt x="22" y="74"/>
                  <a:pt x="22" y="74"/>
                  <a:pt x="22" y="74"/>
                </a:cubicBezTo>
                <a:cubicBezTo>
                  <a:pt x="25" y="72"/>
                  <a:pt x="27" y="73"/>
                  <a:pt x="28" y="74"/>
                </a:cubicBezTo>
                <a:cubicBezTo>
                  <a:pt x="29" y="74"/>
                  <a:pt x="31" y="75"/>
                  <a:pt x="32" y="76"/>
                </a:cubicBezTo>
                <a:cubicBezTo>
                  <a:pt x="34" y="76"/>
                  <a:pt x="35" y="78"/>
                  <a:pt x="35" y="81"/>
                </a:cubicBezTo>
                <a:cubicBezTo>
                  <a:pt x="34" y="89"/>
                  <a:pt x="34" y="89"/>
                  <a:pt x="34" y="89"/>
                </a:cubicBezTo>
                <a:cubicBezTo>
                  <a:pt x="34" y="91"/>
                  <a:pt x="36" y="92"/>
                  <a:pt x="37" y="92"/>
                </a:cubicBezTo>
                <a:cubicBezTo>
                  <a:pt x="44" y="93"/>
                  <a:pt x="44" y="93"/>
                  <a:pt x="44" y="93"/>
                </a:cubicBezTo>
                <a:cubicBezTo>
                  <a:pt x="45" y="93"/>
                  <a:pt x="46" y="92"/>
                  <a:pt x="47" y="90"/>
                </a:cubicBezTo>
                <a:cubicBezTo>
                  <a:pt x="49" y="83"/>
                  <a:pt x="49" y="83"/>
                  <a:pt x="49" y="83"/>
                </a:cubicBezTo>
                <a:cubicBezTo>
                  <a:pt x="49" y="80"/>
                  <a:pt x="51" y="79"/>
                  <a:pt x="53" y="78"/>
                </a:cubicBezTo>
                <a:cubicBezTo>
                  <a:pt x="53" y="78"/>
                  <a:pt x="53" y="78"/>
                  <a:pt x="53" y="78"/>
                </a:cubicBezTo>
                <a:cubicBezTo>
                  <a:pt x="54" y="78"/>
                  <a:pt x="55" y="78"/>
                  <a:pt x="57" y="77"/>
                </a:cubicBezTo>
                <a:cubicBezTo>
                  <a:pt x="57" y="77"/>
                  <a:pt x="57" y="77"/>
                  <a:pt x="57" y="77"/>
                </a:cubicBezTo>
                <a:cubicBezTo>
                  <a:pt x="58" y="77"/>
                  <a:pt x="60" y="77"/>
                  <a:pt x="62" y="79"/>
                </a:cubicBezTo>
                <a:cubicBezTo>
                  <a:pt x="68" y="85"/>
                  <a:pt x="68" y="85"/>
                  <a:pt x="68" y="85"/>
                </a:cubicBezTo>
                <a:cubicBezTo>
                  <a:pt x="69" y="86"/>
                  <a:pt x="71" y="86"/>
                  <a:pt x="72" y="85"/>
                </a:cubicBezTo>
                <a:cubicBezTo>
                  <a:pt x="77" y="81"/>
                  <a:pt x="77" y="81"/>
                  <a:pt x="77" y="81"/>
                </a:cubicBezTo>
                <a:cubicBezTo>
                  <a:pt x="78" y="80"/>
                  <a:pt x="78" y="79"/>
                  <a:pt x="78" y="77"/>
                </a:cubicBezTo>
                <a:cubicBezTo>
                  <a:pt x="73" y="70"/>
                  <a:pt x="73" y="70"/>
                  <a:pt x="73" y="70"/>
                </a:cubicBezTo>
                <a:cubicBezTo>
                  <a:pt x="72" y="68"/>
                  <a:pt x="72" y="66"/>
                  <a:pt x="73" y="65"/>
                </a:cubicBezTo>
                <a:cubicBezTo>
                  <a:pt x="73" y="64"/>
                  <a:pt x="73" y="64"/>
                  <a:pt x="73" y="64"/>
                </a:cubicBezTo>
                <a:cubicBezTo>
                  <a:pt x="74" y="63"/>
                  <a:pt x="75" y="62"/>
                  <a:pt x="75" y="61"/>
                </a:cubicBezTo>
                <a:cubicBezTo>
                  <a:pt x="75" y="61"/>
                  <a:pt x="75" y="61"/>
                  <a:pt x="75" y="61"/>
                </a:cubicBezTo>
                <a:cubicBezTo>
                  <a:pt x="76" y="59"/>
                  <a:pt x="77" y="58"/>
                  <a:pt x="80" y="58"/>
                </a:cubicBezTo>
                <a:cubicBezTo>
                  <a:pt x="89" y="58"/>
                  <a:pt x="89" y="58"/>
                  <a:pt x="89" y="58"/>
                </a:cubicBezTo>
                <a:cubicBezTo>
                  <a:pt x="90" y="58"/>
                  <a:pt x="91" y="57"/>
                  <a:pt x="92" y="56"/>
                </a:cubicBezTo>
                <a:cubicBezTo>
                  <a:pt x="92" y="49"/>
                  <a:pt x="92" y="49"/>
                  <a:pt x="92" y="49"/>
                </a:cubicBezTo>
                <a:cubicBezTo>
                  <a:pt x="93" y="48"/>
                  <a:pt x="92" y="47"/>
                  <a:pt x="90" y="46"/>
                </a:cubicBezTo>
                <a:cubicBezTo>
                  <a:pt x="82" y="44"/>
                  <a:pt x="82" y="44"/>
                  <a:pt x="82" y="44"/>
                </a:cubicBezTo>
                <a:cubicBezTo>
                  <a:pt x="79" y="43"/>
                  <a:pt x="78" y="42"/>
                  <a:pt x="78" y="40"/>
                </a:cubicBezTo>
                <a:cubicBezTo>
                  <a:pt x="78" y="40"/>
                  <a:pt x="78" y="40"/>
                  <a:pt x="78" y="40"/>
                </a:cubicBezTo>
                <a:cubicBezTo>
                  <a:pt x="78" y="39"/>
                  <a:pt x="77" y="38"/>
                  <a:pt x="77" y="36"/>
                </a:cubicBezTo>
                <a:cubicBezTo>
                  <a:pt x="77" y="36"/>
                  <a:pt x="77" y="36"/>
                  <a:pt x="77" y="36"/>
                </a:cubicBezTo>
                <a:cubicBezTo>
                  <a:pt x="76" y="34"/>
                  <a:pt x="76" y="33"/>
                  <a:pt x="78" y="31"/>
                </a:cubicBezTo>
                <a:cubicBezTo>
                  <a:pt x="84" y="25"/>
                  <a:pt x="84" y="25"/>
                  <a:pt x="84" y="25"/>
                </a:cubicBezTo>
                <a:cubicBezTo>
                  <a:pt x="86" y="24"/>
                  <a:pt x="85" y="22"/>
                  <a:pt x="85" y="21"/>
                </a:cubicBezTo>
                <a:cubicBezTo>
                  <a:pt x="81" y="16"/>
                  <a:pt x="81" y="16"/>
                  <a:pt x="81" y="16"/>
                </a:cubicBezTo>
                <a:cubicBezTo>
                  <a:pt x="80" y="15"/>
                  <a:pt x="78" y="14"/>
                  <a:pt x="77" y="15"/>
                </a:cubicBezTo>
                <a:cubicBezTo>
                  <a:pt x="70" y="20"/>
                  <a:pt x="70" y="20"/>
                  <a:pt x="70" y="20"/>
                </a:cubicBezTo>
                <a:cubicBezTo>
                  <a:pt x="67" y="21"/>
                  <a:pt x="66" y="21"/>
                  <a:pt x="64" y="20"/>
                </a:cubicBezTo>
                <a:cubicBezTo>
                  <a:pt x="64" y="20"/>
                  <a:pt x="64" y="20"/>
                  <a:pt x="64" y="20"/>
                </a:cubicBezTo>
                <a:cubicBezTo>
                  <a:pt x="63" y="19"/>
                  <a:pt x="62" y="18"/>
                  <a:pt x="61" y="18"/>
                </a:cubicBezTo>
                <a:cubicBezTo>
                  <a:pt x="60" y="17"/>
                  <a:pt x="60" y="17"/>
                  <a:pt x="60" y="17"/>
                </a:cubicBezTo>
                <a:cubicBezTo>
                  <a:pt x="59" y="17"/>
                  <a:pt x="58" y="16"/>
                  <a:pt x="58" y="13"/>
                </a:cubicBezTo>
                <a:cubicBezTo>
                  <a:pt x="58" y="4"/>
                  <a:pt x="58" y="4"/>
                  <a:pt x="58" y="4"/>
                </a:cubicBezTo>
                <a:cubicBezTo>
                  <a:pt x="58" y="3"/>
                  <a:pt x="57" y="1"/>
                  <a:pt x="56" y="1"/>
                </a:cubicBezTo>
                <a:cubicBezTo>
                  <a:pt x="49" y="0"/>
                  <a:pt x="49" y="0"/>
                  <a:pt x="49" y="0"/>
                </a:cubicBezTo>
                <a:cubicBezTo>
                  <a:pt x="48" y="0"/>
                  <a:pt x="46" y="1"/>
                  <a:pt x="46" y="3"/>
                </a:cubicBezTo>
                <a:cubicBezTo>
                  <a:pt x="44" y="11"/>
                  <a:pt x="44" y="11"/>
                  <a:pt x="44" y="11"/>
                </a:cubicBezTo>
                <a:cubicBezTo>
                  <a:pt x="43" y="14"/>
                  <a:pt x="42" y="15"/>
                  <a:pt x="40" y="15"/>
                </a:cubicBezTo>
                <a:cubicBezTo>
                  <a:pt x="40" y="15"/>
                  <a:pt x="40" y="15"/>
                  <a:pt x="40" y="15"/>
                </a:cubicBezTo>
                <a:cubicBezTo>
                  <a:pt x="38" y="15"/>
                  <a:pt x="37" y="15"/>
                  <a:pt x="36" y="16"/>
                </a:cubicBezTo>
                <a:cubicBezTo>
                  <a:pt x="36" y="16"/>
                  <a:pt x="36" y="16"/>
                  <a:pt x="36" y="16"/>
                </a:cubicBezTo>
                <a:cubicBezTo>
                  <a:pt x="34" y="17"/>
                  <a:pt x="32" y="17"/>
                  <a:pt x="30" y="14"/>
                </a:cubicBezTo>
                <a:cubicBezTo>
                  <a:pt x="25" y="8"/>
                  <a:pt x="25" y="8"/>
                  <a:pt x="25" y="8"/>
                </a:cubicBezTo>
                <a:cubicBezTo>
                  <a:pt x="23" y="7"/>
                  <a:pt x="21" y="7"/>
                  <a:pt x="21" y="8"/>
                </a:cubicBezTo>
                <a:cubicBezTo>
                  <a:pt x="15" y="12"/>
                  <a:pt x="15" y="12"/>
                  <a:pt x="15" y="12"/>
                </a:cubicBezTo>
                <a:cubicBezTo>
                  <a:pt x="14" y="13"/>
                  <a:pt x="14" y="15"/>
                  <a:pt x="15" y="16"/>
                </a:cubicBezTo>
                <a:close/>
                <a:moveTo>
                  <a:pt x="60" y="36"/>
                </a:moveTo>
                <a:cubicBezTo>
                  <a:pt x="65" y="44"/>
                  <a:pt x="64" y="54"/>
                  <a:pt x="57" y="60"/>
                </a:cubicBezTo>
                <a:cubicBezTo>
                  <a:pt x="49" y="66"/>
                  <a:pt x="38" y="64"/>
                  <a:pt x="33" y="57"/>
                </a:cubicBezTo>
                <a:cubicBezTo>
                  <a:pt x="27" y="50"/>
                  <a:pt x="28" y="39"/>
                  <a:pt x="36" y="33"/>
                </a:cubicBezTo>
                <a:cubicBezTo>
                  <a:pt x="43" y="27"/>
                  <a:pt x="54" y="29"/>
                  <a:pt x="60" y="36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91414" tIns="45706" rIns="91414" bIns="45706" numCol="1" anchor="t" anchorCtr="0" compatLnSpc="1">
            <a:prstTxWarp prst="textNoShape">
              <a:avLst/>
            </a:prstTxWarp>
          </a:bodyPr>
          <a:lstStyle/>
          <a:p>
            <a:pPr defTabSz="914049">
              <a:defRPr/>
            </a:pPr>
            <a:endParaRPr lang="en-US" kern="0">
              <a:solidFill>
                <a:schemeClr val="tx1"/>
              </a:solidFill>
              <a:latin typeface="+mj-lt"/>
            </a:endParaRPr>
          </a:p>
        </p:txBody>
      </p:sp>
      <p:grpSp>
        <p:nvGrpSpPr>
          <p:cNvPr id="34" name="Group 33">
            <a:extLst>
              <a:ext uri="{FF2B5EF4-FFF2-40B4-BE49-F238E27FC236}">
                <a16:creationId xmlns:a16="http://schemas.microsoft.com/office/drawing/2014/main" id="{297AC6B5-B923-A446-BF78-62B3DF5A5AC0}"/>
              </a:ext>
            </a:extLst>
          </p:cNvPr>
          <p:cNvGrpSpPr/>
          <p:nvPr/>
        </p:nvGrpSpPr>
        <p:grpSpPr>
          <a:xfrm>
            <a:off x="10395600" y="1135171"/>
            <a:ext cx="418917" cy="378425"/>
            <a:chOff x="10709217" y="1469584"/>
            <a:chExt cx="427317" cy="386013"/>
          </a:xfrm>
        </p:grpSpPr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F40ACADD-93E1-461E-B74C-77540895A683}"/>
                </a:ext>
              </a:extLst>
            </p:cNvPr>
            <p:cNvSpPr/>
            <p:nvPr/>
          </p:nvSpPr>
          <p:spPr bwMode="auto">
            <a:xfrm>
              <a:off x="10724483" y="1491546"/>
              <a:ext cx="378858" cy="255594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82828" tIns="146263" rIns="182828" bIns="14626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114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kern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grpSp>
          <p:nvGrpSpPr>
            <p:cNvPr id="23" name="Group 4">
              <a:extLst>
                <a:ext uri="{FF2B5EF4-FFF2-40B4-BE49-F238E27FC236}">
                  <a16:creationId xmlns:a16="http://schemas.microsoft.com/office/drawing/2014/main" id="{98D7864E-C7A1-4C66-9983-8AB162B3660F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10709217" y="1469584"/>
              <a:ext cx="427317" cy="386013"/>
              <a:chOff x="4030" y="1558"/>
              <a:chExt cx="341" cy="312"/>
            </a:xfrm>
            <a:solidFill>
              <a:srgbClr val="D83B01"/>
            </a:solidFill>
          </p:grpSpPr>
          <p:sp>
            <p:nvSpPr>
              <p:cNvPr id="24" name="Freeform 5">
                <a:extLst>
                  <a:ext uri="{FF2B5EF4-FFF2-40B4-BE49-F238E27FC236}">
                    <a16:creationId xmlns:a16="http://schemas.microsoft.com/office/drawing/2014/main" id="{E81E6F9C-B127-4F45-BD87-814E551ADC0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030" y="1558"/>
                <a:ext cx="341" cy="312"/>
              </a:xfrm>
              <a:custGeom>
                <a:avLst/>
                <a:gdLst>
                  <a:gd name="T0" fmla="*/ 563 w 599"/>
                  <a:gd name="T1" fmla="*/ 0 h 553"/>
                  <a:gd name="T2" fmla="*/ 33 w 599"/>
                  <a:gd name="T3" fmla="*/ 0 h 553"/>
                  <a:gd name="T4" fmla="*/ 0 w 599"/>
                  <a:gd name="T5" fmla="*/ 34 h 553"/>
                  <a:gd name="T6" fmla="*/ 0 w 599"/>
                  <a:gd name="T7" fmla="*/ 404 h 553"/>
                  <a:gd name="T8" fmla="*/ 33 w 599"/>
                  <a:gd name="T9" fmla="*/ 438 h 553"/>
                  <a:gd name="T10" fmla="*/ 214 w 599"/>
                  <a:gd name="T11" fmla="*/ 438 h 553"/>
                  <a:gd name="T12" fmla="*/ 93 w 599"/>
                  <a:gd name="T13" fmla="*/ 517 h 553"/>
                  <a:gd name="T14" fmla="*/ 93 w 599"/>
                  <a:gd name="T15" fmla="*/ 553 h 553"/>
                  <a:gd name="T16" fmla="*/ 484 w 599"/>
                  <a:gd name="T17" fmla="*/ 553 h 553"/>
                  <a:gd name="T18" fmla="*/ 484 w 599"/>
                  <a:gd name="T19" fmla="*/ 517 h 553"/>
                  <a:gd name="T20" fmla="*/ 377 w 599"/>
                  <a:gd name="T21" fmla="*/ 438 h 553"/>
                  <a:gd name="T22" fmla="*/ 563 w 599"/>
                  <a:gd name="T23" fmla="*/ 438 h 553"/>
                  <a:gd name="T24" fmla="*/ 599 w 599"/>
                  <a:gd name="T25" fmla="*/ 404 h 553"/>
                  <a:gd name="T26" fmla="*/ 599 w 599"/>
                  <a:gd name="T27" fmla="*/ 34 h 553"/>
                  <a:gd name="T28" fmla="*/ 563 w 599"/>
                  <a:gd name="T29" fmla="*/ 0 h 553"/>
                  <a:gd name="T30" fmla="*/ 553 w 599"/>
                  <a:gd name="T31" fmla="*/ 47 h 553"/>
                  <a:gd name="T32" fmla="*/ 553 w 599"/>
                  <a:gd name="T33" fmla="*/ 392 h 553"/>
                  <a:gd name="T34" fmla="*/ 47 w 599"/>
                  <a:gd name="T35" fmla="*/ 392 h 553"/>
                  <a:gd name="T36" fmla="*/ 47 w 599"/>
                  <a:gd name="T37" fmla="*/ 47 h 553"/>
                  <a:gd name="T38" fmla="*/ 554 w 599"/>
                  <a:gd name="T39" fmla="*/ 46 h 553"/>
                  <a:gd name="T40" fmla="*/ 553 w 599"/>
                  <a:gd name="T41" fmla="*/ 47 h 5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599" h="553">
                    <a:moveTo>
                      <a:pt x="563" y="0"/>
                    </a:moveTo>
                    <a:lnTo>
                      <a:pt x="33" y="0"/>
                    </a:lnTo>
                    <a:cubicBezTo>
                      <a:pt x="15" y="0"/>
                      <a:pt x="0" y="17"/>
                      <a:pt x="0" y="34"/>
                    </a:cubicBezTo>
                    <a:lnTo>
                      <a:pt x="0" y="404"/>
                    </a:lnTo>
                    <a:cubicBezTo>
                      <a:pt x="0" y="422"/>
                      <a:pt x="15" y="438"/>
                      <a:pt x="33" y="438"/>
                    </a:cubicBezTo>
                    <a:lnTo>
                      <a:pt x="214" y="438"/>
                    </a:lnTo>
                    <a:cubicBezTo>
                      <a:pt x="234" y="507"/>
                      <a:pt x="208" y="517"/>
                      <a:pt x="93" y="517"/>
                    </a:cubicBezTo>
                    <a:lnTo>
                      <a:pt x="93" y="553"/>
                    </a:lnTo>
                    <a:lnTo>
                      <a:pt x="484" y="553"/>
                    </a:lnTo>
                    <a:lnTo>
                      <a:pt x="484" y="517"/>
                    </a:lnTo>
                    <a:cubicBezTo>
                      <a:pt x="369" y="517"/>
                      <a:pt x="357" y="507"/>
                      <a:pt x="377" y="438"/>
                    </a:cubicBezTo>
                    <a:lnTo>
                      <a:pt x="563" y="438"/>
                    </a:lnTo>
                    <a:cubicBezTo>
                      <a:pt x="581" y="438"/>
                      <a:pt x="599" y="422"/>
                      <a:pt x="599" y="404"/>
                    </a:cubicBezTo>
                    <a:lnTo>
                      <a:pt x="599" y="34"/>
                    </a:lnTo>
                    <a:cubicBezTo>
                      <a:pt x="599" y="17"/>
                      <a:pt x="581" y="0"/>
                      <a:pt x="563" y="0"/>
                    </a:cubicBezTo>
                    <a:close/>
                    <a:moveTo>
                      <a:pt x="553" y="47"/>
                    </a:moveTo>
                    <a:lnTo>
                      <a:pt x="553" y="392"/>
                    </a:lnTo>
                    <a:lnTo>
                      <a:pt x="47" y="392"/>
                    </a:lnTo>
                    <a:lnTo>
                      <a:pt x="47" y="47"/>
                    </a:lnTo>
                    <a:lnTo>
                      <a:pt x="554" y="46"/>
                    </a:lnTo>
                    <a:lnTo>
                      <a:pt x="553" y="47"/>
                    </a:lnTo>
                    <a:close/>
                  </a:path>
                </a:pathLst>
              </a:custGeom>
              <a:solidFill>
                <a:srgbClr val="00B0F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14" tIns="45706" rIns="91414" bIns="45706" numCol="1" anchor="t" anchorCtr="0" compatLnSpc="1">
                <a:prstTxWarp prst="textNoShape">
                  <a:avLst/>
                </a:prstTxWarp>
              </a:bodyPr>
              <a:lstStyle/>
              <a:p>
                <a:pPr defTabSz="914049">
                  <a:defRPr/>
                </a:pPr>
                <a:endParaRPr lang="en-US" kern="0">
                  <a:solidFill>
                    <a:srgbClr val="D83B01"/>
                  </a:solidFill>
                  <a:latin typeface="Segoe UI"/>
                </a:endParaRPr>
              </a:p>
            </p:txBody>
          </p:sp>
          <p:sp>
            <p:nvSpPr>
              <p:cNvPr id="25" name="Freeform 6">
                <a:extLst>
                  <a:ext uri="{FF2B5EF4-FFF2-40B4-BE49-F238E27FC236}">
                    <a16:creationId xmlns:a16="http://schemas.microsoft.com/office/drawing/2014/main" id="{53A94723-3C63-4E6A-B269-140D09F5399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44" y="1615"/>
                <a:ext cx="106" cy="61"/>
              </a:xfrm>
              <a:custGeom>
                <a:avLst/>
                <a:gdLst>
                  <a:gd name="T0" fmla="*/ 106 w 106"/>
                  <a:gd name="T1" fmla="*/ 30 h 61"/>
                  <a:gd name="T2" fmla="*/ 53 w 106"/>
                  <a:gd name="T3" fmla="*/ 0 h 61"/>
                  <a:gd name="T4" fmla="*/ 0 w 106"/>
                  <a:gd name="T5" fmla="*/ 30 h 61"/>
                  <a:gd name="T6" fmla="*/ 0 w 106"/>
                  <a:gd name="T7" fmla="*/ 31 h 61"/>
                  <a:gd name="T8" fmla="*/ 53 w 106"/>
                  <a:gd name="T9" fmla="*/ 61 h 61"/>
                  <a:gd name="T10" fmla="*/ 106 w 106"/>
                  <a:gd name="T11" fmla="*/ 31 h 61"/>
                  <a:gd name="T12" fmla="*/ 106 w 106"/>
                  <a:gd name="T13" fmla="*/ 30 h 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06" h="61">
                    <a:moveTo>
                      <a:pt x="106" y="30"/>
                    </a:moveTo>
                    <a:lnTo>
                      <a:pt x="53" y="0"/>
                    </a:lnTo>
                    <a:lnTo>
                      <a:pt x="0" y="30"/>
                    </a:lnTo>
                    <a:lnTo>
                      <a:pt x="0" y="31"/>
                    </a:lnTo>
                    <a:lnTo>
                      <a:pt x="53" y="61"/>
                    </a:lnTo>
                    <a:lnTo>
                      <a:pt x="106" y="31"/>
                    </a:lnTo>
                    <a:lnTo>
                      <a:pt x="106" y="30"/>
                    </a:lnTo>
                    <a:close/>
                  </a:path>
                </a:pathLst>
              </a:custGeom>
              <a:solidFill>
                <a:srgbClr val="00B0F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4" tIns="45706" rIns="91414" bIns="45706" numCol="1" anchor="t" anchorCtr="0" compatLnSpc="1">
                <a:prstTxWarp prst="textNoShape">
                  <a:avLst/>
                </a:prstTxWarp>
              </a:bodyPr>
              <a:lstStyle/>
              <a:p>
                <a:pPr defTabSz="914049">
                  <a:defRPr/>
                </a:pPr>
                <a:endParaRPr lang="en-US" kern="0">
                  <a:solidFill>
                    <a:srgbClr val="505050"/>
                  </a:solidFill>
                  <a:latin typeface="Segoe UI"/>
                </a:endParaRPr>
              </a:p>
            </p:txBody>
          </p:sp>
          <p:sp>
            <p:nvSpPr>
              <p:cNvPr id="26" name="Freeform 7">
                <a:extLst>
                  <a:ext uri="{FF2B5EF4-FFF2-40B4-BE49-F238E27FC236}">
                    <a16:creationId xmlns:a16="http://schemas.microsoft.com/office/drawing/2014/main" id="{25EA153B-6DA8-44CC-977C-D3AE04F8D6D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02" y="1655"/>
                <a:ext cx="53" cy="90"/>
              </a:xfrm>
              <a:custGeom>
                <a:avLst/>
                <a:gdLst>
                  <a:gd name="T0" fmla="*/ 0 w 53"/>
                  <a:gd name="T1" fmla="*/ 30 h 90"/>
                  <a:gd name="T2" fmla="*/ 0 w 53"/>
                  <a:gd name="T3" fmla="*/ 90 h 90"/>
                  <a:gd name="T4" fmla="*/ 53 w 53"/>
                  <a:gd name="T5" fmla="*/ 60 h 90"/>
                  <a:gd name="T6" fmla="*/ 53 w 53"/>
                  <a:gd name="T7" fmla="*/ 0 h 90"/>
                  <a:gd name="T8" fmla="*/ 0 w 53"/>
                  <a:gd name="T9" fmla="*/ 30 h 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3" h="90">
                    <a:moveTo>
                      <a:pt x="0" y="30"/>
                    </a:moveTo>
                    <a:lnTo>
                      <a:pt x="0" y="90"/>
                    </a:lnTo>
                    <a:lnTo>
                      <a:pt x="53" y="60"/>
                    </a:lnTo>
                    <a:lnTo>
                      <a:pt x="53" y="0"/>
                    </a:lnTo>
                    <a:lnTo>
                      <a:pt x="0" y="30"/>
                    </a:lnTo>
                    <a:close/>
                  </a:path>
                </a:pathLst>
              </a:custGeom>
              <a:solidFill>
                <a:srgbClr val="00B0F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4" tIns="45706" rIns="91414" bIns="45706" numCol="1" anchor="t" anchorCtr="0" compatLnSpc="1">
                <a:prstTxWarp prst="textNoShape">
                  <a:avLst/>
                </a:prstTxWarp>
              </a:bodyPr>
              <a:lstStyle/>
              <a:p>
                <a:pPr defTabSz="914049">
                  <a:defRPr/>
                </a:pPr>
                <a:endParaRPr lang="en-US" kern="0">
                  <a:solidFill>
                    <a:srgbClr val="505050"/>
                  </a:solidFill>
                  <a:latin typeface="Segoe UI"/>
                </a:endParaRPr>
              </a:p>
            </p:txBody>
          </p:sp>
          <p:sp>
            <p:nvSpPr>
              <p:cNvPr id="27" name="Freeform 8">
                <a:extLst>
                  <a:ext uri="{FF2B5EF4-FFF2-40B4-BE49-F238E27FC236}">
                    <a16:creationId xmlns:a16="http://schemas.microsoft.com/office/drawing/2014/main" id="{26F49E35-C3C7-4BFC-B338-8B2C32829FB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39" y="1655"/>
                <a:ext cx="53" cy="90"/>
              </a:xfrm>
              <a:custGeom>
                <a:avLst/>
                <a:gdLst>
                  <a:gd name="T0" fmla="*/ 53 w 53"/>
                  <a:gd name="T1" fmla="*/ 30 h 90"/>
                  <a:gd name="T2" fmla="*/ 0 w 53"/>
                  <a:gd name="T3" fmla="*/ 0 h 90"/>
                  <a:gd name="T4" fmla="*/ 0 w 53"/>
                  <a:gd name="T5" fmla="*/ 60 h 90"/>
                  <a:gd name="T6" fmla="*/ 53 w 53"/>
                  <a:gd name="T7" fmla="*/ 90 h 90"/>
                  <a:gd name="T8" fmla="*/ 53 w 53"/>
                  <a:gd name="T9" fmla="*/ 30 h 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3" h="90">
                    <a:moveTo>
                      <a:pt x="53" y="30"/>
                    </a:moveTo>
                    <a:lnTo>
                      <a:pt x="0" y="0"/>
                    </a:lnTo>
                    <a:lnTo>
                      <a:pt x="0" y="60"/>
                    </a:lnTo>
                    <a:lnTo>
                      <a:pt x="53" y="90"/>
                    </a:lnTo>
                    <a:lnTo>
                      <a:pt x="53" y="30"/>
                    </a:lnTo>
                    <a:close/>
                  </a:path>
                </a:pathLst>
              </a:custGeom>
              <a:solidFill>
                <a:srgbClr val="00B0F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4" tIns="45706" rIns="91414" bIns="45706" numCol="1" anchor="t" anchorCtr="0" compatLnSpc="1">
                <a:prstTxWarp prst="textNoShape">
                  <a:avLst/>
                </a:prstTxWarp>
              </a:bodyPr>
              <a:lstStyle/>
              <a:p>
                <a:pPr defTabSz="914049">
                  <a:defRPr/>
                </a:pPr>
                <a:endParaRPr lang="en-US" kern="0">
                  <a:solidFill>
                    <a:srgbClr val="505050"/>
                  </a:solidFill>
                  <a:latin typeface="Segoe UI"/>
                </a:endParaRPr>
              </a:p>
            </p:txBody>
          </p:sp>
        </p:grpSp>
      </p:grpSp>
      <p:sp>
        <p:nvSpPr>
          <p:cNvPr id="28" name="TextBox 27">
            <a:extLst>
              <a:ext uri="{FF2B5EF4-FFF2-40B4-BE49-F238E27FC236}">
                <a16:creationId xmlns:a16="http://schemas.microsoft.com/office/drawing/2014/main" id="{FABD9474-76A4-4AE7-9AF2-329D3F6C28E4}"/>
              </a:ext>
            </a:extLst>
          </p:cNvPr>
          <p:cNvSpPr txBox="1"/>
          <p:nvPr/>
        </p:nvSpPr>
        <p:spPr>
          <a:xfrm>
            <a:off x="10030145" y="1582859"/>
            <a:ext cx="1149829" cy="6102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049">
              <a:defRPr/>
            </a:pPr>
            <a:r>
              <a:rPr lang="en-US" sz="1100" kern="0" dirty="0">
                <a:latin typeface="+mj-lt"/>
              </a:rPr>
              <a:t>Azure Migrate appliance - VMware</a:t>
            </a:r>
          </a:p>
        </p:txBody>
      </p:sp>
      <p:grpSp>
        <p:nvGrpSpPr>
          <p:cNvPr id="61" name="Group 60">
            <a:extLst>
              <a:ext uri="{FF2B5EF4-FFF2-40B4-BE49-F238E27FC236}">
                <a16:creationId xmlns:a16="http://schemas.microsoft.com/office/drawing/2014/main" id="{FD08EA5B-BD8E-41B4-A5EA-914B1D26D3FA}"/>
              </a:ext>
            </a:extLst>
          </p:cNvPr>
          <p:cNvGrpSpPr/>
          <p:nvPr/>
        </p:nvGrpSpPr>
        <p:grpSpPr>
          <a:xfrm>
            <a:off x="6282604" y="4646907"/>
            <a:ext cx="5319081" cy="791256"/>
            <a:chOff x="3653450" y="3157246"/>
            <a:chExt cx="5319836" cy="791368"/>
          </a:xfrm>
        </p:grpSpPr>
        <p:grpSp>
          <p:nvGrpSpPr>
            <p:cNvPr id="37" name="Group 14">
              <a:extLst>
                <a:ext uri="{FF2B5EF4-FFF2-40B4-BE49-F238E27FC236}">
                  <a16:creationId xmlns:a16="http://schemas.microsoft.com/office/drawing/2014/main" id="{F9E6FA53-6104-4625-A600-D53EC9AFE0D2}"/>
                </a:ext>
              </a:extLst>
            </p:cNvPr>
            <p:cNvGrpSpPr/>
            <p:nvPr/>
          </p:nvGrpSpPr>
          <p:grpSpPr>
            <a:xfrm>
              <a:off x="3653450" y="3157246"/>
              <a:ext cx="1545611" cy="791331"/>
              <a:chOff x="4521845" y="4186004"/>
              <a:chExt cx="1576604" cy="807199"/>
            </a:xfrm>
          </p:grpSpPr>
          <p:sp>
            <p:nvSpPr>
              <p:cNvPr id="41" name="TextBox 18">
                <a:extLst>
                  <a:ext uri="{FF2B5EF4-FFF2-40B4-BE49-F238E27FC236}">
                    <a16:creationId xmlns:a16="http://schemas.microsoft.com/office/drawing/2014/main" id="{8275173E-B4CC-42D2-899C-D218F4D83EAC}"/>
                  </a:ext>
                </a:extLst>
              </p:cNvPr>
              <p:cNvSpPr txBox="1"/>
              <p:nvPr/>
            </p:nvSpPr>
            <p:spPr>
              <a:xfrm>
                <a:off x="4521845" y="4722918"/>
                <a:ext cx="1576604" cy="27028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 defTabSz="914049">
                  <a:defRPr/>
                </a:pPr>
                <a:r>
                  <a:rPr lang="en-US" sz="1100" kern="0" dirty="0">
                    <a:latin typeface="+mj-lt"/>
                  </a:rPr>
                  <a:t>Azure Migrate</a:t>
                </a:r>
              </a:p>
            </p:txBody>
          </p:sp>
          <p:pic>
            <p:nvPicPr>
              <p:cNvPr id="39" name="Graphic 6">
                <a:extLst>
                  <a:ext uri="{FF2B5EF4-FFF2-40B4-BE49-F238E27FC236}">
                    <a16:creationId xmlns:a16="http://schemas.microsoft.com/office/drawing/2014/main" id="{208DB6BE-2851-4925-8862-FB9F3EB1AE8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 cstate="print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>
                <a:off x="5008000" y="4186004"/>
                <a:ext cx="571931" cy="571930"/>
              </a:xfrm>
              <a:prstGeom prst="rect">
                <a:avLst/>
              </a:prstGeom>
            </p:spPr>
          </p:pic>
        </p:grpSp>
        <p:grpSp>
          <p:nvGrpSpPr>
            <p:cNvPr id="59" name="Group 58">
              <a:extLst>
                <a:ext uri="{FF2B5EF4-FFF2-40B4-BE49-F238E27FC236}">
                  <a16:creationId xmlns:a16="http://schemas.microsoft.com/office/drawing/2014/main" id="{1271C9FA-0911-4414-ADE3-724634976D60}"/>
                </a:ext>
              </a:extLst>
            </p:cNvPr>
            <p:cNvGrpSpPr/>
            <p:nvPr/>
          </p:nvGrpSpPr>
          <p:grpSpPr>
            <a:xfrm>
              <a:off x="5517287" y="3195531"/>
              <a:ext cx="1545611" cy="753083"/>
              <a:chOff x="5517287" y="3195531"/>
              <a:chExt cx="1545611" cy="753083"/>
            </a:xfrm>
          </p:grpSpPr>
          <p:sp>
            <p:nvSpPr>
              <p:cNvPr id="46" name="TextBox 18">
                <a:extLst>
                  <a:ext uri="{FF2B5EF4-FFF2-40B4-BE49-F238E27FC236}">
                    <a16:creationId xmlns:a16="http://schemas.microsoft.com/office/drawing/2014/main" id="{D09E01EC-E153-4CB5-B232-9E26F52B5E5E}"/>
                  </a:ext>
                </a:extLst>
              </p:cNvPr>
              <p:cNvSpPr txBox="1"/>
              <p:nvPr/>
            </p:nvSpPr>
            <p:spPr>
              <a:xfrm>
                <a:off x="5517287" y="3683605"/>
                <a:ext cx="1545611" cy="26500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 defTabSz="914049">
                  <a:defRPr/>
                </a:pPr>
                <a:r>
                  <a:rPr lang="en-US" sz="1100" kern="0" dirty="0">
                    <a:latin typeface="+mj-lt"/>
                  </a:rPr>
                  <a:t>Azure Storage</a:t>
                </a:r>
              </a:p>
            </p:txBody>
          </p:sp>
          <p:pic>
            <p:nvPicPr>
              <p:cNvPr id="53" name="Graphic 52">
                <a:extLst>
                  <a:ext uri="{FF2B5EF4-FFF2-40B4-BE49-F238E27FC236}">
                    <a16:creationId xmlns:a16="http://schemas.microsoft.com/office/drawing/2014/main" id="{D7205C3E-C56A-49BF-985E-15DD6443565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6"/>
                  </a:ext>
                </a:extLst>
              </a:blip>
              <a:stretch>
                <a:fillRect/>
              </a:stretch>
            </p:blipFill>
            <p:spPr>
              <a:xfrm>
                <a:off x="6064123" y="3195531"/>
                <a:ext cx="441635" cy="441635"/>
              </a:xfrm>
              <a:prstGeom prst="rect">
                <a:avLst/>
              </a:prstGeom>
            </p:spPr>
          </p:pic>
        </p:grpSp>
        <p:grpSp>
          <p:nvGrpSpPr>
            <p:cNvPr id="60" name="Group 59">
              <a:extLst>
                <a:ext uri="{FF2B5EF4-FFF2-40B4-BE49-F238E27FC236}">
                  <a16:creationId xmlns:a16="http://schemas.microsoft.com/office/drawing/2014/main" id="{FD98F45D-4699-4E14-8D58-8BF3A28F1022}"/>
                </a:ext>
              </a:extLst>
            </p:cNvPr>
            <p:cNvGrpSpPr/>
            <p:nvPr/>
          </p:nvGrpSpPr>
          <p:grpSpPr>
            <a:xfrm>
              <a:off x="7427675" y="3230533"/>
              <a:ext cx="1545611" cy="718046"/>
              <a:chOff x="7427675" y="3230533"/>
              <a:chExt cx="1545611" cy="718046"/>
            </a:xfrm>
          </p:grpSpPr>
          <p:sp>
            <p:nvSpPr>
              <p:cNvPr id="51" name="TextBox 18">
                <a:extLst>
                  <a:ext uri="{FF2B5EF4-FFF2-40B4-BE49-F238E27FC236}">
                    <a16:creationId xmlns:a16="http://schemas.microsoft.com/office/drawing/2014/main" id="{0AB48F9E-D5B7-4F87-B69E-F548828422EC}"/>
                  </a:ext>
                </a:extLst>
              </p:cNvPr>
              <p:cNvSpPr txBox="1"/>
              <p:nvPr/>
            </p:nvSpPr>
            <p:spPr>
              <a:xfrm>
                <a:off x="7427675" y="3683607"/>
                <a:ext cx="1545611" cy="26497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 defTabSz="914049">
                  <a:defRPr/>
                </a:pPr>
                <a:r>
                  <a:rPr lang="en-US" sz="1100" kern="0" dirty="0">
                    <a:latin typeface="+mj-lt"/>
                  </a:rPr>
                  <a:t>Azure Compute</a:t>
                </a:r>
              </a:p>
            </p:txBody>
          </p:sp>
          <p:pic>
            <p:nvPicPr>
              <p:cNvPr id="55" name="Graphic 54">
                <a:extLst>
                  <a:ext uri="{FF2B5EF4-FFF2-40B4-BE49-F238E27FC236}">
                    <a16:creationId xmlns:a16="http://schemas.microsoft.com/office/drawing/2014/main" id="{F6FDCCBD-2D7D-4FEE-9E56-AED3FA20A54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8"/>
                  </a:ext>
                </a:extLst>
              </a:blip>
              <a:stretch>
                <a:fillRect/>
              </a:stretch>
            </p:blipFill>
            <p:spPr>
              <a:xfrm>
                <a:off x="7978360" y="3230533"/>
                <a:ext cx="391517" cy="391517"/>
              </a:xfrm>
              <a:prstGeom prst="rect">
                <a:avLst/>
              </a:prstGeom>
            </p:spPr>
          </p:pic>
        </p:grpSp>
      </p:grpSp>
      <p:sp>
        <p:nvSpPr>
          <p:cNvPr id="5" name="TextBox 4">
            <a:extLst>
              <a:ext uri="{FF2B5EF4-FFF2-40B4-BE49-F238E27FC236}">
                <a16:creationId xmlns:a16="http://schemas.microsoft.com/office/drawing/2014/main" id="{A23C2E8D-ED19-4C9A-AE0D-B69AE2656B49}"/>
              </a:ext>
            </a:extLst>
          </p:cNvPr>
          <p:cNvSpPr txBox="1"/>
          <p:nvPr/>
        </p:nvSpPr>
        <p:spPr>
          <a:xfrm>
            <a:off x="7866264" y="616811"/>
            <a:ext cx="2149456" cy="2597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049">
              <a:defRPr/>
            </a:pPr>
            <a:r>
              <a:rPr lang="en-US" sz="1100" kern="0" dirty="0">
                <a:solidFill>
                  <a:prstClr val="black"/>
                </a:solidFill>
                <a:latin typeface="+mj-lt"/>
              </a:rPr>
              <a:t>On-premise environment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DF67AD4-18DF-D245-B87D-7EDEB74F19E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5995" y="433137"/>
            <a:ext cx="4132485" cy="813942"/>
          </a:xfrm>
        </p:spPr>
        <p:txBody>
          <a:bodyPr/>
          <a:lstStyle/>
          <a:p>
            <a:r>
              <a:rPr lang="en-US" dirty="0"/>
              <a:t>Migration:</a:t>
            </a:r>
            <a:br>
              <a:rPr lang="en-US" dirty="0"/>
            </a:br>
            <a:r>
              <a:rPr lang="en-US" dirty="0"/>
              <a:t>Using ExpressRoute</a:t>
            </a:r>
          </a:p>
        </p:txBody>
      </p:sp>
      <p:cxnSp>
        <p:nvCxnSpPr>
          <p:cNvPr id="66" name="Straight Arrow Connector 65">
            <a:extLst>
              <a:ext uri="{FF2B5EF4-FFF2-40B4-BE49-F238E27FC236}">
                <a16:creationId xmlns:a16="http://schemas.microsoft.com/office/drawing/2014/main" id="{2D54793B-3AA6-BC41-8B1D-45C3A3678A2A}"/>
              </a:ext>
            </a:extLst>
          </p:cNvPr>
          <p:cNvCxnSpPr>
            <a:cxnSpLocks/>
          </p:cNvCxnSpPr>
          <p:nvPr/>
        </p:nvCxnSpPr>
        <p:spPr>
          <a:xfrm>
            <a:off x="8935125" y="2293699"/>
            <a:ext cx="0" cy="2328733"/>
          </a:xfrm>
          <a:prstGeom prst="straightConnector1">
            <a:avLst/>
          </a:prstGeom>
          <a:ln w="19050">
            <a:solidFill>
              <a:schemeClr val="accent5"/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Arrow Connector 31">
            <a:extLst>
              <a:ext uri="{FF2B5EF4-FFF2-40B4-BE49-F238E27FC236}">
                <a16:creationId xmlns:a16="http://schemas.microsoft.com/office/drawing/2014/main" id="{E78071BD-197F-E74F-8CC3-01AC47CC8071}"/>
              </a:ext>
            </a:extLst>
          </p:cNvPr>
          <p:cNvCxnSpPr/>
          <p:nvPr/>
        </p:nvCxnSpPr>
        <p:spPr>
          <a:xfrm>
            <a:off x="7055300" y="4023609"/>
            <a:ext cx="0" cy="598822"/>
          </a:xfrm>
          <a:prstGeom prst="straightConnector1">
            <a:avLst/>
          </a:prstGeom>
          <a:ln w="19050">
            <a:solidFill>
              <a:schemeClr val="accent2"/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Straight Arrow Connector 66">
            <a:extLst>
              <a:ext uri="{FF2B5EF4-FFF2-40B4-BE49-F238E27FC236}">
                <a16:creationId xmlns:a16="http://schemas.microsoft.com/office/drawing/2014/main" id="{0D6FE4A7-AD6E-BD43-AC68-E8A941E03CDA}"/>
              </a:ext>
            </a:extLst>
          </p:cNvPr>
          <p:cNvCxnSpPr/>
          <p:nvPr/>
        </p:nvCxnSpPr>
        <p:spPr>
          <a:xfrm>
            <a:off x="10801798" y="4023609"/>
            <a:ext cx="0" cy="598822"/>
          </a:xfrm>
          <a:prstGeom prst="straightConnector1">
            <a:avLst/>
          </a:prstGeom>
          <a:ln w="19050">
            <a:solidFill>
              <a:schemeClr val="accent4"/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0" name="Group 39">
            <a:extLst>
              <a:ext uri="{FF2B5EF4-FFF2-40B4-BE49-F238E27FC236}">
                <a16:creationId xmlns:a16="http://schemas.microsoft.com/office/drawing/2014/main" id="{0B09CF77-BDD1-2E47-B9A5-647DF8B77318}"/>
              </a:ext>
            </a:extLst>
          </p:cNvPr>
          <p:cNvGrpSpPr/>
          <p:nvPr/>
        </p:nvGrpSpPr>
        <p:grpSpPr>
          <a:xfrm>
            <a:off x="8557755" y="2293698"/>
            <a:ext cx="754739" cy="1312474"/>
            <a:chOff x="8729355" y="2632204"/>
            <a:chExt cx="769873" cy="563280"/>
          </a:xfrm>
        </p:grpSpPr>
        <p:cxnSp>
          <p:nvCxnSpPr>
            <p:cNvPr id="36" name="Straight Connector 35">
              <a:extLst>
                <a:ext uri="{FF2B5EF4-FFF2-40B4-BE49-F238E27FC236}">
                  <a16:creationId xmlns:a16="http://schemas.microsoft.com/office/drawing/2014/main" id="{1DC951E0-0C18-9B46-9BB6-2F5DC6A0DA62}"/>
                </a:ext>
              </a:extLst>
            </p:cNvPr>
            <p:cNvCxnSpPr/>
            <p:nvPr/>
          </p:nvCxnSpPr>
          <p:spPr>
            <a:xfrm>
              <a:off x="8729355" y="2632204"/>
              <a:ext cx="0" cy="563280"/>
            </a:xfrm>
            <a:prstGeom prst="line">
              <a:avLst/>
            </a:prstGeom>
            <a:ln w="19050">
              <a:solidFill>
                <a:schemeClr val="accent2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3" name="Straight Connector 72">
              <a:extLst>
                <a:ext uri="{FF2B5EF4-FFF2-40B4-BE49-F238E27FC236}">
                  <a16:creationId xmlns:a16="http://schemas.microsoft.com/office/drawing/2014/main" id="{28211B98-B412-0648-951B-7154A6A6E2EC}"/>
                </a:ext>
              </a:extLst>
            </p:cNvPr>
            <p:cNvCxnSpPr/>
            <p:nvPr/>
          </p:nvCxnSpPr>
          <p:spPr>
            <a:xfrm>
              <a:off x="9499228" y="2632204"/>
              <a:ext cx="0" cy="563280"/>
            </a:xfrm>
            <a:prstGeom prst="line">
              <a:avLst/>
            </a:prstGeom>
            <a:ln w="19050">
              <a:solidFill>
                <a:schemeClr val="tx2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44" name="Straight Connector 43">
            <a:extLst>
              <a:ext uri="{FF2B5EF4-FFF2-40B4-BE49-F238E27FC236}">
                <a16:creationId xmlns:a16="http://schemas.microsoft.com/office/drawing/2014/main" id="{1BE51184-F5DC-BC43-845D-6C9FEAF75AC9}"/>
              </a:ext>
            </a:extLst>
          </p:cNvPr>
          <p:cNvCxnSpPr/>
          <p:nvPr/>
        </p:nvCxnSpPr>
        <p:spPr>
          <a:xfrm flipV="1">
            <a:off x="7055300" y="3606171"/>
            <a:ext cx="1502455" cy="417438"/>
          </a:xfrm>
          <a:prstGeom prst="line">
            <a:avLst/>
          </a:prstGeom>
          <a:ln w="19050">
            <a:solidFill>
              <a:schemeClr val="accent2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8" name="Straight Connector 77">
            <a:extLst>
              <a:ext uri="{FF2B5EF4-FFF2-40B4-BE49-F238E27FC236}">
                <a16:creationId xmlns:a16="http://schemas.microsoft.com/office/drawing/2014/main" id="{76A04D9C-42AE-0A4C-B373-F2C281D3519D}"/>
              </a:ext>
            </a:extLst>
          </p:cNvPr>
          <p:cNvCxnSpPr>
            <a:cxnSpLocks/>
          </p:cNvCxnSpPr>
          <p:nvPr/>
        </p:nvCxnSpPr>
        <p:spPr>
          <a:xfrm flipH="1" flipV="1">
            <a:off x="9299343" y="3606171"/>
            <a:ext cx="1502455" cy="417438"/>
          </a:xfrm>
          <a:prstGeom prst="line">
            <a:avLst/>
          </a:prstGeom>
          <a:ln w="19050">
            <a:solidFill>
              <a:schemeClr val="tx2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9" name="TextBox 78">
            <a:extLst>
              <a:ext uri="{FF2B5EF4-FFF2-40B4-BE49-F238E27FC236}">
                <a16:creationId xmlns:a16="http://schemas.microsoft.com/office/drawing/2014/main" id="{31711803-07DF-CC42-B07D-27FFF38EF39B}"/>
              </a:ext>
            </a:extLst>
          </p:cNvPr>
          <p:cNvSpPr txBox="1"/>
          <p:nvPr/>
        </p:nvSpPr>
        <p:spPr>
          <a:xfrm>
            <a:off x="9487637" y="2819101"/>
            <a:ext cx="1946768" cy="2597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049">
              <a:defRPr/>
            </a:pPr>
            <a:r>
              <a:rPr lang="en-US" sz="1100" kern="0" dirty="0">
                <a:solidFill>
                  <a:prstClr val="black"/>
                </a:solidFill>
                <a:latin typeface="Segoe UI Semilight"/>
              </a:rPr>
              <a:t>ExpressRoute circuit</a:t>
            </a:r>
          </a:p>
        </p:txBody>
      </p:sp>
      <p:sp>
        <p:nvSpPr>
          <p:cNvPr id="81" name="TextBox 80">
            <a:extLst>
              <a:ext uri="{FF2B5EF4-FFF2-40B4-BE49-F238E27FC236}">
                <a16:creationId xmlns:a16="http://schemas.microsoft.com/office/drawing/2014/main" id="{F1AE93A1-23DA-4541-8B64-E92C69E48DF2}"/>
              </a:ext>
            </a:extLst>
          </p:cNvPr>
          <p:cNvSpPr txBox="1"/>
          <p:nvPr/>
        </p:nvSpPr>
        <p:spPr>
          <a:xfrm>
            <a:off x="9481226" y="2442054"/>
            <a:ext cx="1403249" cy="2597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049">
              <a:defRPr/>
            </a:pPr>
            <a:r>
              <a:rPr lang="en-US" sz="1100" kern="0" dirty="0">
                <a:solidFill>
                  <a:prstClr val="black"/>
                </a:solidFill>
                <a:latin typeface="Segoe UI Semilight"/>
              </a:rPr>
              <a:t>Partner Edge</a:t>
            </a:r>
          </a:p>
        </p:txBody>
      </p:sp>
      <p:sp>
        <p:nvSpPr>
          <p:cNvPr id="82" name="TextBox 81">
            <a:extLst>
              <a:ext uri="{FF2B5EF4-FFF2-40B4-BE49-F238E27FC236}">
                <a16:creationId xmlns:a16="http://schemas.microsoft.com/office/drawing/2014/main" id="{EC8AC2EC-7E52-A840-97CB-0DE6C0A5729B}"/>
              </a:ext>
            </a:extLst>
          </p:cNvPr>
          <p:cNvSpPr txBox="1"/>
          <p:nvPr/>
        </p:nvSpPr>
        <p:spPr>
          <a:xfrm>
            <a:off x="9481226" y="3196148"/>
            <a:ext cx="1734722" cy="2597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049">
              <a:defRPr/>
            </a:pPr>
            <a:r>
              <a:rPr lang="en-US" sz="1100" kern="0" dirty="0">
                <a:solidFill>
                  <a:prstClr val="black"/>
                </a:solidFill>
                <a:latin typeface="Segoe UI Semilight"/>
              </a:rPr>
              <a:t>Azure Edge</a:t>
            </a:r>
          </a:p>
        </p:txBody>
      </p:sp>
      <p:sp>
        <p:nvSpPr>
          <p:cNvPr id="47" name="Rounded Rectangle 46">
            <a:extLst>
              <a:ext uri="{FF2B5EF4-FFF2-40B4-BE49-F238E27FC236}">
                <a16:creationId xmlns:a16="http://schemas.microsoft.com/office/drawing/2014/main" id="{C60AF18A-506A-2B42-A3B3-EEE3D2A5D551}"/>
              </a:ext>
            </a:extLst>
          </p:cNvPr>
          <p:cNvSpPr/>
          <p:nvPr/>
        </p:nvSpPr>
        <p:spPr bwMode="auto">
          <a:xfrm>
            <a:off x="8782287" y="2442054"/>
            <a:ext cx="2397687" cy="259799"/>
          </a:xfrm>
          <a:prstGeom prst="roundRect">
            <a:avLst>
              <a:gd name="adj" fmla="val 50000"/>
            </a:avLst>
          </a:prstGeom>
          <a:noFill/>
          <a:ln>
            <a:solidFill>
              <a:schemeClr val="accent3"/>
            </a:solidFill>
            <a:prstDash val="sysDot"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 dirty="0" err="1">
              <a:solidFill>
                <a:schemeClr val="accent6">
                  <a:lumMod val="75000"/>
                </a:schemeClr>
              </a:soli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86" name="Rounded Rectangle 85">
            <a:extLst>
              <a:ext uri="{FF2B5EF4-FFF2-40B4-BE49-F238E27FC236}">
                <a16:creationId xmlns:a16="http://schemas.microsoft.com/office/drawing/2014/main" id="{45700C26-0F10-7640-9F57-80C399835D1A}"/>
              </a:ext>
            </a:extLst>
          </p:cNvPr>
          <p:cNvSpPr/>
          <p:nvPr/>
        </p:nvSpPr>
        <p:spPr bwMode="auto">
          <a:xfrm>
            <a:off x="9087963" y="2817974"/>
            <a:ext cx="2092010" cy="259799"/>
          </a:xfrm>
          <a:prstGeom prst="roundRect">
            <a:avLst>
              <a:gd name="adj" fmla="val 50000"/>
            </a:avLst>
          </a:prstGeom>
          <a:noFill/>
          <a:ln>
            <a:solidFill>
              <a:schemeClr val="accent3"/>
            </a:solidFill>
            <a:prstDash val="sysDot"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 dirty="0" err="1">
              <a:solidFill>
                <a:schemeClr val="accent6">
                  <a:lumMod val="75000"/>
                </a:schemeClr>
              </a:soli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87" name="Rounded Rectangle 86">
            <a:extLst>
              <a:ext uri="{FF2B5EF4-FFF2-40B4-BE49-F238E27FC236}">
                <a16:creationId xmlns:a16="http://schemas.microsoft.com/office/drawing/2014/main" id="{BF3E1D73-BAFA-6442-AC6C-C280B4F236F7}"/>
              </a:ext>
            </a:extLst>
          </p:cNvPr>
          <p:cNvSpPr/>
          <p:nvPr/>
        </p:nvSpPr>
        <p:spPr bwMode="auto">
          <a:xfrm>
            <a:off x="8782287" y="3203533"/>
            <a:ext cx="2397686" cy="259799"/>
          </a:xfrm>
          <a:prstGeom prst="roundRect">
            <a:avLst>
              <a:gd name="adj" fmla="val 50000"/>
            </a:avLst>
          </a:prstGeom>
          <a:noFill/>
          <a:ln>
            <a:solidFill>
              <a:schemeClr val="accent3"/>
            </a:solidFill>
            <a:prstDash val="sysDot"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 dirty="0" err="1">
              <a:solidFill>
                <a:schemeClr val="accent6">
                  <a:lumMod val="75000"/>
                </a:schemeClr>
              </a:soli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bk object 17">
            <a:extLst>
              <a:ext uri="{FF2B5EF4-FFF2-40B4-BE49-F238E27FC236}">
                <a16:creationId xmlns:a16="http://schemas.microsoft.com/office/drawing/2014/main" id="{17533F3E-249B-4AF3-BDEF-0F65C70A155E}"/>
              </a:ext>
            </a:extLst>
          </p:cNvPr>
          <p:cNvSpPr/>
          <p:nvPr/>
        </p:nvSpPr>
        <p:spPr>
          <a:xfrm>
            <a:off x="0" y="6503497"/>
            <a:ext cx="12192000" cy="360045"/>
          </a:xfrm>
          <a:custGeom>
            <a:avLst/>
            <a:gdLst/>
            <a:ahLst/>
            <a:cxnLst/>
            <a:rect l="l" t="t" r="r" b="b"/>
            <a:pathLst>
              <a:path w="12434570" h="360045">
                <a:moveTo>
                  <a:pt x="0" y="359994"/>
                </a:moveTo>
                <a:lnTo>
                  <a:pt x="12434404" y="359994"/>
                </a:lnTo>
                <a:lnTo>
                  <a:pt x="12434404" y="0"/>
                </a:lnTo>
                <a:lnTo>
                  <a:pt x="0" y="0"/>
                </a:lnTo>
                <a:lnTo>
                  <a:pt x="0" y="359994"/>
                </a:lnTo>
                <a:close/>
              </a:path>
            </a:pathLst>
          </a:custGeom>
          <a:solidFill>
            <a:srgbClr val="007FBA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6C8E07CB-4EDE-482F-B42D-62A878C7E845}"/>
              </a:ext>
            </a:extLst>
          </p:cNvPr>
          <p:cNvSpPr txBox="1"/>
          <p:nvPr/>
        </p:nvSpPr>
        <p:spPr>
          <a:xfrm>
            <a:off x="7278010" y="6585633"/>
            <a:ext cx="425867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100" b="0" i="0" kern="0" spc="-20" baseline="0" dirty="0">
                <a:solidFill>
                  <a:schemeClr val="bg1"/>
                </a:solidFill>
                <a:latin typeface="Segoe UI Semibold" charset="0"/>
              </a:rPr>
              <a:t>Microsoft Azure    </a:t>
            </a:r>
            <a:r>
              <a:rPr lang="en-US" sz="1100" b="0" i="0" kern="0" spc="-20" baseline="0" dirty="0">
                <a:solidFill>
                  <a:schemeClr val="bg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|  @</a:t>
            </a:r>
            <a:r>
              <a:rPr lang="en-US" sz="1100" b="0" i="0" kern="0" spc="-20" baseline="0" dirty="0" err="1">
                <a:solidFill>
                  <a:schemeClr val="bg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Techielass</a:t>
            </a:r>
            <a:endParaRPr lang="en-US" sz="1100" b="0" i="0" kern="0" spc="-20" baseline="0" dirty="0">
              <a:solidFill>
                <a:schemeClr val="bg1"/>
              </a:solidFill>
              <a:latin typeface="Segoe UI Semilight" panose="020B0402040204020203" pitchFamily="34" charset="0"/>
              <a:ea typeface="Segoe UI Semilight" charset="0"/>
              <a:cs typeface="Segoe UI Semilight" panose="020B04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0815042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" name="TextBox 48">
            <a:extLst>
              <a:ext uri="{FF2B5EF4-FFF2-40B4-BE49-F238E27FC236}">
                <a16:creationId xmlns:a16="http://schemas.microsoft.com/office/drawing/2014/main" id="{15A9FCE9-BC28-4698-8E8B-2FB3E9765637}"/>
              </a:ext>
            </a:extLst>
          </p:cNvPr>
          <p:cNvSpPr txBox="1"/>
          <p:nvPr/>
        </p:nvSpPr>
        <p:spPr>
          <a:xfrm>
            <a:off x="416689" y="2265005"/>
            <a:ext cx="5329688" cy="2554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defTabSz="914192">
              <a:buFont typeface="Arial" panose="020B0604020202020204" pitchFamily="34" charset="0"/>
              <a:buChar char="•"/>
              <a:defRPr/>
            </a:pPr>
            <a:r>
              <a:rPr lang="en-US" sz="2000" dirty="0">
                <a:solidFill>
                  <a:srgbClr val="4C4C5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Understanding training plans</a:t>
            </a:r>
          </a:p>
          <a:p>
            <a:pPr marL="285750" indent="-285750" defTabSz="914192">
              <a:buFont typeface="Arial" panose="020B0604020202020204" pitchFamily="34" charset="0"/>
              <a:buChar char="•"/>
              <a:defRPr/>
            </a:pPr>
            <a:r>
              <a:rPr lang="en-US" sz="2000" dirty="0">
                <a:solidFill>
                  <a:srgbClr val="4C4C5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Look at cost </a:t>
            </a:r>
            <a:r>
              <a:rPr lang="en-US" sz="2000" dirty="0" err="1">
                <a:solidFill>
                  <a:srgbClr val="4C4C5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optimisations</a:t>
            </a:r>
            <a:endParaRPr lang="en-US" sz="2000" dirty="0">
              <a:solidFill>
                <a:srgbClr val="4C4C5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285750" indent="-285750" defTabSz="914192">
              <a:buFont typeface="Arial" panose="020B0604020202020204" pitchFamily="34" charset="0"/>
              <a:buChar char="•"/>
              <a:defRPr/>
            </a:pPr>
            <a:r>
              <a:rPr lang="en-US" sz="2000" dirty="0">
                <a:solidFill>
                  <a:srgbClr val="4C4C5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Look at operations </a:t>
            </a:r>
            <a:r>
              <a:rPr lang="en-US" sz="2000" dirty="0" err="1">
                <a:solidFill>
                  <a:srgbClr val="4C4C5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optimisations</a:t>
            </a:r>
            <a:endParaRPr lang="en-US" sz="2000" dirty="0">
              <a:solidFill>
                <a:srgbClr val="4C4C5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285750" indent="-285750" defTabSz="914192">
              <a:buFont typeface="Arial" panose="020B0604020202020204" pitchFamily="34" charset="0"/>
              <a:buChar char="•"/>
              <a:defRPr/>
            </a:pPr>
            <a:r>
              <a:rPr lang="en-US" sz="2000" dirty="0">
                <a:solidFill>
                  <a:srgbClr val="4C4C5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utomation</a:t>
            </a:r>
          </a:p>
          <a:p>
            <a:pPr marL="285750" indent="-285750" defTabSz="914192">
              <a:buFont typeface="Arial" panose="020B0604020202020204" pitchFamily="34" charset="0"/>
              <a:buChar char="•"/>
              <a:defRPr/>
            </a:pPr>
            <a:r>
              <a:rPr lang="en-US" sz="2000" dirty="0">
                <a:solidFill>
                  <a:srgbClr val="4C4C5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Future planning</a:t>
            </a:r>
          </a:p>
          <a:p>
            <a:pPr marL="285750" indent="-285750" defTabSz="914192">
              <a:buFont typeface="Arial" panose="020B0604020202020204" pitchFamily="34" charset="0"/>
              <a:buChar char="•"/>
              <a:defRPr/>
            </a:pPr>
            <a:endParaRPr lang="en-US" sz="2000" dirty="0">
              <a:solidFill>
                <a:srgbClr val="4C4C5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285750" indent="-285750" defTabSz="914192">
              <a:buFont typeface="Arial" panose="020B0604020202020204" pitchFamily="34" charset="0"/>
              <a:buChar char="•"/>
              <a:defRPr/>
            </a:pPr>
            <a:endParaRPr lang="en-US" sz="2000" dirty="0">
              <a:solidFill>
                <a:srgbClr val="4C4C5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defTabSz="914192">
              <a:defRPr/>
            </a:pPr>
            <a:endParaRPr lang="en-US" sz="2000" dirty="0">
              <a:solidFill>
                <a:srgbClr val="4C4C5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8" name="Title 1">
            <a:extLst>
              <a:ext uri="{FF2B5EF4-FFF2-40B4-BE49-F238E27FC236}">
                <a16:creationId xmlns:a16="http://schemas.microsoft.com/office/drawing/2014/main" id="{BECD9960-6DF9-4966-B2D6-F0D932774082}"/>
              </a:ext>
            </a:extLst>
          </p:cNvPr>
          <p:cNvSpPr txBox="1">
            <a:spLocks/>
          </p:cNvSpPr>
          <p:nvPr/>
        </p:nvSpPr>
        <p:spPr>
          <a:xfrm>
            <a:off x="486232" y="5795732"/>
            <a:ext cx="11373365" cy="553841"/>
          </a:xfrm>
          <a:prstGeom prst="rect">
            <a:avLst/>
          </a:prstGeom>
        </p:spPr>
        <p:txBody>
          <a:bodyPr vert="horz" wrap="square" lIns="0" tIns="89630" rIns="143407" bIns="89630" rtlCol="0" anchor="t">
            <a:noAutofit/>
          </a:bodyPr>
          <a:lstStyle>
            <a:lvl1pPr algn="l" defTabSz="93256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800" b="0" kern="1200" cap="none" spc="-50" baseline="0" dirty="0" smtClean="0">
                <a:ln w="3175">
                  <a:noFill/>
                </a:ln>
                <a:solidFill>
                  <a:srgbClr val="000000"/>
                </a:soli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defTabSz="932384"/>
            <a:endParaRPr lang="en-US" sz="2745" dirty="0">
              <a:latin typeface="Segoe UI Semibold (Headings)"/>
              <a:cs typeface="Segoe UI Semibold" panose="020B0702040204020203" pitchFamily="34" charset="0"/>
            </a:endParaRP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D90A74E4-D033-244F-8BBF-AB016E603C6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5995" y="881209"/>
            <a:ext cx="11653518" cy="482763"/>
          </a:xfrm>
        </p:spPr>
        <p:txBody>
          <a:bodyPr/>
          <a:lstStyle/>
          <a:p>
            <a:r>
              <a:rPr lang="en-US" dirty="0"/>
              <a:t>Understand your environment and objective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A78D8B18-2C28-6B43-B3A0-D2E53B6355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5995" y="433143"/>
            <a:ext cx="11303917" cy="813704"/>
          </a:xfrm>
        </p:spPr>
        <p:txBody>
          <a:bodyPr/>
          <a:lstStyle/>
          <a:p>
            <a:r>
              <a:rPr lang="en-US" dirty="0" err="1"/>
              <a:t>Optimise</a:t>
            </a:r>
            <a:r>
              <a:rPr lang="en-US" dirty="0"/>
              <a:t> and Manage</a:t>
            </a:r>
          </a:p>
        </p:txBody>
      </p:sp>
      <p:sp>
        <p:nvSpPr>
          <p:cNvPr id="3" name="bk object 17">
            <a:extLst>
              <a:ext uri="{FF2B5EF4-FFF2-40B4-BE49-F238E27FC236}">
                <a16:creationId xmlns:a16="http://schemas.microsoft.com/office/drawing/2014/main" id="{407B5CDC-D413-4E99-A645-F0412DF2C438}"/>
              </a:ext>
            </a:extLst>
          </p:cNvPr>
          <p:cNvSpPr/>
          <p:nvPr/>
        </p:nvSpPr>
        <p:spPr>
          <a:xfrm>
            <a:off x="0" y="6497955"/>
            <a:ext cx="12192000" cy="360045"/>
          </a:xfrm>
          <a:custGeom>
            <a:avLst/>
            <a:gdLst/>
            <a:ahLst/>
            <a:cxnLst/>
            <a:rect l="l" t="t" r="r" b="b"/>
            <a:pathLst>
              <a:path w="12434570" h="360045">
                <a:moveTo>
                  <a:pt x="0" y="359994"/>
                </a:moveTo>
                <a:lnTo>
                  <a:pt x="12434404" y="359994"/>
                </a:lnTo>
                <a:lnTo>
                  <a:pt x="12434404" y="0"/>
                </a:lnTo>
                <a:lnTo>
                  <a:pt x="0" y="0"/>
                </a:lnTo>
                <a:lnTo>
                  <a:pt x="0" y="359994"/>
                </a:lnTo>
                <a:close/>
              </a:path>
            </a:pathLst>
          </a:custGeom>
          <a:solidFill>
            <a:srgbClr val="007FBA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5CE847B4-938E-47E7-9154-2FC09972926D}"/>
              </a:ext>
            </a:extLst>
          </p:cNvPr>
          <p:cNvSpPr txBox="1"/>
          <p:nvPr/>
        </p:nvSpPr>
        <p:spPr>
          <a:xfrm>
            <a:off x="7278010" y="6591175"/>
            <a:ext cx="425867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100" b="0" i="0" kern="0" spc="-20" baseline="0" dirty="0">
                <a:solidFill>
                  <a:schemeClr val="bg1"/>
                </a:solidFill>
                <a:latin typeface="Segoe UI Semibold" charset="0"/>
              </a:rPr>
              <a:t>Microsoft Azure    </a:t>
            </a:r>
            <a:r>
              <a:rPr lang="en-US" sz="1100" b="0" i="0" kern="0" spc="-20" baseline="0" dirty="0">
                <a:solidFill>
                  <a:schemeClr val="bg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|  @</a:t>
            </a:r>
            <a:r>
              <a:rPr lang="en-US" sz="1100" b="0" i="0" kern="0" spc="-20" baseline="0" dirty="0" err="1">
                <a:solidFill>
                  <a:schemeClr val="bg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Techielass</a:t>
            </a:r>
            <a:endParaRPr lang="en-US" sz="1100" b="0" i="0" kern="0" spc="-20" baseline="0" dirty="0">
              <a:solidFill>
                <a:schemeClr val="bg1"/>
              </a:solidFill>
              <a:latin typeface="Segoe UI Semilight" panose="020B0402040204020203" pitchFamily="34" charset="0"/>
              <a:ea typeface="Segoe UI Semilight" charset="0"/>
              <a:cs typeface="Segoe UI Semilight" panose="020B0402040204020203" pitchFamily="34" charset="0"/>
            </a:endParaRPr>
          </a:p>
        </p:txBody>
      </p:sp>
      <p:pic>
        <p:nvPicPr>
          <p:cNvPr id="6" name="Graphic 5" descr="Playbook outline">
            <a:extLst>
              <a:ext uri="{FF2B5EF4-FFF2-40B4-BE49-F238E27FC236}">
                <a16:creationId xmlns:a16="http://schemas.microsoft.com/office/drawing/2014/main" id="{02042F05-DADD-4294-97FE-2ECE3C33DDD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910271" y="23373"/>
            <a:ext cx="1199242" cy="1199242"/>
          </a:xfrm>
          <a:prstGeom prst="rect">
            <a:avLst/>
          </a:prstGeom>
        </p:spPr>
      </p:pic>
      <p:pic>
        <p:nvPicPr>
          <p:cNvPr id="7" name="Graphic 6" descr="Sort outline">
            <a:extLst>
              <a:ext uri="{FF2B5EF4-FFF2-40B4-BE49-F238E27FC236}">
                <a16:creationId xmlns:a16="http://schemas.microsoft.com/office/drawing/2014/main" id="{CB487CA9-8069-463B-BC0B-809EA5A792F3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6445625" y="1734373"/>
            <a:ext cx="3475055" cy="34750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692581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able 3">
            <a:extLst>
              <a:ext uri="{FF2B5EF4-FFF2-40B4-BE49-F238E27FC236}">
                <a16:creationId xmlns:a16="http://schemas.microsoft.com/office/drawing/2014/main" id="{AC7C320D-1AB1-4C3A-819E-A9714B2BD5C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72840891"/>
              </p:ext>
            </p:extLst>
          </p:nvPr>
        </p:nvGraphicFramePr>
        <p:xfrm>
          <a:off x="455995" y="4245559"/>
          <a:ext cx="2057109" cy="2220101"/>
        </p:xfrm>
        <a:graphic>
          <a:graphicData uri="http://schemas.openxmlformats.org/drawingml/2006/table">
            <a:tbl>
              <a:tblPr firstRow="1" bandRow="1">
                <a:effectLst/>
                <a:tableStyleId>{5C22544A-7EE6-4342-B048-85BDC9FD1C3A}</a:tableStyleId>
              </a:tblPr>
              <a:tblGrid>
                <a:gridCol w="2057109">
                  <a:extLst>
                    <a:ext uri="{9D8B030D-6E8A-4147-A177-3AD203B41FA5}">
                      <a16:colId xmlns:a16="http://schemas.microsoft.com/office/drawing/2014/main" val="2274531026"/>
                    </a:ext>
                  </a:extLst>
                </a:gridCol>
              </a:tblGrid>
              <a:tr h="703989">
                <a:tc>
                  <a:txBody>
                    <a:bodyPr/>
                    <a:lstStyle/>
                    <a:p>
                      <a:pPr algn="l"/>
                      <a:r>
                        <a:rPr lang="en-US" sz="2000" b="0" dirty="0">
                          <a:solidFill>
                            <a:schemeClr val="bg1"/>
                          </a:solidFill>
                          <a:latin typeface="+mj-lt"/>
                        </a:rPr>
                        <a:t>Cost</a:t>
                      </a:r>
                    </a:p>
                  </a:txBody>
                  <a:tcPr marL="91388" marR="91388" marT="45694" marB="45694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25146815"/>
                  </a:ext>
                </a:extLst>
              </a:tr>
              <a:tr h="1516112">
                <a:tc>
                  <a:txBody>
                    <a:bodyPr/>
                    <a:lstStyle/>
                    <a:p>
                      <a:pPr marL="0" marR="0" lvl="0" indent="0" algn="l" defTabSz="91401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aseline="0" dirty="0">
                          <a:solidFill>
                            <a:schemeClr val="tx1"/>
                          </a:solidFill>
                          <a:latin typeface="Segoe UI Body"/>
                        </a:rPr>
                        <a:t>Maximize the return </a:t>
                      </a:r>
                      <a:br>
                        <a:rPr lang="en-US" sz="1800" baseline="0" dirty="0">
                          <a:solidFill>
                            <a:schemeClr val="tx1"/>
                          </a:solidFill>
                          <a:latin typeface="Segoe UI Body"/>
                        </a:rPr>
                      </a:br>
                      <a:r>
                        <a:rPr lang="en-US" sz="1800" baseline="0" dirty="0">
                          <a:solidFill>
                            <a:schemeClr val="tx1"/>
                          </a:solidFill>
                          <a:latin typeface="Segoe UI Body"/>
                        </a:rPr>
                        <a:t>on your Azure investment</a:t>
                      </a:r>
                      <a:endParaRPr lang="en-US" sz="1800" dirty="0">
                        <a:solidFill>
                          <a:schemeClr val="tx1"/>
                        </a:solidFill>
                        <a:latin typeface="Segoe UI Body"/>
                      </a:endParaRPr>
                    </a:p>
                  </a:txBody>
                  <a:tcPr marL="91388" marR="91388" marT="45694" marB="45694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8458935"/>
                  </a:ext>
                </a:extLst>
              </a:tr>
            </a:tbl>
          </a:graphicData>
        </a:graphic>
      </p:graphicFrame>
      <p:graphicFrame>
        <p:nvGraphicFramePr>
          <p:cNvPr id="8" name="Table 3">
            <a:extLst>
              <a:ext uri="{FF2B5EF4-FFF2-40B4-BE49-F238E27FC236}">
                <a16:creationId xmlns:a16="http://schemas.microsoft.com/office/drawing/2014/main" id="{DF3BD826-2CD7-4BA9-A461-8E9BDC842EE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73868993"/>
              </p:ext>
            </p:extLst>
          </p:nvPr>
        </p:nvGraphicFramePr>
        <p:xfrm>
          <a:off x="2657898" y="4245559"/>
          <a:ext cx="2057109" cy="2220101"/>
        </p:xfrm>
        <a:graphic>
          <a:graphicData uri="http://schemas.openxmlformats.org/drawingml/2006/table">
            <a:tbl>
              <a:tblPr firstRow="1" bandRow="1">
                <a:effectLst/>
                <a:tableStyleId>{5C22544A-7EE6-4342-B048-85BDC9FD1C3A}</a:tableStyleId>
              </a:tblPr>
              <a:tblGrid>
                <a:gridCol w="2057109">
                  <a:extLst>
                    <a:ext uri="{9D8B030D-6E8A-4147-A177-3AD203B41FA5}">
                      <a16:colId xmlns:a16="http://schemas.microsoft.com/office/drawing/2014/main" val="2274531026"/>
                    </a:ext>
                  </a:extLst>
                </a:gridCol>
              </a:tblGrid>
              <a:tr h="703989">
                <a:tc>
                  <a:txBody>
                    <a:bodyPr/>
                    <a:lstStyle/>
                    <a:p>
                      <a:pPr algn="l"/>
                      <a:r>
                        <a:rPr lang="en-US" sz="2000" b="0" dirty="0">
                          <a:solidFill>
                            <a:schemeClr val="bg1"/>
                          </a:solidFill>
                          <a:latin typeface="+mj-lt"/>
                        </a:rPr>
                        <a:t>Security</a:t>
                      </a:r>
                    </a:p>
                  </a:txBody>
                  <a:tcPr marL="91388" marR="91388" marT="45694" marB="45694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25146815"/>
                  </a:ext>
                </a:extLst>
              </a:tr>
              <a:tr h="1516112">
                <a:tc>
                  <a:txBody>
                    <a:bodyPr/>
                    <a:lstStyle/>
                    <a:p>
                      <a:pPr marL="0" marR="0" lvl="0" indent="0" algn="l" defTabSz="91401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aseline="0" dirty="0">
                          <a:solidFill>
                            <a:schemeClr val="tx1"/>
                          </a:solidFill>
                          <a:latin typeface="Segoe UI Body"/>
                        </a:rPr>
                        <a:t>Protect your Azure resources from security threats</a:t>
                      </a:r>
                      <a:endParaRPr lang="en-US" sz="1800" dirty="0">
                        <a:solidFill>
                          <a:schemeClr val="tx1"/>
                        </a:solidFill>
                        <a:latin typeface="Segoe UI Body"/>
                      </a:endParaRPr>
                    </a:p>
                  </a:txBody>
                  <a:tcPr marL="91388" marR="91388" marT="45694" marB="45694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8458935"/>
                  </a:ext>
                </a:extLst>
              </a:tr>
            </a:tbl>
          </a:graphicData>
        </a:graphic>
      </p:graphicFrame>
      <p:graphicFrame>
        <p:nvGraphicFramePr>
          <p:cNvPr id="9" name="Table 3">
            <a:extLst>
              <a:ext uri="{FF2B5EF4-FFF2-40B4-BE49-F238E27FC236}">
                <a16:creationId xmlns:a16="http://schemas.microsoft.com/office/drawing/2014/main" id="{F6C50101-FD56-43D8-A957-FC1342B9630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7787107"/>
              </p:ext>
            </p:extLst>
          </p:nvPr>
        </p:nvGraphicFramePr>
        <p:xfrm>
          <a:off x="4859802" y="4245559"/>
          <a:ext cx="2057109" cy="2220101"/>
        </p:xfrm>
        <a:graphic>
          <a:graphicData uri="http://schemas.openxmlformats.org/drawingml/2006/table">
            <a:tbl>
              <a:tblPr firstRow="1" bandRow="1">
                <a:effectLst/>
                <a:tableStyleId>{5C22544A-7EE6-4342-B048-85BDC9FD1C3A}</a:tableStyleId>
              </a:tblPr>
              <a:tblGrid>
                <a:gridCol w="2057109">
                  <a:extLst>
                    <a:ext uri="{9D8B030D-6E8A-4147-A177-3AD203B41FA5}">
                      <a16:colId xmlns:a16="http://schemas.microsoft.com/office/drawing/2014/main" val="2274531026"/>
                    </a:ext>
                  </a:extLst>
                </a:gridCol>
              </a:tblGrid>
              <a:tr h="703989">
                <a:tc>
                  <a:txBody>
                    <a:bodyPr/>
                    <a:lstStyle/>
                    <a:p>
                      <a:pPr algn="l"/>
                      <a:r>
                        <a:rPr lang="en-US" sz="2000" b="0" dirty="0">
                          <a:solidFill>
                            <a:schemeClr val="bg1"/>
                          </a:solidFill>
                          <a:latin typeface="+mj-lt"/>
                        </a:rPr>
                        <a:t>Performance</a:t>
                      </a:r>
                    </a:p>
                  </a:txBody>
                  <a:tcPr marL="91388" marR="91388" marT="45694" marB="45694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25146815"/>
                  </a:ext>
                </a:extLst>
              </a:tr>
              <a:tr h="1516112">
                <a:tc>
                  <a:txBody>
                    <a:bodyPr/>
                    <a:lstStyle/>
                    <a:p>
                      <a:pPr marL="0" marR="0" lvl="0" indent="0" algn="l" defTabSz="91401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aseline="0" dirty="0">
                          <a:solidFill>
                            <a:schemeClr val="tx1"/>
                          </a:solidFill>
                          <a:latin typeface="Segoe UI Body"/>
                        </a:rPr>
                        <a:t>Boost speed and responsiveness of your resources</a:t>
                      </a:r>
                      <a:endParaRPr lang="en-US" sz="1800" dirty="0">
                        <a:solidFill>
                          <a:schemeClr val="tx1"/>
                        </a:solidFill>
                        <a:latin typeface="Segoe UI Body"/>
                      </a:endParaRPr>
                    </a:p>
                  </a:txBody>
                  <a:tcPr marL="91388" marR="91388" marT="45694" marB="45694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8458935"/>
                  </a:ext>
                </a:extLst>
              </a:tr>
            </a:tbl>
          </a:graphicData>
        </a:graphic>
      </p:graphicFrame>
      <p:graphicFrame>
        <p:nvGraphicFramePr>
          <p:cNvPr id="15" name="Table 3">
            <a:extLst>
              <a:ext uri="{FF2B5EF4-FFF2-40B4-BE49-F238E27FC236}">
                <a16:creationId xmlns:a16="http://schemas.microsoft.com/office/drawing/2014/main" id="{A97AFFCC-E3F3-4E8A-94D4-E09ED892A31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07478152"/>
              </p:ext>
            </p:extLst>
          </p:nvPr>
        </p:nvGraphicFramePr>
        <p:xfrm>
          <a:off x="7061705" y="4248983"/>
          <a:ext cx="2057109" cy="2220101"/>
        </p:xfrm>
        <a:graphic>
          <a:graphicData uri="http://schemas.openxmlformats.org/drawingml/2006/table">
            <a:tbl>
              <a:tblPr firstRow="1" bandRow="1">
                <a:effectLst/>
                <a:tableStyleId>{5C22544A-7EE6-4342-B048-85BDC9FD1C3A}</a:tableStyleId>
              </a:tblPr>
              <a:tblGrid>
                <a:gridCol w="2057109">
                  <a:extLst>
                    <a:ext uri="{9D8B030D-6E8A-4147-A177-3AD203B41FA5}">
                      <a16:colId xmlns:a16="http://schemas.microsoft.com/office/drawing/2014/main" val="2274531026"/>
                    </a:ext>
                  </a:extLst>
                </a:gridCol>
              </a:tblGrid>
              <a:tr h="703989">
                <a:tc>
                  <a:txBody>
                    <a:bodyPr/>
                    <a:lstStyle/>
                    <a:p>
                      <a:pPr algn="l"/>
                      <a:r>
                        <a:rPr lang="en-US" sz="2000" b="0" dirty="0">
                          <a:solidFill>
                            <a:schemeClr val="bg1"/>
                          </a:solidFill>
                          <a:latin typeface="+mj-lt"/>
                        </a:rPr>
                        <a:t>Reliability</a:t>
                      </a:r>
                    </a:p>
                  </a:txBody>
                  <a:tcPr marL="91388" marR="91388" marT="45694" marB="45694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25146815"/>
                  </a:ext>
                </a:extLst>
              </a:tr>
              <a:tr h="1516112">
                <a:tc>
                  <a:txBody>
                    <a:bodyPr/>
                    <a:lstStyle/>
                    <a:p>
                      <a:pPr marL="0" marR="0" lvl="0" indent="0" algn="l" defTabSz="91401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aseline="0" dirty="0">
                          <a:solidFill>
                            <a:schemeClr val="tx1"/>
                          </a:solidFill>
                          <a:latin typeface="Segoe UI Body"/>
                        </a:rPr>
                        <a:t>Increase uptime of your business-critical apps</a:t>
                      </a:r>
                      <a:endParaRPr lang="en-US" sz="1800" dirty="0">
                        <a:solidFill>
                          <a:schemeClr val="tx1"/>
                        </a:solidFill>
                        <a:latin typeface="Segoe UI Body"/>
                      </a:endParaRPr>
                    </a:p>
                  </a:txBody>
                  <a:tcPr marL="91388" marR="91388" marT="45694" marB="45694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8458935"/>
                  </a:ext>
                </a:extLst>
              </a:tr>
            </a:tbl>
          </a:graphicData>
        </a:graphic>
      </p:graphicFrame>
      <p:graphicFrame>
        <p:nvGraphicFramePr>
          <p:cNvPr id="17" name="Table 3">
            <a:extLst>
              <a:ext uri="{FF2B5EF4-FFF2-40B4-BE49-F238E27FC236}">
                <a16:creationId xmlns:a16="http://schemas.microsoft.com/office/drawing/2014/main" id="{A29495DA-A75E-42D6-97BD-3BE3CB87631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2139439"/>
              </p:ext>
            </p:extLst>
          </p:nvPr>
        </p:nvGraphicFramePr>
        <p:xfrm>
          <a:off x="9263610" y="4245560"/>
          <a:ext cx="2057109" cy="2217100"/>
        </p:xfrm>
        <a:graphic>
          <a:graphicData uri="http://schemas.openxmlformats.org/drawingml/2006/table">
            <a:tbl>
              <a:tblPr firstRow="1" bandRow="1">
                <a:effectLst/>
                <a:tableStyleId>{5C22544A-7EE6-4342-B048-85BDC9FD1C3A}</a:tableStyleId>
              </a:tblPr>
              <a:tblGrid>
                <a:gridCol w="2057109">
                  <a:extLst>
                    <a:ext uri="{9D8B030D-6E8A-4147-A177-3AD203B41FA5}">
                      <a16:colId xmlns:a16="http://schemas.microsoft.com/office/drawing/2014/main" val="2274531026"/>
                    </a:ext>
                  </a:extLst>
                </a:gridCol>
              </a:tblGrid>
              <a:tr h="700900">
                <a:tc>
                  <a:txBody>
                    <a:bodyPr/>
                    <a:lstStyle/>
                    <a:p>
                      <a:pPr algn="l"/>
                      <a:r>
                        <a:rPr lang="en-US" sz="2000" b="0" dirty="0">
                          <a:solidFill>
                            <a:schemeClr val="bg1"/>
                          </a:solidFill>
                          <a:latin typeface="+mj-lt"/>
                        </a:rPr>
                        <a:t>Operational excellence</a:t>
                      </a:r>
                    </a:p>
                  </a:txBody>
                  <a:tcPr marL="91388" marR="91388" marT="45694" marB="45694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25146815"/>
                  </a:ext>
                </a:extLst>
              </a:tr>
              <a:tr h="1516112">
                <a:tc>
                  <a:txBody>
                    <a:bodyPr/>
                    <a:lstStyle/>
                    <a:p>
                      <a:pPr marL="0" marR="0" lvl="0" indent="0" algn="l" defTabSz="91401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aseline="0" dirty="0">
                          <a:solidFill>
                            <a:schemeClr val="tx1"/>
                          </a:solidFill>
                          <a:latin typeface="Segoe UI Body"/>
                        </a:rPr>
                        <a:t>Process and workflow efficiency and manageability</a:t>
                      </a:r>
                      <a:endParaRPr lang="en-US" sz="1800" dirty="0">
                        <a:solidFill>
                          <a:schemeClr val="tx1"/>
                        </a:solidFill>
                        <a:latin typeface="Segoe UI Body"/>
                      </a:endParaRPr>
                    </a:p>
                  </a:txBody>
                  <a:tcPr marL="91388" marR="91388" marT="45694" marB="45694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8458935"/>
                  </a:ext>
                </a:extLst>
              </a:tr>
            </a:tbl>
          </a:graphicData>
        </a:graphic>
      </p:graphicFrame>
      <p:sp>
        <p:nvSpPr>
          <p:cNvPr id="49" name="TextBox 48">
            <a:extLst>
              <a:ext uri="{FF2B5EF4-FFF2-40B4-BE49-F238E27FC236}">
                <a16:creationId xmlns:a16="http://schemas.microsoft.com/office/drawing/2014/main" id="{15A9FCE9-BC28-4698-8E8B-2FB3E9765637}"/>
              </a:ext>
            </a:extLst>
          </p:cNvPr>
          <p:cNvSpPr txBox="1"/>
          <p:nvPr/>
        </p:nvSpPr>
        <p:spPr>
          <a:xfrm>
            <a:off x="455995" y="1973121"/>
            <a:ext cx="11160332" cy="18928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1765"/>
              </a:spcAft>
            </a:pPr>
            <a:r>
              <a:rPr lang="en-US" spc="0" dirty="0">
                <a:latin typeface="Segoe UI Body"/>
              </a:rPr>
              <a:t>Best practices to set up and optimize your Azure workloads</a:t>
            </a:r>
          </a:p>
          <a:p>
            <a:pPr>
              <a:spcAft>
                <a:spcPts val="1765"/>
              </a:spcAft>
            </a:pPr>
            <a:r>
              <a:rPr lang="en-US" spc="0" dirty="0">
                <a:latin typeface="Segoe UI Body"/>
              </a:rPr>
              <a:t>Simple, step-by-step guidance and quick actions for fast remediation</a:t>
            </a:r>
          </a:p>
          <a:p>
            <a:pPr>
              <a:spcAft>
                <a:spcPts val="1765"/>
              </a:spcAft>
            </a:pPr>
            <a:r>
              <a:rPr lang="en-US" spc="0" dirty="0">
                <a:latin typeface="Segoe UI Body"/>
              </a:rPr>
              <a:t>One place to review and act on recommendations across Azure</a:t>
            </a:r>
          </a:p>
          <a:p>
            <a:pPr>
              <a:spcAft>
                <a:spcPts val="1765"/>
              </a:spcAft>
            </a:pPr>
            <a:r>
              <a:rPr lang="en-US" spc="0" dirty="0">
                <a:latin typeface="Segoe UI Body"/>
              </a:rPr>
              <a:t>Alerts and digests to notify you about new recommendations</a:t>
            </a:r>
          </a:p>
        </p:txBody>
      </p:sp>
      <p:sp>
        <p:nvSpPr>
          <p:cNvPr id="28" name="Title 1">
            <a:extLst>
              <a:ext uri="{FF2B5EF4-FFF2-40B4-BE49-F238E27FC236}">
                <a16:creationId xmlns:a16="http://schemas.microsoft.com/office/drawing/2014/main" id="{BECD9960-6DF9-4966-B2D6-F0D932774082}"/>
              </a:ext>
            </a:extLst>
          </p:cNvPr>
          <p:cNvSpPr txBox="1">
            <a:spLocks/>
          </p:cNvSpPr>
          <p:nvPr/>
        </p:nvSpPr>
        <p:spPr>
          <a:xfrm>
            <a:off x="485432" y="5594026"/>
            <a:ext cx="11373365" cy="553841"/>
          </a:xfrm>
          <a:prstGeom prst="rect">
            <a:avLst/>
          </a:prstGeom>
        </p:spPr>
        <p:txBody>
          <a:bodyPr vert="horz" wrap="square" lIns="0" tIns="89630" rIns="143407" bIns="89630" rtlCol="0" anchor="t">
            <a:noAutofit/>
          </a:bodyPr>
          <a:lstStyle>
            <a:lvl1pPr algn="l" defTabSz="93256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800" b="0" kern="1200" cap="none" spc="-50" baseline="0" dirty="0" smtClean="0">
                <a:ln w="3175">
                  <a:noFill/>
                </a:ln>
                <a:solidFill>
                  <a:srgbClr val="000000"/>
                </a:soli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defTabSz="932384"/>
            <a:endParaRPr lang="en-US" sz="2745" dirty="0">
              <a:latin typeface="Segoe UI Semibold (Headings)"/>
              <a:cs typeface="Segoe UI Semibold" panose="020B0702040204020203" pitchFamily="34" charset="0"/>
            </a:endParaRP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D90A74E4-D033-244F-8BBF-AB016E603C6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5995" y="881209"/>
            <a:ext cx="11653518" cy="486287"/>
          </a:xfrm>
        </p:spPr>
        <p:txBody>
          <a:bodyPr/>
          <a:lstStyle/>
          <a:p>
            <a:r>
              <a:rPr lang="en-US" sz="1960" spc="0" dirty="0">
                <a:solidFill>
                  <a:srgbClr val="0078D4"/>
                </a:solidFill>
                <a:latin typeface="Segoe UI (Body)"/>
              </a:rPr>
              <a:t>F</a:t>
            </a:r>
            <a:r>
              <a:rPr lang="en-US" sz="1960" spc="0" dirty="0">
                <a:ln>
                  <a:noFill/>
                </a:ln>
                <a:solidFill>
                  <a:srgbClr val="0078D4"/>
                </a:solidFill>
                <a:latin typeface="Segoe UI (Body)"/>
              </a:rPr>
              <a:t>ree personalized guide to Azure best practices</a:t>
            </a:r>
            <a:endParaRPr lang="en-US" sz="1960" dirty="0">
              <a:solidFill>
                <a:srgbClr val="0078D4"/>
              </a:solidFill>
              <a:latin typeface="Segoe UI (Body)"/>
            </a:endParaRP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A78D8B18-2C28-6B43-B3A0-D2E53B6355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5995" y="433143"/>
            <a:ext cx="11303917" cy="813704"/>
          </a:xfrm>
        </p:spPr>
        <p:txBody>
          <a:bodyPr/>
          <a:lstStyle/>
          <a:p>
            <a:r>
              <a:rPr lang="en-US" dirty="0">
                <a:latin typeface="Segoe UI Semibold (Headings)"/>
              </a:rPr>
              <a:t>Azure Advisor</a:t>
            </a:r>
          </a:p>
        </p:txBody>
      </p:sp>
      <p:pic>
        <p:nvPicPr>
          <p:cNvPr id="2" name="Graphic 1" descr="Advisor&#10;">
            <a:extLst>
              <a:ext uri="{FF2B5EF4-FFF2-40B4-BE49-F238E27FC236}">
                <a16:creationId xmlns:a16="http://schemas.microsoft.com/office/drawing/2014/main" id="{DB06BF60-9067-47A2-B22E-6B3D10A8A31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896600" y="154935"/>
            <a:ext cx="1140686" cy="1140686"/>
          </a:xfrm>
          <a:prstGeom prst="rect">
            <a:avLst/>
          </a:prstGeom>
        </p:spPr>
      </p:pic>
      <p:sp>
        <p:nvSpPr>
          <p:cNvPr id="21" name="bk object 17">
            <a:extLst>
              <a:ext uri="{FF2B5EF4-FFF2-40B4-BE49-F238E27FC236}">
                <a16:creationId xmlns:a16="http://schemas.microsoft.com/office/drawing/2014/main" id="{13B2B0A2-4CA9-469A-AA4C-9EB63873DC76}"/>
              </a:ext>
            </a:extLst>
          </p:cNvPr>
          <p:cNvSpPr/>
          <p:nvPr/>
        </p:nvSpPr>
        <p:spPr>
          <a:xfrm>
            <a:off x="0" y="6497955"/>
            <a:ext cx="12192000" cy="360045"/>
          </a:xfrm>
          <a:custGeom>
            <a:avLst/>
            <a:gdLst/>
            <a:ahLst/>
            <a:cxnLst/>
            <a:rect l="l" t="t" r="r" b="b"/>
            <a:pathLst>
              <a:path w="12434570" h="360045">
                <a:moveTo>
                  <a:pt x="0" y="359994"/>
                </a:moveTo>
                <a:lnTo>
                  <a:pt x="12434404" y="359994"/>
                </a:lnTo>
                <a:lnTo>
                  <a:pt x="12434404" y="0"/>
                </a:lnTo>
                <a:lnTo>
                  <a:pt x="0" y="0"/>
                </a:lnTo>
                <a:lnTo>
                  <a:pt x="0" y="359994"/>
                </a:lnTo>
                <a:close/>
              </a:path>
            </a:pathLst>
          </a:custGeom>
          <a:solidFill>
            <a:srgbClr val="007FBA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FC0529C4-2B7D-4B56-A8E3-775F6CECAE2B}"/>
              </a:ext>
            </a:extLst>
          </p:cNvPr>
          <p:cNvSpPr txBox="1"/>
          <p:nvPr/>
        </p:nvSpPr>
        <p:spPr>
          <a:xfrm>
            <a:off x="7278010" y="6591175"/>
            <a:ext cx="425867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100" b="0" i="0" kern="0" spc="-20" baseline="0" dirty="0">
                <a:solidFill>
                  <a:schemeClr val="bg1"/>
                </a:solidFill>
                <a:latin typeface="Segoe UI Semibold" charset="0"/>
              </a:rPr>
              <a:t>Microsoft Azure    </a:t>
            </a:r>
            <a:r>
              <a:rPr lang="en-US" sz="1100" b="0" i="0" kern="0" spc="-20" baseline="0" dirty="0">
                <a:solidFill>
                  <a:schemeClr val="bg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|  @</a:t>
            </a:r>
            <a:r>
              <a:rPr lang="en-US" sz="1100" b="0" i="0" kern="0" spc="-20" baseline="0" dirty="0" err="1">
                <a:solidFill>
                  <a:schemeClr val="bg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Techielass</a:t>
            </a:r>
            <a:endParaRPr lang="en-US" sz="1100" b="0" i="0" kern="0" spc="-20" baseline="0" dirty="0">
              <a:solidFill>
                <a:schemeClr val="bg1"/>
              </a:solidFill>
              <a:latin typeface="Segoe UI Semilight" panose="020B0402040204020203" pitchFamily="34" charset="0"/>
              <a:ea typeface="Segoe UI Semilight" charset="0"/>
              <a:cs typeface="Segoe UI Semilight" panose="020B04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9599858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78E9AD5-37FF-4D0D-B5BF-72CC084F72D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78071" y="1789006"/>
            <a:ext cx="11303917" cy="813819"/>
          </a:xfr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>
              <a:lnSpc>
                <a:spcPct val="90000"/>
              </a:lnSpc>
            </a:pPr>
            <a:r>
              <a:rPr lang="en-US" dirty="0">
                <a:gradFill flip="none" rotWithShape="1">
                  <a:gsLst>
                    <a:gs pos="12000">
                      <a:srgbClr val="0078D4"/>
                    </a:gs>
                    <a:gs pos="100000">
                      <a:srgbClr val="50E6FF"/>
                    </a:gs>
                  </a:gsLst>
                  <a:lin ang="18900000" scaled="1"/>
                  <a:tileRect/>
                </a:gradFill>
                <a:cs typeface="+mn-cs"/>
              </a:rPr>
              <a:t>Cost </a:t>
            </a:r>
            <a:r>
              <a:rPr lang="en-US" dirty="0" err="1">
                <a:gradFill flip="none" rotWithShape="1">
                  <a:gsLst>
                    <a:gs pos="12000">
                      <a:srgbClr val="0078D4"/>
                    </a:gs>
                    <a:gs pos="100000">
                      <a:srgbClr val="50E6FF"/>
                    </a:gs>
                  </a:gsLst>
                  <a:lin ang="18900000" scaled="1"/>
                  <a:tileRect/>
                </a:gradFill>
                <a:cs typeface="+mn-cs"/>
              </a:rPr>
              <a:t>Optimisation</a:t>
            </a:r>
            <a:endParaRPr lang="en-US" dirty="0">
              <a:gradFill flip="none" rotWithShape="1">
                <a:gsLst>
                  <a:gs pos="12000">
                    <a:srgbClr val="0078D4"/>
                  </a:gs>
                  <a:gs pos="100000">
                    <a:srgbClr val="50E6FF"/>
                  </a:gs>
                </a:gsLst>
                <a:lin ang="18900000" scaled="1"/>
                <a:tileRect/>
              </a:gradFill>
              <a:cs typeface="+mn-cs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CDC81795-C33B-468F-860F-3D9A6AAF1F63}"/>
              </a:ext>
            </a:extLst>
          </p:cNvPr>
          <p:cNvSpPr txBox="1"/>
          <p:nvPr/>
        </p:nvSpPr>
        <p:spPr>
          <a:xfrm>
            <a:off x="1478071" y="3030771"/>
            <a:ext cx="9086168" cy="707886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pPr defTabSz="914367">
              <a:defRPr/>
            </a:pPr>
            <a:r>
              <a:rPr lang="en-GB" sz="2000" dirty="0"/>
              <a:t>Cost optimization in the large enterprises is a difficult task. </a:t>
            </a:r>
            <a:r>
              <a:rPr lang="en-US" sz="2000" dirty="0"/>
              <a:t>The conversation shouldn’t just be about cutting costs but about </a:t>
            </a:r>
            <a:r>
              <a:rPr lang="en-US" sz="2000" b="1" spc="-50" dirty="0">
                <a:ln w="3175">
                  <a:noFill/>
                </a:ln>
                <a:gradFill flip="none" rotWithShape="1">
                  <a:gsLst>
                    <a:gs pos="12000">
                      <a:srgbClr val="0078D4"/>
                    </a:gs>
                    <a:gs pos="100000">
                      <a:srgbClr val="50E6FF"/>
                    </a:gs>
                  </a:gsLst>
                  <a:lin ang="18900000" scaled="1"/>
                  <a:tileRect/>
                </a:gradFill>
              </a:rPr>
              <a:t>running responsibly</a:t>
            </a:r>
            <a:r>
              <a:rPr lang="en-US" sz="2000" dirty="0"/>
              <a:t>. </a:t>
            </a:r>
            <a:endParaRPr kumimoji="0" lang="en-US" sz="20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Segoe UI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49FB5A8D-D3EC-4E8D-AB95-9AE9A35C803E}"/>
              </a:ext>
            </a:extLst>
          </p:cNvPr>
          <p:cNvSpPr/>
          <p:nvPr/>
        </p:nvSpPr>
        <p:spPr>
          <a:xfrm>
            <a:off x="0" y="6494753"/>
            <a:ext cx="12192000" cy="361507"/>
          </a:xfrm>
          <a:prstGeom prst="rect">
            <a:avLst/>
          </a:prstGeom>
          <a:solidFill>
            <a:srgbClr val="007FB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9869E0D-E4F1-46F8-82CB-9D64733FC2A7}"/>
              </a:ext>
            </a:extLst>
          </p:cNvPr>
          <p:cNvSpPr txBox="1"/>
          <p:nvPr/>
        </p:nvSpPr>
        <p:spPr>
          <a:xfrm>
            <a:off x="9520101" y="6536826"/>
            <a:ext cx="2397642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b="0" i="0" kern="0" spc="-20" baseline="0" dirty="0">
                <a:solidFill>
                  <a:schemeClr val="bg1"/>
                </a:solidFill>
                <a:latin typeface="Segoe UI Semibold" charset="0"/>
              </a:rPr>
              <a:t>Microsoft Azure    </a:t>
            </a:r>
            <a:r>
              <a:rPr lang="en-US" sz="1100" b="0" i="0" kern="0" spc="-20" baseline="0" dirty="0">
                <a:solidFill>
                  <a:schemeClr val="bg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|  @Techielass</a:t>
            </a:r>
            <a:endParaRPr lang="en-US" sz="1100" b="0" i="0" kern="0" spc="-20" baseline="0" dirty="0">
              <a:solidFill>
                <a:schemeClr val="bg1"/>
              </a:solidFill>
              <a:latin typeface="Segoe UI Semilight" panose="020B0402040204020203" pitchFamily="34" charset="0"/>
              <a:ea typeface="Segoe UI Semilight" charset="0"/>
              <a:cs typeface="Segoe UI Semilight" panose="020B0402040204020203" pitchFamily="34" charset="0"/>
            </a:endParaRPr>
          </a:p>
          <a:p>
            <a:endParaRPr lang="en-GB" sz="11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1779023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375E-6 1.11111E-6 L 4.375E-6 0.04167 " pathEditMode="relative" rAng="0" ptsTypes="AA">
                                      <p:cBhvr>
                                        <p:cTn id="9" dur="750" spd="-100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2083"/>
                                    </p:animMotion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42" presetClass="path" presetSubtype="0" decel="100000" fill="hold" grpId="1" nodeType="withEffect">
                                  <p:stCondLst>
                                    <p:cond delay="250"/>
                                  </p:stCondLst>
                                  <p:childTnLst>
                                    <p:animMotion origin="layout" path="M -2.08333E-7 1.48148E-6 L -2.08333E-7 0.04167 " pathEditMode="relative" rAng="0" ptsTypes="AA">
                                      <p:cBhvr>
                                        <p:cTn id="14" dur="750" spd="-100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2083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2" grpId="1"/>
      <p:bldP spid="8" grpId="0"/>
      <p:bldP spid="8" grpId="1"/>
    </p:bld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13DEE5C2-93CC-4336-A776-F4EAE4EDA63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1121" y="229348"/>
            <a:ext cx="11081177" cy="1020602"/>
          </a:xfrm>
        </p:spPr>
        <p:txBody>
          <a:bodyPr/>
          <a:lstStyle/>
          <a:p>
            <a:pPr lvl="0" defTabSz="911764">
              <a:lnSpc>
                <a:spcPct val="100000"/>
              </a:lnSpc>
              <a:spcBef>
                <a:spcPts val="0"/>
              </a:spcBef>
              <a:defRPr/>
            </a:pPr>
            <a:r>
              <a:rPr lang="en-US" dirty="0">
                <a:solidFill>
                  <a:srgbClr val="0078D4"/>
                </a:solidFill>
                <a:latin typeface="Segoe UI Light (Headings)"/>
                <a:ea typeface="+mn-ea"/>
                <a:cs typeface="+mn-cs"/>
              </a:rPr>
              <a:t>No migration is ever linear or simple….</a:t>
            </a:r>
            <a:br>
              <a:rPr lang="en-US" dirty="0">
                <a:solidFill>
                  <a:srgbClr val="50E6FF"/>
                </a:solidFill>
                <a:latin typeface="Segoe UI Light (Headings)"/>
                <a:ea typeface="+mn-ea"/>
                <a:cs typeface="+mn-cs"/>
              </a:rPr>
            </a:br>
            <a:r>
              <a:rPr lang="en-US" dirty="0">
                <a:solidFill>
                  <a:srgbClr val="FFFFFF"/>
                </a:solidFill>
                <a:latin typeface="Segoe UI Light (Headings)"/>
                <a:ea typeface="+mn-ea"/>
                <a:cs typeface="+mn-cs"/>
              </a:rPr>
              <a:t>Azure </a:t>
            </a:r>
            <a:br>
              <a:rPr lang="en-US" dirty="0">
                <a:solidFill>
                  <a:prstClr val="white"/>
                </a:solidFill>
                <a:latin typeface="Segoe UI Light (Headings)"/>
                <a:ea typeface="+mn-ea"/>
                <a:cs typeface="+mn-cs"/>
              </a:rPr>
            </a:br>
            <a:endParaRPr lang="en-US" dirty="0">
              <a:latin typeface="Segoe UI Light (Headings)"/>
            </a:endParaRPr>
          </a:p>
        </p:txBody>
      </p:sp>
      <p:sp>
        <p:nvSpPr>
          <p:cNvPr id="122" name="Title 6">
            <a:extLst>
              <a:ext uri="{FF2B5EF4-FFF2-40B4-BE49-F238E27FC236}">
                <a16:creationId xmlns:a16="http://schemas.microsoft.com/office/drawing/2014/main" id="{32C60991-C9B6-4930-8E8F-6CD1767D873D}"/>
              </a:ext>
            </a:extLst>
          </p:cNvPr>
          <p:cNvSpPr txBox="1">
            <a:spLocks/>
          </p:cNvSpPr>
          <p:nvPr/>
        </p:nvSpPr>
        <p:spPr>
          <a:xfrm>
            <a:off x="414867" y="119617"/>
            <a:ext cx="11079606" cy="488538"/>
          </a:xfrm>
          <a:prstGeom prst="rect">
            <a:avLst/>
          </a:prstGeom>
        </p:spPr>
        <p:txBody>
          <a:bodyPr vert="horz" lIns="0" tIns="44821" rIns="89642" bIns="44821" rtlCol="0" anchor="t">
            <a:noAutofit/>
          </a:bodyPr>
          <a:lstStyle>
            <a:lvl1pPr algn="l" defTabSz="93008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599" kern="1200">
                <a:solidFill>
                  <a:schemeClr val="bg2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defTabSz="911764">
              <a:defRPr/>
            </a:pPr>
            <a:endParaRPr kumimoji="0" lang="en-US" sz="3528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 Semibold"/>
              <a:ea typeface="+mj-ea"/>
              <a:cs typeface="+mj-cs"/>
            </a:endParaRPr>
          </a:p>
        </p:txBody>
      </p:sp>
      <p:sp>
        <p:nvSpPr>
          <p:cNvPr id="15" name="Block Arc 14" hidden="1">
            <a:extLst>
              <a:ext uri="{FF2B5EF4-FFF2-40B4-BE49-F238E27FC236}">
                <a16:creationId xmlns:a16="http://schemas.microsoft.com/office/drawing/2014/main" id="{A18A1384-F91F-4133-8581-21B262F0D566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4260056" y="3335286"/>
            <a:ext cx="3810000" cy="3810000"/>
          </a:xfrm>
          <a:prstGeom prst="blockArc">
            <a:avLst>
              <a:gd name="adj1" fmla="val 0"/>
              <a:gd name="adj2" fmla="val 3600000"/>
              <a:gd name="adj3" fmla="val 25000"/>
            </a:avLst>
          </a:prstGeom>
          <a:solidFill>
            <a:srgbClr val="0078D4"/>
          </a:solidFill>
          <a:ln w="25400">
            <a:solidFill>
              <a:srgbClr val="FFFFFF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1"/>
          <a:lstStyle/>
          <a:p>
            <a:pPr algn="ctr"/>
            <a:r>
              <a:rPr lang="en-IN" sz="1200">
                <a:solidFill>
                  <a:srgbClr val="FFFFFF"/>
                </a:solidFill>
              </a:rPr>
              <a:t>Text</a:t>
            </a:r>
          </a:p>
        </p:txBody>
      </p:sp>
      <p:sp>
        <p:nvSpPr>
          <p:cNvPr id="17" name="Block Arc 16" hidden="1">
            <a:extLst>
              <a:ext uri="{FF2B5EF4-FFF2-40B4-BE49-F238E27FC236}">
                <a16:creationId xmlns:a16="http://schemas.microsoft.com/office/drawing/2014/main" id="{CA0E8247-89D9-4381-A9C1-5232384FC9B2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4260056" y="3335286"/>
            <a:ext cx="3810000" cy="3810000"/>
          </a:xfrm>
          <a:prstGeom prst="blockArc">
            <a:avLst>
              <a:gd name="adj1" fmla="val 3600000"/>
              <a:gd name="adj2" fmla="val 7200000"/>
              <a:gd name="adj3" fmla="val 25000"/>
            </a:avLst>
          </a:prstGeom>
          <a:solidFill>
            <a:srgbClr val="0078D4"/>
          </a:solidFill>
          <a:ln w="25400">
            <a:solidFill>
              <a:srgbClr val="FFFFFF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1"/>
          <a:lstStyle/>
          <a:p>
            <a:pPr algn="ctr"/>
            <a:r>
              <a:rPr lang="en-IN" sz="1200">
                <a:solidFill>
                  <a:srgbClr val="FFFFFF"/>
                </a:solidFill>
              </a:rPr>
              <a:t>Text</a:t>
            </a:r>
          </a:p>
        </p:txBody>
      </p:sp>
      <p:sp>
        <p:nvSpPr>
          <p:cNvPr id="23" name="Block Arc 22" hidden="1">
            <a:extLst>
              <a:ext uri="{FF2B5EF4-FFF2-40B4-BE49-F238E27FC236}">
                <a16:creationId xmlns:a16="http://schemas.microsoft.com/office/drawing/2014/main" id="{D7255DD1-948A-4469-BAB1-AF89D0CB1AD1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4260056" y="3335286"/>
            <a:ext cx="3810000" cy="3810000"/>
          </a:xfrm>
          <a:prstGeom prst="blockArc">
            <a:avLst>
              <a:gd name="adj1" fmla="val 7200000"/>
              <a:gd name="adj2" fmla="val 10800000"/>
              <a:gd name="adj3" fmla="val 25000"/>
            </a:avLst>
          </a:prstGeom>
          <a:solidFill>
            <a:srgbClr val="0078D4"/>
          </a:solidFill>
          <a:ln w="25400">
            <a:solidFill>
              <a:srgbClr val="FFFFFF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1"/>
          <a:lstStyle/>
          <a:p>
            <a:pPr algn="ctr"/>
            <a:r>
              <a:rPr lang="en-IN" sz="1200">
                <a:solidFill>
                  <a:srgbClr val="FFFFFF"/>
                </a:solidFill>
              </a:rPr>
              <a:t>Text</a:t>
            </a:r>
          </a:p>
        </p:txBody>
      </p:sp>
      <p:sp>
        <p:nvSpPr>
          <p:cNvPr id="26" name="Block Arc 25" hidden="1">
            <a:extLst>
              <a:ext uri="{FF2B5EF4-FFF2-40B4-BE49-F238E27FC236}">
                <a16:creationId xmlns:a16="http://schemas.microsoft.com/office/drawing/2014/main" id="{D74EB622-F971-419C-885C-E52519A4A596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4260056" y="3335286"/>
            <a:ext cx="3810000" cy="3810000"/>
          </a:xfrm>
          <a:prstGeom prst="blockArc">
            <a:avLst>
              <a:gd name="adj1" fmla="val 10800000"/>
              <a:gd name="adj2" fmla="val 14400000"/>
              <a:gd name="adj3" fmla="val 25000"/>
            </a:avLst>
          </a:prstGeom>
          <a:solidFill>
            <a:srgbClr val="0078D4"/>
          </a:solidFill>
          <a:ln w="25400">
            <a:solidFill>
              <a:srgbClr val="FFFFFF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1"/>
          <a:lstStyle/>
          <a:p>
            <a:pPr algn="ctr"/>
            <a:r>
              <a:rPr lang="en-IN" sz="1200">
                <a:solidFill>
                  <a:srgbClr val="FFFFFF"/>
                </a:solidFill>
              </a:rPr>
              <a:t>Text</a:t>
            </a:r>
          </a:p>
        </p:txBody>
      </p:sp>
      <p:sp>
        <p:nvSpPr>
          <p:cNvPr id="27" name="Block Arc 26" hidden="1">
            <a:extLst>
              <a:ext uri="{FF2B5EF4-FFF2-40B4-BE49-F238E27FC236}">
                <a16:creationId xmlns:a16="http://schemas.microsoft.com/office/drawing/2014/main" id="{B1FB3A85-113B-45B8-B2A3-CF9953B085F4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4260056" y="3335286"/>
            <a:ext cx="3810000" cy="3810000"/>
          </a:xfrm>
          <a:prstGeom prst="blockArc">
            <a:avLst>
              <a:gd name="adj1" fmla="val 14400000"/>
              <a:gd name="adj2" fmla="val 18000000"/>
              <a:gd name="adj3" fmla="val 25000"/>
            </a:avLst>
          </a:prstGeom>
          <a:solidFill>
            <a:srgbClr val="0078D4"/>
          </a:solidFill>
          <a:ln w="25400">
            <a:solidFill>
              <a:srgbClr val="FFFFFF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1"/>
          <a:lstStyle/>
          <a:p>
            <a:pPr algn="ctr"/>
            <a:r>
              <a:rPr lang="en-IN" sz="1200">
                <a:solidFill>
                  <a:srgbClr val="FFFFFF"/>
                </a:solidFill>
              </a:rPr>
              <a:t>Text</a:t>
            </a:r>
          </a:p>
        </p:txBody>
      </p:sp>
      <p:sp>
        <p:nvSpPr>
          <p:cNvPr id="28" name="Block Arc 27" hidden="1">
            <a:extLst>
              <a:ext uri="{FF2B5EF4-FFF2-40B4-BE49-F238E27FC236}">
                <a16:creationId xmlns:a16="http://schemas.microsoft.com/office/drawing/2014/main" id="{41448AB2-61E7-4C59-B652-7AFDDAEFA523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4260056" y="3335286"/>
            <a:ext cx="3810000" cy="3810000"/>
          </a:xfrm>
          <a:prstGeom prst="blockArc">
            <a:avLst>
              <a:gd name="adj1" fmla="val 18000000"/>
              <a:gd name="adj2" fmla="val 0"/>
              <a:gd name="adj3" fmla="val 25000"/>
            </a:avLst>
          </a:prstGeom>
          <a:solidFill>
            <a:srgbClr val="0078D4"/>
          </a:solidFill>
          <a:ln w="25400">
            <a:solidFill>
              <a:srgbClr val="FFFFFF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1"/>
          <a:lstStyle/>
          <a:p>
            <a:pPr algn="ctr"/>
            <a:r>
              <a:rPr lang="en-IN" sz="1200">
                <a:solidFill>
                  <a:srgbClr val="FFFFFF"/>
                </a:solidFill>
              </a:rPr>
              <a:t>Text</a:t>
            </a:r>
          </a:p>
        </p:txBody>
      </p:sp>
      <p:sp>
        <p:nvSpPr>
          <p:cNvPr id="29" name="Block Arc 28" hidden="1">
            <a:extLst>
              <a:ext uri="{FF2B5EF4-FFF2-40B4-BE49-F238E27FC236}">
                <a16:creationId xmlns:a16="http://schemas.microsoft.com/office/drawing/2014/main" id="{4E6E3E34-F0AD-4109-831D-CB8202C3996C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4260056" y="3335286"/>
            <a:ext cx="3810000" cy="3810000"/>
          </a:xfrm>
          <a:prstGeom prst="blockArc">
            <a:avLst>
              <a:gd name="adj1" fmla="val 0"/>
              <a:gd name="adj2" fmla="val 3600000"/>
              <a:gd name="adj3" fmla="val 25000"/>
            </a:avLst>
          </a:prstGeom>
          <a:solidFill>
            <a:srgbClr val="0078D4"/>
          </a:solidFill>
          <a:ln w="25400">
            <a:solidFill>
              <a:srgbClr val="FFFFFF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1"/>
          <a:lstStyle/>
          <a:p>
            <a:pPr algn="ctr"/>
            <a:r>
              <a:rPr lang="en-IN" sz="1200">
                <a:solidFill>
                  <a:srgbClr val="FFFFFF"/>
                </a:solidFill>
              </a:rPr>
              <a:t>Text</a:t>
            </a:r>
          </a:p>
        </p:txBody>
      </p:sp>
      <p:sp>
        <p:nvSpPr>
          <p:cNvPr id="30" name="Block Arc 29" hidden="1">
            <a:extLst>
              <a:ext uri="{FF2B5EF4-FFF2-40B4-BE49-F238E27FC236}">
                <a16:creationId xmlns:a16="http://schemas.microsoft.com/office/drawing/2014/main" id="{1E61BB00-EDC0-4DDB-A73E-71A19E312297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>
            <a:off x="4260056" y="3335286"/>
            <a:ext cx="3810000" cy="3810000"/>
          </a:xfrm>
          <a:prstGeom prst="blockArc">
            <a:avLst>
              <a:gd name="adj1" fmla="val 3600000"/>
              <a:gd name="adj2" fmla="val 7200000"/>
              <a:gd name="adj3" fmla="val 25000"/>
            </a:avLst>
          </a:prstGeom>
          <a:solidFill>
            <a:srgbClr val="0078D4"/>
          </a:solidFill>
          <a:ln w="25400">
            <a:solidFill>
              <a:srgbClr val="FFFFFF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1"/>
          <a:lstStyle/>
          <a:p>
            <a:pPr algn="ctr"/>
            <a:r>
              <a:rPr lang="en-IN" sz="1200">
                <a:solidFill>
                  <a:srgbClr val="FFFFFF"/>
                </a:solidFill>
              </a:rPr>
              <a:t>Text</a:t>
            </a:r>
          </a:p>
        </p:txBody>
      </p:sp>
      <p:sp>
        <p:nvSpPr>
          <p:cNvPr id="33" name="Block Arc 32" hidden="1">
            <a:extLst>
              <a:ext uri="{FF2B5EF4-FFF2-40B4-BE49-F238E27FC236}">
                <a16:creationId xmlns:a16="http://schemas.microsoft.com/office/drawing/2014/main" id="{85313246-C395-44AC-B163-BA9C7FDE02E4}"/>
              </a:ext>
            </a:extLst>
          </p:cNvPr>
          <p:cNvSpPr/>
          <p:nvPr>
            <p:custDataLst>
              <p:tags r:id="rId9"/>
            </p:custDataLst>
          </p:nvPr>
        </p:nvSpPr>
        <p:spPr>
          <a:xfrm>
            <a:off x="4260056" y="3335286"/>
            <a:ext cx="3810000" cy="3810000"/>
          </a:xfrm>
          <a:prstGeom prst="blockArc">
            <a:avLst>
              <a:gd name="adj1" fmla="val 7200000"/>
              <a:gd name="adj2" fmla="val 10800000"/>
              <a:gd name="adj3" fmla="val 25000"/>
            </a:avLst>
          </a:prstGeom>
          <a:solidFill>
            <a:srgbClr val="0078D4"/>
          </a:solidFill>
          <a:ln w="25400">
            <a:solidFill>
              <a:srgbClr val="FFFFFF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1"/>
          <a:lstStyle/>
          <a:p>
            <a:pPr algn="ctr"/>
            <a:r>
              <a:rPr lang="en-IN" sz="1200">
                <a:solidFill>
                  <a:srgbClr val="FFFFFF"/>
                </a:solidFill>
              </a:rPr>
              <a:t>Text</a:t>
            </a:r>
          </a:p>
        </p:txBody>
      </p:sp>
      <p:sp>
        <p:nvSpPr>
          <p:cNvPr id="35" name="Block Arc 34" hidden="1">
            <a:extLst>
              <a:ext uri="{FF2B5EF4-FFF2-40B4-BE49-F238E27FC236}">
                <a16:creationId xmlns:a16="http://schemas.microsoft.com/office/drawing/2014/main" id="{2F342779-D99F-4D2B-BBB8-D0C6029F5098}"/>
              </a:ext>
            </a:extLst>
          </p:cNvPr>
          <p:cNvSpPr/>
          <p:nvPr>
            <p:custDataLst>
              <p:tags r:id="rId10"/>
            </p:custDataLst>
          </p:nvPr>
        </p:nvSpPr>
        <p:spPr>
          <a:xfrm>
            <a:off x="4260056" y="3335286"/>
            <a:ext cx="3810000" cy="3810000"/>
          </a:xfrm>
          <a:prstGeom prst="blockArc">
            <a:avLst>
              <a:gd name="adj1" fmla="val 10800000"/>
              <a:gd name="adj2" fmla="val 14400000"/>
              <a:gd name="adj3" fmla="val 25000"/>
            </a:avLst>
          </a:prstGeom>
          <a:solidFill>
            <a:srgbClr val="0078D4"/>
          </a:solidFill>
          <a:ln w="25400">
            <a:solidFill>
              <a:srgbClr val="FFFFFF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1"/>
          <a:lstStyle/>
          <a:p>
            <a:pPr algn="ctr"/>
            <a:r>
              <a:rPr lang="en-IN" sz="1200">
                <a:solidFill>
                  <a:srgbClr val="FFFFFF"/>
                </a:solidFill>
              </a:rPr>
              <a:t>Text</a:t>
            </a:r>
          </a:p>
        </p:txBody>
      </p:sp>
      <p:sp>
        <p:nvSpPr>
          <p:cNvPr id="36" name="Block Arc 35" hidden="1">
            <a:extLst>
              <a:ext uri="{FF2B5EF4-FFF2-40B4-BE49-F238E27FC236}">
                <a16:creationId xmlns:a16="http://schemas.microsoft.com/office/drawing/2014/main" id="{2939FF9C-A55F-4F65-9901-BCA07757F53E}"/>
              </a:ext>
            </a:extLst>
          </p:cNvPr>
          <p:cNvSpPr/>
          <p:nvPr>
            <p:custDataLst>
              <p:tags r:id="rId11"/>
            </p:custDataLst>
          </p:nvPr>
        </p:nvSpPr>
        <p:spPr>
          <a:xfrm>
            <a:off x="4260056" y="3335286"/>
            <a:ext cx="3810000" cy="3810000"/>
          </a:xfrm>
          <a:prstGeom prst="blockArc">
            <a:avLst>
              <a:gd name="adj1" fmla="val 14400000"/>
              <a:gd name="adj2" fmla="val 18000000"/>
              <a:gd name="adj3" fmla="val 25000"/>
            </a:avLst>
          </a:prstGeom>
          <a:solidFill>
            <a:srgbClr val="0078D4"/>
          </a:solidFill>
          <a:ln w="25400">
            <a:solidFill>
              <a:srgbClr val="FFFFFF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1"/>
          <a:lstStyle/>
          <a:p>
            <a:pPr algn="ctr"/>
            <a:r>
              <a:rPr lang="en-IN" sz="1200">
                <a:solidFill>
                  <a:srgbClr val="FFFFFF"/>
                </a:solidFill>
              </a:rPr>
              <a:t>Text</a:t>
            </a:r>
          </a:p>
        </p:txBody>
      </p:sp>
      <p:sp>
        <p:nvSpPr>
          <p:cNvPr id="37" name="Block Arc 36" hidden="1">
            <a:extLst>
              <a:ext uri="{FF2B5EF4-FFF2-40B4-BE49-F238E27FC236}">
                <a16:creationId xmlns:a16="http://schemas.microsoft.com/office/drawing/2014/main" id="{AAE137F4-EB5C-4347-9002-0C0518190772}"/>
              </a:ext>
            </a:extLst>
          </p:cNvPr>
          <p:cNvSpPr/>
          <p:nvPr>
            <p:custDataLst>
              <p:tags r:id="rId12"/>
            </p:custDataLst>
          </p:nvPr>
        </p:nvSpPr>
        <p:spPr>
          <a:xfrm>
            <a:off x="4260056" y="3335286"/>
            <a:ext cx="3810000" cy="3810000"/>
          </a:xfrm>
          <a:prstGeom prst="blockArc">
            <a:avLst>
              <a:gd name="adj1" fmla="val 18000000"/>
              <a:gd name="adj2" fmla="val 0"/>
              <a:gd name="adj3" fmla="val 25000"/>
            </a:avLst>
          </a:prstGeom>
          <a:solidFill>
            <a:srgbClr val="0078D4"/>
          </a:solidFill>
          <a:ln w="25400">
            <a:solidFill>
              <a:srgbClr val="FFFFFF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1"/>
          <a:lstStyle/>
          <a:p>
            <a:pPr algn="ctr"/>
            <a:r>
              <a:rPr lang="en-IN" sz="1200">
                <a:solidFill>
                  <a:srgbClr val="FFFFFF"/>
                </a:solidFill>
              </a:rPr>
              <a:t>Text</a:t>
            </a:r>
          </a:p>
        </p:txBody>
      </p:sp>
      <p:sp>
        <p:nvSpPr>
          <p:cNvPr id="38" name="Block Arc 37" hidden="1">
            <a:extLst>
              <a:ext uri="{FF2B5EF4-FFF2-40B4-BE49-F238E27FC236}">
                <a16:creationId xmlns:a16="http://schemas.microsoft.com/office/drawing/2014/main" id="{D2A03A81-BE5F-40A2-91B5-F54A7A1B2AB3}"/>
              </a:ext>
            </a:extLst>
          </p:cNvPr>
          <p:cNvSpPr/>
          <p:nvPr>
            <p:custDataLst>
              <p:tags r:id="rId13"/>
            </p:custDataLst>
          </p:nvPr>
        </p:nvSpPr>
        <p:spPr>
          <a:xfrm>
            <a:off x="4260056" y="3335286"/>
            <a:ext cx="3810000" cy="3810000"/>
          </a:xfrm>
          <a:prstGeom prst="blockArc">
            <a:avLst>
              <a:gd name="adj1" fmla="val 0"/>
              <a:gd name="adj2" fmla="val 3600000"/>
              <a:gd name="adj3" fmla="val 25000"/>
            </a:avLst>
          </a:prstGeom>
          <a:solidFill>
            <a:srgbClr val="0078D4"/>
          </a:solidFill>
          <a:ln w="25400">
            <a:solidFill>
              <a:srgbClr val="FFFFFF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1"/>
          <a:lstStyle/>
          <a:p>
            <a:pPr algn="ctr"/>
            <a:r>
              <a:rPr lang="en-IN" sz="1200">
                <a:solidFill>
                  <a:srgbClr val="FFFFFF"/>
                </a:solidFill>
              </a:rPr>
              <a:t>Text</a:t>
            </a:r>
          </a:p>
        </p:txBody>
      </p:sp>
      <p:sp>
        <p:nvSpPr>
          <p:cNvPr id="39" name="Block Arc 38" hidden="1">
            <a:extLst>
              <a:ext uri="{FF2B5EF4-FFF2-40B4-BE49-F238E27FC236}">
                <a16:creationId xmlns:a16="http://schemas.microsoft.com/office/drawing/2014/main" id="{9F67D441-7D5A-4630-BF04-367A7AA68204}"/>
              </a:ext>
            </a:extLst>
          </p:cNvPr>
          <p:cNvSpPr/>
          <p:nvPr>
            <p:custDataLst>
              <p:tags r:id="rId14"/>
            </p:custDataLst>
          </p:nvPr>
        </p:nvSpPr>
        <p:spPr>
          <a:xfrm>
            <a:off x="4260056" y="3335286"/>
            <a:ext cx="3810000" cy="3810000"/>
          </a:xfrm>
          <a:prstGeom prst="blockArc">
            <a:avLst>
              <a:gd name="adj1" fmla="val 3600000"/>
              <a:gd name="adj2" fmla="val 7200000"/>
              <a:gd name="adj3" fmla="val 25000"/>
            </a:avLst>
          </a:prstGeom>
          <a:solidFill>
            <a:srgbClr val="0078D4"/>
          </a:solidFill>
          <a:ln w="25400">
            <a:solidFill>
              <a:srgbClr val="FFFFFF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1"/>
          <a:lstStyle/>
          <a:p>
            <a:pPr algn="ctr"/>
            <a:r>
              <a:rPr lang="en-IN" sz="1200">
                <a:solidFill>
                  <a:srgbClr val="FFFFFF"/>
                </a:solidFill>
              </a:rPr>
              <a:t>Text</a:t>
            </a:r>
          </a:p>
        </p:txBody>
      </p:sp>
      <p:sp>
        <p:nvSpPr>
          <p:cNvPr id="40" name="Block Arc 39" hidden="1">
            <a:extLst>
              <a:ext uri="{FF2B5EF4-FFF2-40B4-BE49-F238E27FC236}">
                <a16:creationId xmlns:a16="http://schemas.microsoft.com/office/drawing/2014/main" id="{E75B721D-095F-4AE6-B1F2-B861CF651C3B}"/>
              </a:ext>
            </a:extLst>
          </p:cNvPr>
          <p:cNvSpPr/>
          <p:nvPr>
            <p:custDataLst>
              <p:tags r:id="rId15"/>
            </p:custDataLst>
          </p:nvPr>
        </p:nvSpPr>
        <p:spPr>
          <a:xfrm>
            <a:off x="4260056" y="3335286"/>
            <a:ext cx="3810000" cy="3810000"/>
          </a:xfrm>
          <a:prstGeom prst="blockArc">
            <a:avLst>
              <a:gd name="adj1" fmla="val 7200000"/>
              <a:gd name="adj2" fmla="val 10800000"/>
              <a:gd name="adj3" fmla="val 25000"/>
            </a:avLst>
          </a:prstGeom>
          <a:solidFill>
            <a:srgbClr val="0078D4"/>
          </a:solidFill>
          <a:ln w="25400">
            <a:solidFill>
              <a:srgbClr val="FFFFFF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1"/>
          <a:lstStyle/>
          <a:p>
            <a:pPr algn="ctr"/>
            <a:r>
              <a:rPr lang="en-IN" sz="1200">
                <a:solidFill>
                  <a:srgbClr val="FFFFFF"/>
                </a:solidFill>
              </a:rPr>
              <a:t>Text</a:t>
            </a:r>
          </a:p>
        </p:txBody>
      </p:sp>
      <p:sp>
        <p:nvSpPr>
          <p:cNvPr id="41" name="Block Arc 40" hidden="1">
            <a:extLst>
              <a:ext uri="{FF2B5EF4-FFF2-40B4-BE49-F238E27FC236}">
                <a16:creationId xmlns:a16="http://schemas.microsoft.com/office/drawing/2014/main" id="{10330C2F-A17D-48C8-9A5E-F4D6E254C4AF}"/>
              </a:ext>
            </a:extLst>
          </p:cNvPr>
          <p:cNvSpPr/>
          <p:nvPr>
            <p:custDataLst>
              <p:tags r:id="rId16"/>
            </p:custDataLst>
          </p:nvPr>
        </p:nvSpPr>
        <p:spPr>
          <a:xfrm>
            <a:off x="4260056" y="3335286"/>
            <a:ext cx="3810000" cy="3810000"/>
          </a:xfrm>
          <a:prstGeom prst="blockArc">
            <a:avLst>
              <a:gd name="adj1" fmla="val 10800000"/>
              <a:gd name="adj2" fmla="val 14400000"/>
              <a:gd name="adj3" fmla="val 25000"/>
            </a:avLst>
          </a:prstGeom>
          <a:solidFill>
            <a:srgbClr val="0078D4"/>
          </a:solidFill>
          <a:ln w="25400">
            <a:solidFill>
              <a:srgbClr val="FFFFFF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1"/>
          <a:lstStyle/>
          <a:p>
            <a:pPr algn="ctr"/>
            <a:r>
              <a:rPr lang="en-IN" sz="1200">
                <a:solidFill>
                  <a:srgbClr val="FFFFFF"/>
                </a:solidFill>
              </a:rPr>
              <a:t>Text</a:t>
            </a:r>
          </a:p>
        </p:txBody>
      </p:sp>
      <p:sp>
        <p:nvSpPr>
          <p:cNvPr id="42" name="Block Arc 41" hidden="1">
            <a:extLst>
              <a:ext uri="{FF2B5EF4-FFF2-40B4-BE49-F238E27FC236}">
                <a16:creationId xmlns:a16="http://schemas.microsoft.com/office/drawing/2014/main" id="{677BB4B9-E6C8-4F9C-B35A-187EEE981FAE}"/>
              </a:ext>
            </a:extLst>
          </p:cNvPr>
          <p:cNvSpPr/>
          <p:nvPr>
            <p:custDataLst>
              <p:tags r:id="rId17"/>
            </p:custDataLst>
          </p:nvPr>
        </p:nvSpPr>
        <p:spPr>
          <a:xfrm>
            <a:off x="4260056" y="3335286"/>
            <a:ext cx="3810000" cy="3810000"/>
          </a:xfrm>
          <a:prstGeom prst="blockArc">
            <a:avLst>
              <a:gd name="adj1" fmla="val 14400000"/>
              <a:gd name="adj2" fmla="val 18000000"/>
              <a:gd name="adj3" fmla="val 25000"/>
            </a:avLst>
          </a:prstGeom>
          <a:solidFill>
            <a:srgbClr val="0078D4"/>
          </a:solidFill>
          <a:ln w="25400">
            <a:solidFill>
              <a:srgbClr val="FFFFFF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1"/>
          <a:lstStyle/>
          <a:p>
            <a:pPr algn="ctr"/>
            <a:r>
              <a:rPr lang="en-IN" sz="1200">
                <a:solidFill>
                  <a:srgbClr val="FFFFFF"/>
                </a:solidFill>
              </a:rPr>
              <a:t>Text</a:t>
            </a:r>
          </a:p>
        </p:txBody>
      </p:sp>
      <p:sp>
        <p:nvSpPr>
          <p:cNvPr id="43" name="Block Arc 42" hidden="1">
            <a:extLst>
              <a:ext uri="{FF2B5EF4-FFF2-40B4-BE49-F238E27FC236}">
                <a16:creationId xmlns:a16="http://schemas.microsoft.com/office/drawing/2014/main" id="{1C5B02EB-66CD-4E46-839C-1AECF992732C}"/>
              </a:ext>
            </a:extLst>
          </p:cNvPr>
          <p:cNvSpPr/>
          <p:nvPr>
            <p:custDataLst>
              <p:tags r:id="rId18"/>
            </p:custDataLst>
          </p:nvPr>
        </p:nvSpPr>
        <p:spPr>
          <a:xfrm>
            <a:off x="4260056" y="3335286"/>
            <a:ext cx="3810000" cy="3810000"/>
          </a:xfrm>
          <a:prstGeom prst="blockArc">
            <a:avLst>
              <a:gd name="adj1" fmla="val 18000000"/>
              <a:gd name="adj2" fmla="val 0"/>
              <a:gd name="adj3" fmla="val 25000"/>
            </a:avLst>
          </a:prstGeom>
          <a:solidFill>
            <a:srgbClr val="0078D4"/>
          </a:solidFill>
          <a:ln w="25400">
            <a:solidFill>
              <a:srgbClr val="FFFFFF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1"/>
          <a:lstStyle/>
          <a:p>
            <a:pPr algn="ctr"/>
            <a:r>
              <a:rPr lang="en-IN" sz="1200">
                <a:solidFill>
                  <a:srgbClr val="FFFFFF"/>
                </a:solidFill>
              </a:rPr>
              <a:t>Text</a:t>
            </a:r>
          </a:p>
        </p:txBody>
      </p:sp>
      <p:sp>
        <p:nvSpPr>
          <p:cNvPr id="44" name="Block Arc 43" hidden="1">
            <a:extLst>
              <a:ext uri="{FF2B5EF4-FFF2-40B4-BE49-F238E27FC236}">
                <a16:creationId xmlns:a16="http://schemas.microsoft.com/office/drawing/2014/main" id="{33586051-4921-44B1-A1CC-0FAB49A33A6C}"/>
              </a:ext>
            </a:extLst>
          </p:cNvPr>
          <p:cNvSpPr/>
          <p:nvPr>
            <p:custDataLst>
              <p:tags r:id="rId19"/>
            </p:custDataLst>
          </p:nvPr>
        </p:nvSpPr>
        <p:spPr>
          <a:xfrm>
            <a:off x="4260056" y="3335286"/>
            <a:ext cx="3810000" cy="3810000"/>
          </a:xfrm>
          <a:prstGeom prst="blockArc">
            <a:avLst>
              <a:gd name="adj1" fmla="val 0"/>
              <a:gd name="adj2" fmla="val 3600000"/>
              <a:gd name="adj3" fmla="val 25000"/>
            </a:avLst>
          </a:prstGeom>
          <a:solidFill>
            <a:srgbClr val="0078D4"/>
          </a:solidFill>
          <a:ln w="25400">
            <a:solidFill>
              <a:srgbClr val="FFFFFF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1"/>
          <a:lstStyle/>
          <a:p>
            <a:pPr algn="ctr"/>
            <a:r>
              <a:rPr lang="en-IN" sz="1200">
                <a:solidFill>
                  <a:srgbClr val="FFFFFF"/>
                </a:solidFill>
              </a:rPr>
              <a:t>Text</a:t>
            </a:r>
          </a:p>
        </p:txBody>
      </p:sp>
      <p:sp>
        <p:nvSpPr>
          <p:cNvPr id="45" name="Block Arc 44" hidden="1">
            <a:extLst>
              <a:ext uri="{FF2B5EF4-FFF2-40B4-BE49-F238E27FC236}">
                <a16:creationId xmlns:a16="http://schemas.microsoft.com/office/drawing/2014/main" id="{827CA672-F4AE-4B78-A91A-DD06C5FE7E52}"/>
              </a:ext>
            </a:extLst>
          </p:cNvPr>
          <p:cNvSpPr/>
          <p:nvPr>
            <p:custDataLst>
              <p:tags r:id="rId20"/>
            </p:custDataLst>
          </p:nvPr>
        </p:nvSpPr>
        <p:spPr>
          <a:xfrm>
            <a:off x="4260056" y="3335286"/>
            <a:ext cx="3810000" cy="3810000"/>
          </a:xfrm>
          <a:prstGeom prst="blockArc">
            <a:avLst>
              <a:gd name="adj1" fmla="val 3600000"/>
              <a:gd name="adj2" fmla="val 7200000"/>
              <a:gd name="adj3" fmla="val 25000"/>
            </a:avLst>
          </a:prstGeom>
          <a:solidFill>
            <a:srgbClr val="0078D4"/>
          </a:solidFill>
          <a:ln w="25400">
            <a:solidFill>
              <a:srgbClr val="FFFFFF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1"/>
          <a:lstStyle/>
          <a:p>
            <a:pPr algn="ctr"/>
            <a:r>
              <a:rPr lang="en-IN" sz="1200">
                <a:solidFill>
                  <a:srgbClr val="FFFFFF"/>
                </a:solidFill>
              </a:rPr>
              <a:t>Text</a:t>
            </a:r>
          </a:p>
        </p:txBody>
      </p:sp>
      <p:sp>
        <p:nvSpPr>
          <p:cNvPr id="46" name="Block Arc 45" hidden="1">
            <a:extLst>
              <a:ext uri="{FF2B5EF4-FFF2-40B4-BE49-F238E27FC236}">
                <a16:creationId xmlns:a16="http://schemas.microsoft.com/office/drawing/2014/main" id="{2E8F78A2-E2EB-463A-AB92-DB2595C5D22C}"/>
              </a:ext>
            </a:extLst>
          </p:cNvPr>
          <p:cNvSpPr/>
          <p:nvPr>
            <p:custDataLst>
              <p:tags r:id="rId21"/>
            </p:custDataLst>
          </p:nvPr>
        </p:nvSpPr>
        <p:spPr>
          <a:xfrm>
            <a:off x="4260056" y="3335286"/>
            <a:ext cx="3810000" cy="3810000"/>
          </a:xfrm>
          <a:prstGeom prst="blockArc">
            <a:avLst>
              <a:gd name="adj1" fmla="val 7200000"/>
              <a:gd name="adj2" fmla="val 10800000"/>
              <a:gd name="adj3" fmla="val 25000"/>
            </a:avLst>
          </a:prstGeom>
          <a:solidFill>
            <a:srgbClr val="0078D4"/>
          </a:solidFill>
          <a:ln w="25400">
            <a:solidFill>
              <a:srgbClr val="FFFFFF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1"/>
          <a:lstStyle/>
          <a:p>
            <a:pPr algn="ctr"/>
            <a:r>
              <a:rPr lang="en-IN" sz="1200">
                <a:solidFill>
                  <a:srgbClr val="FFFFFF"/>
                </a:solidFill>
              </a:rPr>
              <a:t>Text</a:t>
            </a:r>
          </a:p>
        </p:txBody>
      </p:sp>
      <p:sp>
        <p:nvSpPr>
          <p:cNvPr id="47" name="Block Arc 46" hidden="1">
            <a:extLst>
              <a:ext uri="{FF2B5EF4-FFF2-40B4-BE49-F238E27FC236}">
                <a16:creationId xmlns:a16="http://schemas.microsoft.com/office/drawing/2014/main" id="{E7B4938F-5CCC-4B34-AF6C-10697A12F172}"/>
              </a:ext>
            </a:extLst>
          </p:cNvPr>
          <p:cNvSpPr/>
          <p:nvPr>
            <p:custDataLst>
              <p:tags r:id="rId22"/>
            </p:custDataLst>
          </p:nvPr>
        </p:nvSpPr>
        <p:spPr>
          <a:xfrm>
            <a:off x="4260056" y="3335286"/>
            <a:ext cx="3810000" cy="3810000"/>
          </a:xfrm>
          <a:prstGeom prst="blockArc">
            <a:avLst>
              <a:gd name="adj1" fmla="val 10800000"/>
              <a:gd name="adj2" fmla="val 14400000"/>
              <a:gd name="adj3" fmla="val 25000"/>
            </a:avLst>
          </a:prstGeom>
          <a:solidFill>
            <a:srgbClr val="0078D4"/>
          </a:solidFill>
          <a:ln w="25400">
            <a:solidFill>
              <a:srgbClr val="FFFFFF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1"/>
          <a:lstStyle/>
          <a:p>
            <a:pPr algn="ctr"/>
            <a:r>
              <a:rPr lang="en-IN" sz="1200">
                <a:solidFill>
                  <a:srgbClr val="FFFFFF"/>
                </a:solidFill>
              </a:rPr>
              <a:t>Text</a:t>
            </a:r>
          </a:p>
        </p:txBody>
      </p:sp>
      <p:sp>
        <p:nvSpPr>
          <p:cNvPr id="48" name="Block Arc 47" hidden="1">
            <a:extLst>
              <a:ext uri="{FF2B5EF4-FFF2-40B4-BE49-F238E27FC236}">
                <a16:creationId xmlns:a16="http://schemas.microsoft.com/office/drawing/2014/main" id="{B351F859-22F4-4CB6-B811-4244CBA38CE0}"/>
              </a:ext>
            </a:extLst>
          </p:cNvPr>
          <p:cNvSpPr/>
          <p:nvPr>
            <p:custDataLst>
              <p:tags r:id="rId23"/>
            </p:custDataLst>
          </p:nvPr>
        </p:nvSpPr>
        <p:spPr>
          <a:xfrm>
            <a:off x="4260056" y="3335286"/>
            <a:ext cx="3810000" cy="3810000"/>
          </a:xfrm>
          <a:prstGeom prst="blockArc">
            <a:avLst>
              <a:gd name="adj1" fmla="val 14400000"/>
              <a:gd name="adj2" fmla="val 18000000"/>
              <a:gd name="adj3" fmla="val 25000"/>
            </a:avLst>
          </a:prstGeom>
          <a:solidFill>
            <a:srgbClr val="0078D4"/>
          </a:solidFill>
          <a:ln w="25400">
            <a:solidFill>
              <a:srgbClr val="FFFFFF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1"/>
          <a:lstStyle/>
          <a:p>
            <a:pPr algn="ctr"/>
            <a:r>
              <a:rPr lang="en-IN" sz="1200">
                <a:solidFill>
                  <a:srgbClr val="FFFFFF"/>
                </a:solidFill>
              </a:rPr>
              <a:t>Text</a:t>
            </a:r>
          </a:p>
        </p:txBody>
      </p:sp>
      <p:sp>
        <p:nvSpPr>
          <p:cNvPr id="49" name="Block Arc 48" hidden="1">
            <a:extLst>
              <a:ext uri="{FF2B5EF4-FFF2-40B4-BE49-F238E27FC236}">
                <a16:creationId xmlns:a16="http://schemas.microsoft.com/office/drawing/2014/main" id="{EF705391-DFCE-45B2-BA0F-B10568FED03E}"/>
              </a:ext>
            </a:extLst>
          </p:cNvPr>
          <p:cNvSpPr/>
          <p:nvPr>
            <p:custDataLst>
              <p:tags r:id="rId24"/>
            </p:custDataLst>
          </p:nvPr>
        </p:nvSpPr>
        <p:spPr>
          <a:xfrm>
            <a:off x="4260056" y="3335286"/>
            <a:ext cx="3810000" cy="3810000"/>
          </a:xfrm>
          <a:prstGeom prst="blockArc">
            <a:avLst>
              <a:gd name="adj1" fmla="val 18000000"/>
              <a:gd name="adj2" fmla="val 0"/>
              <a:gd name="adj3" fmla="val 25000"/>
            </a:avLst>
          </a:prstGeom>
          <a:solidFill>
            <a:srgbClr val="0078D4"/>
          </a:solidFill>
          <a:ln w="25400">
            <a:solidFill>
              <a:srgbClr val="FFFFFF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1"/>
          <a:lstStyle/>
          <a:p>
            <a:pPr algn="ctr"/>
            <a:r>
              <a:rPr lang="en-IN" sz="1200">
                <a:solidFill>
                  <a:srgbClr val="FFFFFF"/>
                </a:solidFill>
              </a:rPr>
              <a:t>Text</a:t>
            </a:r>
          </a:p>
        </p:txBody>
      </p:sp>
      <p:sp>
        <p:nvSpPr>
          <p:cNvPr id="54" name="Block Arc 53" hidden="1">
            <a:extLst>
              <a:ext uri="{FF2B5EF4-FFF2-40B4-BE49-F238E27FC236}">
                <a16:creationId xmlns:a16="http://schemas.microsoft.com/office/drawing/2014/main" id="{B0DC1832-E02E-4103-BB17-44B14A2E3AD5}"/>
              </a:ext>
            </a:extLst>
          </p:cNvPr>
          <p:cNvSpPr/>
          <p:nvPr>
            <p:custDataLst>
              <p:tags r:id="rId25"/>
            </p:custDataLst>
          </p:nvPr>
        </p:nvSpPr>
        <p:spPr>
          <a:xfrm>
            <a:off x="4260056" y="3335286"/>
            <a:ext cx="3810000" cy="3810000"/>
          </a:xfrm>
          <a:prstGeom prst="blockArc">
            <a:avLst>
              <a:gd name="adj1" fmla="val 0"/>
              <a:gd name="adj2" fmla="val 3600000"/>
              <a:gd name="adj3" fmla="val 25000"/>
            </a:avLst>
          </a:prstGeom>
          <a:solidFill>
            <a:srgbClr val="0078D4"/>
          </a:solidFill>
          <a:ln w="25400">
            <a:solidFill>
              <a:srgbClr val="FFFFFF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1"/>
          <a:lstStyle/>
          <a:p>
            <a:pPr algn="ctr"/>
            <a:r>
              <a:rPr lang="en-IN" sz="1200">
                <a:solidFill>
                  <a:srgbClr val="FFFFFF"/>
                </a:solidFill>
              </a:rPr>
              <a:t>Text</a:t>
            </a:r>
          </a:p>
        </p:txBody>
      </p:sp>
      <p:sp>
        <p:nvSpPr>
          <p:cNvPr id="55" name="Block Arc 54" hidden="1">
            <a:extLst>
              <a:ext uri="{FF2B5EF4-FFF2-40B4-BE49-F238E27FC236}">
                <a16:creationId xmlns:a16="http://schemas.microsoft.com/office/drawing/2014/main" id="{5EED955F-38EF-4702-9E30-94057FC6EE19}"/>
              </a:ext>
            </a:extLst>
          </p:cNvPr>
          <p:cNvSpPr/>
          <p:nvPr>
            <p:custDataLst>
              <p:tags r:id="rId26"/>
            </p:custDataLst>
          </p:nvPr>
        </p:nvSpPr>
        <p:spPr>
          <a:xfrm>
            <a:off x="4260056" y="3335286"/>
            <a:ext cx="3810000" cy="3810000"/>
          </a:xfrm>
          <a:prstGeom prst="blockArc">
            <a:avLst>
              <a:gd name="adj1" fmla="val 3600000"/>
              <a:gd name="adj2" fmla="val 7200000"/>
              <a:gd name="adj3" fmla="val 25000"/>
            </a:avLst>
          </a:prstGeom>
          <a:solidFill>
            <a:srgbClr val="0078D4"/>
          </a:solidFill>
          <a:ln w="25400">
            <a:solidFill>
              <a:srgbClr val="FFFFFF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1"/>
          <a:lstStyle/>
          <a:p>
            <a:pPr algn="ctr"/>
            <a:r>
              <a:rPr lang="en-IN" sz="1200">
                <a:solidFill>
                  <a:srgbClr val="FFFFFF"/>
                </a:solidFill>
              </a:rPr>
              <a:t>Text</a:t>
            </a:r>
          </a:p>
        </p:txBody>
      </p:sp>
      <p:sp>
        <p:nvSpPr>
          <p:cNvPr id="57" name="Block Arc 56" hidden="1">
            <a:extLst>
              <a:ext uri="{FF2B5EF4-FFF2-40B4-BE49-F238E27FC236}">
                <a16:creationId xmlns:a16="http://schemas.microsoft.com/office/drawing/2014/main" id="{1B1F8B74-0D18-4531-9BF7-00A9FCB0F023}"/>
              </a:ext>
            </a:extLst>
          </p:cNvPr>
          <p:cNvSpPr/>
          <p:nvPr>
            <p:custDataLst>
              <p:tags r:id="rId27"/>
            </p:custDataLst>
          </p:nvPr>
        </p:nvSpPr>
        <p:spPr>
          <a:xfrm>
            <a:off x="4260056" y="3335286"/>
            <a:ext cx="3810000" cy="3810000"/>
          </a:xfrm>
          <a:prstGeom prst="blockArc">
            <a:avLst>
              <a:gd name="adj1" fmla="val 7200000"/>
              <a:gd name="adj2" fmla="val 10800000"/>
              <a:gd name="adj3" fmla="val 25000"/>
            </a:avLst>
          </a:prstGeom>
          <a:solidFill>
            <a:srgbClr val="0078D4"/>
          </a:solidFill>
          <a:ln w="25400">
            <a:solidFill>
              <a:srgbClr val="FFFFFF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1"/>
          <a:lstStyle/>
          <a:p>
            <a:pPr algn="ctr"/>
            <a:r>
              <a:rPr lang="en-IN" sz="1200">
                <a:solidFill>
                  <a:srgbClr val="FFFFFF"/>
                </a:solidFill>
              </a:rPr>
              <a:t>Text</a:t>
            </a:r>
          </a:p>
        </p:txBody>
      </p:sp>
      <p:sp>
        <p:nvSpPr>
          <p:cNvPr id="58" name="Block Arc 57" hidden="1">
            <a:extLst>
              <a:ext uri="{FF2B5EF4-FFF2-40B4-BE49-F238E27FC236}">
                <a16:creationId xmlns:a16="http://schemas.microsoft.com/office/drawing/2014/main" id="{8F7B0D4F-DA60-46CF-B4DC-C4C19FFD8A68}"/>
              </a:ext>
            </a:extLst>
          </p:cNvPr>
          <p:cNvSpPr/>
          <p:nvPr>
            <p:custDataLst>
              <p:tags r:id="rId28"/>
            </p:custDataLst>
          </p:nvPr>
        </p:nvSpPr>
        <p:spPr>
          <a:xfrm>
            <a:off x="4260056" y="3335286"/>
            <a:ext cx="3810000" cy="3810000"/>
          </a:xfrm>
          <a:prstGeom prst="blockArc">
            <a:avLst>
              <a:gd name="adj1" fmla="val 10800000"/>
              <a:gd name="adj2" fmla="val 14400000"/>
              <a:gd name="adj3" fmla="val 25000"/>
            </a:avLst>
          </a:prstGeom>
          <a:solidFill>
            <a:srgbClr val="0078D4"/>
          </a:solidFill>
          <a:ln w="25400">
            <a:solidFill>
              <a:srgbClr val="FFFFFF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1"/>
          <a:lstStyle/>
          <a:p>
            <a:pPr algn="ctr"/>
            <a:r>
              <a:rPr lang="en-IN" sz="1200">
                <a:solidFill>
                  <a:srgbClr val="FFFFFF"/>
                </a:solidFill>
              </a:rPr>
              <a:t>Text</a:t>
            </a:r>
          </a:p>
        </p:txBody>
      </p:sp>
      <p:sp>
        <p:nvSpPr>
          <p:cNvPr id="61" name="Block Arc 60" hidden="1">
            <a:extLst>
              <a:ext uri="{FF2B5EF4-FFF2-40B4-BE49-F238E27FC236}">
                <a16:creationId xmlns:a16="http://schemas.microsoft.com/office/drawing/2014/main" id="{3B847CDC-5350-4F2D-857A-9B7042249318}"/>
              </a:ext>
            </a:extLst>
          </p:cNvPr>
          <p:cNvSpPr/>
          <p:nvPr>
            <p:custDataLst>
              <p:tags r:id="rId29"/>
            </p:custDataLst>
          </p:nvPr>
        </p:nvSpPr>
        <p:spPr>
          <a:xfrm>
            <a:off x="4260056" y="3335286"/>
            <a:ext cx="3810000" cy="3810000"/>
          </a:xfrm>
          <a:prstGeom prst="blockArc">
            <a:avLst>
              <a:gd name="adj1" fmla="val 14400000"/>
              <a:gd name="adj2" fmla="val 18000000"/>
              <a:gd name="adj3" fmla="val 25000"/>
            </a:avLst>
          </a:prstGeom>
          <a:solidFill>
            <a:srgbClr val="0078D4"/>
          </a:solidFill>
          <a:ln w="25400">
            <a:solidFill>
              <a:srgbClr val="FFFFFF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1"/>
          <a:lstStyle/>
          <a:p>
            <a:pPr algn="ctr"/>
            <a:r>
              <a:rPr lang="en-IN" sz="1200">
                <a:solidFill>
                  <a:srgbClr val="FFFFFF"/>
                </a:solidFill>
              </a:rPr>
              <a:t>Text</a:t>
            </a:r>
          </a:p>
        </p:txBody>
      </p:sp>
      <p:sp>
        <p:nvSpPr>
          <p:cNvPr id="62" name="Block Arc 61" hidden="1">
            <a:extLst>
              <a:ext uri="{FF2B5EF4-FFF2-40B4-BE49-F238E27FC236}">
                <a16:creationId xmlns:a16="http://schemas.microsoft.com/office/drawing/2014/main" id="{3AD5CCAF-D5D1-4FEF-ACEA-E1419B3A9CEF}"/>
              </a:ext>
            </a:extLst>
          </p:cNvPr>
          <p:cNvSpPr/>
          <p:nvPr>
            <p:custDataLst>
              <p:tags r:id="rId30"/>
            </p:custDataLst>
          </p:nvPr>
        </p:nvSpPr>
        <p:spPr>
          <a:xfrm>
            <a:off x="4260056" y="3335286"/>
            <a:ext cx="3810000" cy="3810000"/>
          </a:xfrm>
          <a:prstGeom prst="blockArc">
            <a:avLst>
              <a:gd name="adj1" fmla="val 18000000"/>
              <a:gd name="adj2" fmla="val 0"/>
              <a:gd name="adj3" fmla="val 25000"/>
            </a:avLst>
          </a:prstGeom>
          <a:solidFill>
            <a:srgbClr val="0078D4"/>
          </a:solidFill>
          <a:ln w="25400">
            <a:solidFill>
              <a:srgbClr val="FFFFFF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1"/>
          <a:lstStyle/>
          <a:p>
            <a:pPr algn="ctr"/>
            <a:r>
              <a:rPr lang="en-IN" sz="1200">
                <a:solidFill>
                  <a:srgbClr val="FFFFFF"/>
                </a:solidFill>
              </a:rPr>
              <a:t>Text</a:t>
            </a:r>
          </a:p>
        </p:txBody>
      </p:sp>
      <p:sp>
        <p:nvSpPr>
          <p:cNvPr id="65" name="Block Arc 64" hidden="1">
            <a:extLst>
              <a:ext uri="{FF2B5EF4-FFF2-40B4-BE49-F238E27FC236}">
                <a16:creationId xmlns:a16="http://schemas.microsoft.com/office/drawing/2014/main" id="{9B7269F6-9668-4C7F-AF55-9301EAF382B6}"/>
              </a:ext>
            </a:extLst>
          </p:cNvPr>
          <p:cNvSpPr/>
          <p:nvPr>
            <p:custDataLst>
              <p:tags r:id="rId31"/>
            </p:custDataLst>
          </p:nvPr>
        </p:nvSpPr>
        <p:spPr>
          <a:xfrm>
            <a:off x="4260056" y="3335286"/>
            <a:ext cx="3810000" cy="3810000"/>
          </a:xfrm>
          <a:prstGeom prst="blockArc">
            <a:avLst>
              <a:gd name="adj1" fmla="val 0"/>
              <a:gd name="adj2" fmla="val 3600000"/>
              <a:gd name="adj3" fmla="val 25000"/>
            </a:avLst>
          </a:prstGeom>
          <a:solidFill>
            <a:srgbClr val="0078D4"/>
          </a:solidFill>
          <a:ln w="25400">
            <a:solidFill>
              <a:srgbClr val="FFFFFF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1"/>
          <a:lstStyle/>
          <a:p>
            <a:pPr algn="ctr"/>
            <a:r>
              <a:rPr lang="en-IN" sz="1200">
                <a:solidFill>
                  <a:srgbClr val="FFFFFF"/>
                </a:solidFill>
              </a:rPr>
              <a:t>Text</a:t>
            </a:r>
          </a:p>
        </p:txBody>
      </p:sp>
      <p:sp>
        <p:nvSpPr>
          <p:cNvPr id="66" name="Block Arc 65" hidden="1">
            <a:extLst>
              <a:ext uri="{FF2B5EF4-FFF2-40B4-BE49-F238E27FC236}">
                <a16:creationId xmlns:a16="http://schemas.microsoft.com/office/drawing/2014/main" id="{8F38B48A-7566-424D-9197-595C777958EA}"/>
              </a:ext>
            </a:extLst>
          </p:cNvPr>
          <p:cNvSpPr/>
          <p:nvPr>
            <p:custDataLst>
              <p:tags r:id="rId32"/>
            </p:custDataLst>
          </p:nvPr>
        </p:nvSpPr>
        <p:spPr>
          <a:xfrm>
            <a:off x="4260056" y="3335286"/>
            <a:ext cx="3810000" cy="3810000"/>
          </a:xfrm>
          <a:prstGeom prst="blockArc">
            <a:avLst>
              <a:gd name="adj1" fmla="val 3600000"/>
              <a:gd name="adj2" fmla="val 7200000"/>
              <a:gd name="adj3" fmla="val 25000"/>
            </a:avLst>
          </a:prstGeom>
          <a:solidFill>
            <a:srgbClr val="0078D4"/>
          </a:solidFill>
          <a:ln w="25400">
            <a:solidFill>
              <a:srgbClr val="FFFFFF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1"/>
          <a:lstStyle/>
          <a:p>
            <a:pPr algn="ctr"/>
            <a:r>
              <a:rPr lang="en-IN" sz="1200">
                <a:solidFill>
                  <a:srgbClr val="FFFFFF"/>
                </a:solidFill>
              </a:rPr>
              <a:t>Text</a:t>
            </a:r>
          </a:p>
        </p:txBody>
      </p:sp>
      <p:sp>
        <p:nvSpPr>
          <p:cNvPr id="69" name="Block Arc 68" hidden="1">
            <a:extLst>
              <a:ext uri="{FF2B5EF4-FFF2-40B4-BE49-F238E27FC236}">
                <a16:creationId xmlns:a16="http://schemas.microsoft.com/office/drawing/2014/main" id="{45E93407-AFD6-43A3-B1FB-BA21B80DA0A0}"/>
              </a:ext>
            </a:extLst>
          </p:cNvPr>
          <p:cNvSpPr/>
          <p:nvPr>
            <p:custDataLst>
              <p:tags r:id="rId33"/>
            </p:custDataLst>
          </p:nvPr>
        </p:nvSpPr>
        <p:spPr>
          <a:xfrm>
            <a:off x="4260056" y="3335286"/>
            <a:ext cx="3810000" cy="3810000"/>
          </a:xfrm>
          <a:prstGeom prst="blockArc">
            <a:avLst>
              <a:gd name="adj1" fmla="val 7200000"/>
              <a:gd name="adj2" fmla="val 10800000"/>
              <a:gd name="adj3" fmla="val 25000"/>
            </a:avLst>
          </a:prstGeom>
          <a:solidFill>
            <a:srgbClr val="0078D4"/>
          </a:solidFill>
          <a:ln w="25400">
            <a:solidFill>
              <a:srgbClr val="FFFFFF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1"/>
          <a:lstStyle/>
          <a:p>
            <a:pPr algn="ctr"/>
            <a:r>
              <a:rPr lang="en-IN" sz="1200">
                <a:solidFill>
                  <a:srgbClr val="FFFFFF"/>
                </a:solidFill>
              </a:rPr>
              <a:t>Text</a:t>
            </a:r>
          </a:p>
        </p:txBody>
      </p:sp>
      <p:sp>
        <p:nvSpPr>
          <p:cNvPr id="70" name="Block Arc 69" hidden="1">
            <a:extLst>
              <a:ext uri="{FF2B5EF4-FFF2-40B4-BE49-F238E27FC236}">
                <a16:creationId xmlns:a16="http://schemas.microsoft.com/office/drawing/2014/main" id="{127E5F4C-3E5A-4DA9-B56D-A627EF2AFB83}"/>
              </a:ext>
            </a:extLst>
          </p:cNvPr>
          <p:cNvSpPr/>
          <p:nvPr>
            <p:custDataLst>
              <p:tags r:id="rId34"/>
            </p:custDataLst>
          </p:nvPr>
        </p:nvSpPr>
        <p:spPr>
          <a:xfrm>
            <a:off x="4260056" y="3335286"/>
            <a:ext cx="3810000" cy="3810000"/>
          </a:xfrm>
          <a:prstGeom prst="blockArc">
            <a:avLst>
              <a:gd name="adj1" fmla="val 10800000"/>
              <a:gd name="adj2" fmla="val 14400000"/>
              <a:gd name="adj3" fmla="val 25000"/>
            </a:avLst>
          </a:prstGeom>
          <a:solidFill>
            <a:srgbClr val="0078D4"/>
          </a:solidFill>
          <a:ln w="25400">
            <a:solidFill>
              <a:srgbClr val="FFFFFF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1"/>
          <a:lstStyle/>
          <a:p>
            <a:pPr algn="ctr"/>
            <a:r>
              <a:rPr lang="en-IN" sz="1200">
                <a:solidFill>
                  <a:srgbClr val="FFFFFF"/>
                </a:solidFill>
              </a:rPr>
              <a:t>Text</a:t>
            </a:r>
          </a:p>
        </p:txBody>
      </p:sp>
      <p:sp>
        <p:nvSpPr>
          <p:cNvPr id="72" name="Block Arc 71" hidden="1">
            <a:extLst>
              <a:ext uri="{FF2B5EF4-FFF2-40B4-BE49-F238E27FC236}">
                <a16:creationId xmlns:a16="http://schemas.microsoft.com/office/drawing/2014/main" id="{159E1B29-2875-4AD5-8CBC-04C905CA0E4F}"/>
              </a:ext>
            </a:extLst>
          </p:cNvPr>
          <p:cNvSpPr/>
          <p:nvPr>
            <p:custDataLst>
              <p:tags r:id="rId35"/>
            </p:custDataLst>
          </p:nvPr>
        </p:nvSpPr>
        <p:spPr>
          <a:xfrm>
            <a:off x="4260056" y="3335286"/>
            <a:ext cx="3810000" cy="3810000"/>
          </a:xfrm>
          <a:prstGeom prst="blockArc">
            <a:avLst>
              <a:gd name="adj1" fmla="val 14400000"/>
              <a:gd name="adj2" fmla="val 18000000"/>
              <a:gd name="adj3" fmla="val 25000"/>
            </a:avLst>
          </a:prstGeom>
          <a:solidFill>
            <a:srgbClr val="0078D4"/>
          </a:solidFill>
          <a:ln w="25400">
            <a:solidFill>
              <a:srgbClr val="FFFFFF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1"/>
          <a:lstStyle/>
          <a:p>
            <a:pPr algn="ctr"/>
            <a:r>
              <a:rPr lang="en-IN" sz="1200">
                <a:solidFill>
                  <a:srgbClr val="FFFFFF"/>
                </a:solidFill>
              </a:rPr>
              <a:t>Text</a:t>
            </a:r>
          </a:p>
        </p:txBody>
      </p:sp>
      <p:sp>
        <p:nvSpPr>
          <p:cNvPr id="73" name="Block Arc 72" hidden="1">
            <a:extLst>
              <a:ext uri="{FF2B5EF4-FFF2-40B4-BE49-F238E27FC236}">
                <a16:creationId xmlns:a16="http://schemas.microsoft.com/office/drawing/2014/main" id="{F0B37446-888E-4109-8629-B4A8F7518CD9}"/>
              </a:ext>
            </a:extLst>
          </p:cNvPr>
          <p:cNvSpPr/>
          <p:nvPr>
            <p:custDataLst>
              <p:tags r:id="rId36"/>
            </p:custDataLst>
          </p:nvPr>
        </p:nvSpPr>
        <p:spPr>
          <a:xfrm>
            <a:off x="4260056" y="3335286"/>
            <a:ext cx="3810000" cy="3810000"/>
          </a:xfrm>
          <a:prstGeom prst="blockArc">
            <a:avLst>
              <a:gd name="adj1" fmla="val 18000000"/>
              <a:gd name="adj2" fmla="val 0"/>
              <a:gd name="adj3" fmla="val 25000"/>
            </a:avLst>
          </a:prstGeom>
          <a:solidFill>
            <a:srgbClr val="0078D4"/>
          </a:solidFill>
          <a:ln w="25400">
            <a:solidFill>
              <a:srgbClr val="FFFFFF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1"/>
          <a:lstStyle/>
          <a:p>
            <a:pPr algn="ctr"/>
            <a:r>
              <a:rPr lang="en-IN" sz="1200">
                <a:solidFill>
                  <a:srgbClr val="FFFFFF"/>
                </a:solidFill>
              </a:rPr>
              <a:t>Text</a:t>
            </a:r>
          </a:p>
        </p:txBody>
      </p:sp>
      <p:sp>
        <p:nvSpPr>
          <p:cNvPr id="74" name="Block Arc 73" hidden="1">
            <a:extLst>
              <a:ext uri="{FF2B5EF4-FFF2-40B4-BE49-F238E27FC236}">
                <a16:creationId xmlns:a16="http://schemas.microsoft.com/office/drawing/2014/main" id="{B5DB7AF2-B7FD-475D-8A4C-65670032F291}"/>
              </a:ext>
            </a:extLst>
          </p:cNvPr>
          <p:cNvSpPr/>
          <p:nvPr>
            <p:custDataLst>
              <p:tags r:id="rId37"/>
            </p:custDataLst>
          </p:nvPr>
        </p:nvSpPr>
        <p:spPr>
          <a:xfrm>
            <a:off x="4260056" y="3335286"/>
            <a:ext cx="3810000" cy="3810000"/>
          </a:xfrm>
          <a:prstGeom prst="blockArc">
            <a:avLst>
              <a:gd name="adj1" fmla="val 0"/>
              <a:gd name="adj2" fmla="val 3600000"/>
              <a:gd name="adj3" fmla="val 25000"/>
            </a:avLst>
          </a:prstGeom>
          <a:solidFill>
            <a:srgbClr val="0078D4"/>
          </a:solidFill>
          <a:ln w="25400">
            <a:solidFill>
              <a:srgbClr val="FFFFFF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1"/>
          <a:lstStyle/>
          <a:p>
            <a:pPr algn="ctr"/>
            <a:r>
              <a:rPr lang="en-IN" sz="1200">
                <a:solidFill>
                  <a:srgbClr val="FFFFFF"/>
                </a:solidFill>
              </a:rPr>
              <a:t>Text</a:t>
            </a:r>
          </a:p>
        </p:txBody>
      </p:sp>
      <p:sp>
        <p:nvSpPr>
          <p:cNvPr id="76" name="Block Arc 75" hidden="1">
            <a:extLst>
              <a:ext uri="{FF2B5EF4-FFF2-40B4-BE49-F238E27FC236}">
                <a16:creationId xmlns:a16="http://schemas.microsoft.com/office/drawing/2014/main" id="{09053CC4-4BC3-43DF-9F5E-D2E40A5E27AE}"/>
              </a:ext>
            </a:extLst>
          </p:cNvPr>
          <p:cNvSpPr/>
          <p:nvPr>
            <p:custDataLst>
              <p:tags r:id="rId38"/>
            </p:custDataLst>
          </p:nvPr>
        </p:nvSpPr>
        <p:spPr>
          <a:xfrm>
            <a:off x="4260056" y="3335286"/>
            <a:ext cx="3810000" cy="3810000"/>
          </a:xfrm>
          <a:prstGeom prst="blockArc">
            <a:avLst>
              <a:gd name="adj1" fmla="val 3600000"/>
              <a:gd name="adj2" fmla="val 7200000"/>
              <a:gd name="adj3" fmla="val 25000"/>
            </a:avLst>
          </a:prstGeom>
          <a:solidFill>
            <a:srgbClr val="0078D4"/>
          </a:solidFill>
          <a:ln w="25400">
            <a:solidFill>
              <a:srgbClr val="FFFFFF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1"/>
          <a:lstStyle/>
          <a:p>
            <a:pPr algn="ctr"/>
            <a:r>
              <a:rPr lang="en-IN" sz="1200">
                <a:solidFill>
                  <a:srgbClr val="FFFFFF"/>
                </a:solidFill>
              </a:rPr>
              <a:t>Text</a:t>
            </a:r>
          </a:p>
        </p:txBody>
      </p:sp>
      <p:sp>
        <p:nvSpPr>
          <p:cNvPr id="77" name="Block Arc 76" hidden="1">
            <a:extLst>
              <a:ext uri="{FF2B5EF4-FFF2-40B4-BE49-F238E27FC236}">
                <a16:creationId xmlns:a16="http://schemas.microsoft.com/office/drawing/2014/main" id="{E4AA8FAB-6CDF-43EB-8CF3-D16331F56B02}"/>
              </a:ext>
            </a:extLst>
          </p:cNvPr>
          <p:cNvSpPr/>
          <p:nvPr>
            <p:custDataLst>
              <p:tags r:id="rId39"/>
            </p:custDataLst>
          </p:nvPr>
        </p:nvSpPr>
        <p:spPr>
          <a:xfrm>
            <a:off x="4260056" y="3335286"/>
            <a:ext cx="3810000" cy="3810000"/>
          </a:xfrm>
          <a:prstGeom prst="blockArc">
            <a:avLst>
              <a:gd name="adj1" fmla="val 7200000"/>
              <a:gd name="adj2" fmla="val 10800000"/>
              <a:gd name="adj3" fmla="val 25000"/>
            </a:avLst>
          </a:prstGeom>
          <a:solidFill>
            <a:srgbClr val="0078D4"/>
          </a:solidFill>
          <a:ln w="25400">
            <a:solidFill>
              <a:srgbClr val="FFFFFF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1"/>
          <a:lstStyle/>
          <a:p>
            <a:pPr algn="ctr"/>
            <a:r>
              <a:rPr lang="en-IN" sz="1200">
                <a:solidFill>
                  <a:srgbClr val="FFFFFF"/>
                </a:solidFill>
              </a:rPr>
              <a:t>Text</a:t>
            </a:r>
          </a:p>
        </p:txBody>
      </p:sp>
      <p:sp>
        <p:nvSpPr>
          <p:cNvPr id="78" name="Block Arc 77" hidden="1">
            <a:extLst>
              <a:ext uri="{FF2B5EF4-FFF2-40B4-BE49-F238E27FC236}">
                <a16:creationId xmlns:a16="http://schemas.microsoft.com/office/drawing/2014/main" id="{3950F418-44C1-4685-9ACE-CC2B3268A39F}"/>
              </a:ext>
            </a:extLst>
          </p:cNvPr>
          <p:cNvSpPr/>
          <p:nvPr>
            <p:custDataLst>
              <p:tags r:id="rId40"/>
            </p:custDataLst>
          </p:nvPr>
        </p:nvSpPr>
        <p:spPr>
          <a:xfrm>
            <a:off x="4260056" y="3335286"/>
            <a:ext cx="3810000" cy="3810000"/>
          </a:xfrm>
          <a:prstGeom prst="blockArc">
            <a:avLst>
              <a:gd name="adj1" fmla="val 10800000"/>
              <a:gd name="adj2" fmla="val 14400000"/>
              <a:gd name="adj3" fmla="val 25000"/>
            </a:avLst>
          </a:prstGeom>
          <a:solidFill>
            <a:srgbClr val="0078D4"/>
          </a:solidFill>
          <a:ln w="25400">
            <a:solidFill>
              <a:srgbClr val="FFFFFF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1"/>
          <a:lstStyle/>
          <a:p>
            <a:pPr algn="ctr"/>
            <a:r>
              <a:rPr lang="en-IN" sz="1200">
                <a:solidFill>
                  <a:srgbClr val="FFFFFF"/>
                </a:solidFill>
              </a:rPr>
              <a:t>Text</a:t>
            </a:r>
          </a:p>
        </p:txBody>
      </p:sp>
      <p:sp>
        <p:nvSpPr>
          <p:cNvPr id="79" name="Block Arc 78" hidden="1">
            <a:extLst>
              <a:ext uri="{FF2B5EF4-FFF2-40B4-BE49-F238E27FC236}">
                <a16:creationId xmlns:a16="http://schemas.microsoft.com/office/drawing/2014/main" id="{9D52F3FB-E9C9-4A22-8B6E-F9CA99461407}"/>
              </a:ext>
            </a:extLst>
          </p:cNvPr>
          <p:cNvSpPr/>
          <p:nvPr>
            <p:custDataLst>
              <p:tags r:id="rId41"/>
            </p:custDataLst>
          </p:nvPr>
        </p:nvSpPr>
        <p:spPr>
          <a:xfrm>
            <a:off x="4260056" y="3335286"/>
            <a:ext cx="3810000" cy="3810000"/>
          </a:xfrm>
          <a:prstGeom prst="blockArc">
            <a:avLst>
              <a:gd name="adj1" fmla="val 14400000"/>
              <a:gd name="adj2" fmla="val 18000000"/>
              <a:gd name="adj3" fmla="val 25000"/>
            </a:avLst>
          </a:prstGeom>
          <a:solidFill>
            <a:srgbClr val="0078D4"/>
          </a:solidFill>
          <a:ln w="25400">
            <a:solidFill>
              <a:srgbClr val="FFFFFF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1"/>
          <a:lstStyle/>
          <a:p>
            <a:pPr algn="ctr"/>
            <a:r>
              <a:rPr lang="en-IN" sz="1200">
                <a:solidFill>
                  <a:srgbClr val="FFFFFF"/>
                </a:solidFill>
              </a:rPr>
              <a:t>Text</a:t>
            </a:r>
          </a:p>
        </p:txBody>
      </p:sp>
      <p:sp>
        <p:nvSpPr>
          <p:cNvPr id="80" name="Block Arc 79" hidden="1">
            <a:extLst>
              <a:ext uri="{FF2B5EF4-FFF2-40B4-BE49-F238E27FC236}">
                <a16:creationId xmlns:a16="http://schemas.microsoft.com/office/drawing/2014/main" id="{7507AA87-81CE-40EC-8667-AB50830C3177}"/>
              </a:ext>
            </a:extLst>
          </p:cNvPr>
          <p:cNvSpPr/>
          <p:nvPr>
            <p:custDataLst>
              <p:tags r:id="rId42"/>
            </p:custDataLst>
          </p:nvPr>
        </p:nvSpPr>
        <p:spPr>
          <a:xfrm>
            <a:off x="4260056" y="3335286"/>
            <a:ext cx="3810000" cy="3810000"/>
          </a:xfrm>
          <a:prstGeom prst="blockArc">
            <a:avLst>
              <a:gd name="adj1" fmla="val 18000000"/>
              <a:gd name="adj2" fmla="val 0"/>
              <a:gd name="adj3" fmla="val 25000"/>
            </a:avLst>
          </a:prstGeom>
          <a:solidFill>
            <a:srgbClr val="0078D4"/>
          </a:solidFill>
          <a:ln w="25400">
            <a:solidFill>
              <a:srgbClr val="FFFFFF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1"/>
          <a:lstStyle/>
          <a:p>
            <a:pPr algn="ctr"/>
            <a:r>
              <a:rPr lang="en-IN" sz="1200">
                <a:solidFill>
                  <a:srgbClr val="FFFFFF"/>
                </a:solidFill>
              </a:rPr>
              <a:t>Text</a:t>
            </a:r>
          </a:p>
        </p:txBody>
      </p:sp>
      <p:sp>
        <p:nvSpPr>
          <p:cNvPr id="81" name="Block Arc 80" hidden="1">
            <a:extLst>
              <a:ext uri="{FF2B5EF4-FFF2-40B4-BE49-F238E27FC236}">
                <a16:creationId xmlns:a16="http://schemas.microsoft.com/office/drawing/2014/main" id="{E4DDD3D8-A045-4BFC-ADBA-7804EB9D4B5B}"/>
              </a:ext>
            </a:extLst>
          </p:cNvPr>
          <p:cNvSpPr/>
          <p:nvPr>
            <p:custDataLst>
              <p:tags r:id="rId43"/>
            </p:custDataLst>
          </p:nvPr>
        </p:nvSpPr>
        <p:spPr>
          <a:xfrm>
            <a:off x="4260056" y="3335286"/>
            <a:ext cx="3810000" cy="3810000"/>
          </a:xfrm>
          <a:prstGeom prst="blockArc">
            <a:avLst>
              <a:gd name="adj1" fmla="val 0"/>
              <a:gd name="adj2" fmla="val 3600000"/>
              <a:gd name="adj3" fmla="val 25000"/>
            </a:avLst>
          </a:prstGeom>
          <a:solidFill>
            <a:srgbClr val="0078D4"/>
          </a:solidFill>
          <a:ln w="25400">
            <a:solidFill>
              <a:srgbClr val="FFFFFF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1"/>
          <a:lstStyle/>
          <a:p>
            <a:pPr algn="ctr"/>
            <a:r>
              <a:rPr lang="en-IN" sz="1200">
                <a:solidFill>
                  <a:srgbClr val="FFFFFF"/>
                </a:solidFill>
              </a:rPr>
              <a:t>Text</a:t>
            </a:r>
          </a:p>
        </p:txBody>
      </p:sp>
      <p:sp>
        <p:nvSpPr>
          <p:cNvPr id="82" name="Block Arc 81" hidden="1">
            <a:extLst>
              <a:ext uri="{FF2B5EF4-FFF2-40B4-BE49-F238E27FC236}">
                <a16:creationId xmlns:a16="http://schemas.microsoft.com/office/drawing/2014/main" id="{B7F22FCB-E891-49D5-8BE4-25F3140AD868}"/>
              </a:ext>
            </a:extLst>
          </p:cNvPr>
          <p:cNvSpPr/>
          <p:nvPr>
            <p:custDataLst>
              <p:tags r:id="rId44"/>
            </p:custDataLst>
          </p:nvPr>
        </p:nvSpPr>
        <p:spPr>
          <a:xfrm>
            <a:off x="4260056" y="3335286"/>
            <a:ext cx="3810000" cy="3810000"/>
          </a:xfrm>
          <a:prstGeom prst="blockArc">
            <a:avLst>
              <a:gd name="adj1" fmla="val 3600000"/>
              <a:gd name="adj2" fmla="val 7200000"/>
              <a:gd name="adj3" fmla="val 25000"/>
            </a:avLst>
          </a:prstGeom>
          <a:solidFill>
            <a:srgbClr val="0078D4"/>
          </a:solidFill>
          <a:ln w="25400">
            <a:solidFill>
              <a:srgbClr val="FFFFFF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1"/>
          <a:lstStyle/>
          <a:p>
            <a:pPr algn="ctr"/>
            <a:r>
              <a:rPr lang="en-IN" sz="1200">
                <a:solidFill>
                  <a:srgbClr val="FFFFFF"/>
                </a:solidFill>
              </a:rPr>
              <a:t>Text</a:t>
            </a:r>
          </a:p>
        </p:txBody>
      </p:sp>
      <p:sp>
        <p:nvSpPr>
          <p:cNvPr id="97" name="Rectangle 96" hidden="1">
            <a:extLst>
              <a:ext uri="{FF2B5EF4-FFF2-40B4-BE49-F238E27FC236}">
                <a16:creationId xmlns:a16="http://schemas.microsoft.com/office/drawing/2014/main" id="{5DCDD05C-F233-4CD1-BDFF-2D2388751B22}"/>
              </a:ext>
            </a:extLst>
          </p:cNvPr>
          <p:cNvSpPr/>
          <p:nvPr/>
        </p:nvSpPr>
        <p:spPr>
          <a:xfrm>
            <a:off x="3048000" y="3036585"/>
            <a:ext cx="6096000" cy="369332"/>
          </a:xfrm>
          <a:prstGeom prst="rect">
            <a:avLst/>
          </a:prstGeom>
        </p:spPr>
        <p:txBody>
          <a:bodyPr>
            <a:spAutoFit/>
          </a:bodyPr>
          <a:lstStyle/>
          <a:p>
            <a:pPr marL="231775" lvl="1" indent="-171450">
              <a:spcBef>
                <a:spcPts val="100"/>
              </a:spcBef>
              <a:spcAft>
                <a:spcPts val="200"/>
              </a:spcAft>
              <a:buFont typeface="Arial" panose="020B0604020202020204" pitchFamily="34" charset="0"/>
              <a:buChar char="•"/>
              <a:tabLst>
                <a:tab pos="225425" algn="l"/>
              </a:tabLst>
            </a:pPr>
            <a:endParaRPr lang="en-IN">
              <a:latin typeface="Segoe UI" panose="020B0502040204020203" pitchFamily="34" charset="0"/>
            </a:endParaRP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933B5543-AEF0-4B6C-8DA3-4CEF19AADCF3}"/>
              </a:ext>
            </a:extLst>
          </p:cNvPr>
          <p:cNvGrpSpPr/>
          <p:nvPr/>
        </p:nvGrpSpPr>
        <p:grpSpPr>
          <a:xfrm>
            <a:off x="0" y="1221852"/>
            <a:ext cx="12831549" cy="5214001"/>
            <a:chOff x="0" y="1221852"/>
            <a:chExt cx="12831549" cy="5214001"/>
          </a:xfrm>
        </p:grpSpPr>
        <p:sp>
          <p:nvSpPr>
            <p:cNvPr id="239" name="Freeform: Shape 238">
              <a:extLst>
                <a:ext uri="{FF2B5EF4-FFF2-40B4-BE49-F238E27FC236}">
                  <a16:creationId xmlns:a16="http://schemas.microsoft.com/office/drawing/2014/main" id="{8CA57EEF-A414-4AEC-A23F-6EA36658A8E3}"/>
                </a:ext>
              </a:extLst>
            </p:cNvPr>
            <p:cNvSpPr/>
            <p:nvPr/>
          </p:nvSpPr>
          <p:spPr>
            <a:xfrm rot="10800000" flipH="1" flipV="1">
              <a:off x="1493566" y="5525111"/>
              <a:ext cx="767465" cy="768169"/>
            </a:xfrm>
            <a:custGeom>
              <a:avLst/>
              <a:gdLst>
                <a:gd name="connsiteX0" fmla="*/ 632947 w 875635"/>
                <a:gd name="connsiteY0" fmla="*/ 906431 h 906431"/>
                <a:gd name="connsiteX1" fmla="*/ 389660 w 875635"/>
                <a:gd name="connsiteY1" fmla="*/ 906431 h 906431"/>
                <a:gd name="connsiteX2" fmla="*/ 0 w 875635"/>
                <a:gd name="connsiteY2" fmla="*/ 516771 h 906431"/>
                <a:gd name="connsiteX3" fmla="*/ 2 w 875635"/>
                <a:gd name="connsiteY3" fmla="*/ 516771 h 906431"/>
                <a:gd name="connsiteX4" fmla="*/ 3684 w 875635"/>
                <a:gd name="connsiteY4" fmla="*/ 498528 h 906431"/>
                <a:gd name="connsiteX5" fmla="*/ 2 w 875635"/>
                <a:gd name="connsiteY5" fmla="*/ 480288 h 906431"/>
                <a:gd name="connsiteX6" fmla="*/ 2 w 875635"/>
                <a:gd name="connsiteY6" fmla="*/ 242688 h 906431"/>
                <a:gd name="connsiteX7" fmla="*/ 779321 w 875635"/>
                <a:gd name="connsiteY7" fmla="*/ 0 h 906431"/>
                <a:gd name="connsiteX8" fmla="*/ 779321 w 875635"/>
                <a:gd name="connsiteY8" fmla="*/ 127111 h 906431"/>
                <a:gd name="connsiteX9" fmla="*/ 875635 w 875635"/>
                <a:gd name="connsiteY9" fmla="*/ 127111 h 906431"/>
                <a:gd name="connsiteX10" fmla="*/ 632947 w 875635"/>
                <a:gd name="connsiteY10" fmla="*/ 906431 h 906431"/>
                <a:gd name="connsiteX0" fmla="*/ 738884 w 875635"/>
                <a:gd name="connsiteY0" fmla="*/ 906431 h 906431"/>
                <a:gd name="connsiteX1" fmla="*/ 389660 w 875635"/>
                <a:gd name="connsiteY1" fmla="*/ 906431 h 906431"/>
                <a:gd name="connsiteX2" fmla="*/ 0 w 875635"/>
                <a:gd name="connsiteY2" fmla="*/ 516771 h 906431"/>
                <a:gd name="connsiteX3" fmla="*/ 2 w 875635"/>
                <a:gd name="connsiteY3" fmla="*/ 516771 h 906431"/>
                <a:gd name="connsiteX4" fmla="*/ 3684 w 875635"/>
                <a:gd name="connsiteY4" fmla="*/ 498528 h 906431"/>
                <a:gd name="connsiteX5" fmla="*/ 2 w 875635"/>
                <a:gd name="connsiteY5" fmla="*/ 480288 h 906431"/>
                <a:gd name="connsiteX6" fmla="*/ 2 w 875635"/>
                <a:gd name="connsiteY6" fmla="*/ 242688 h 906431"/>
                <a:gd name="connsiteX7" fmla="*/ 779321 w 875635"/>
                <a:gd name="connsiteY7" fmla="*/ 0 h 906431"/>
                <a:gd name="connsiteX8" fmla="*/ 779321 w 875635"/>
                <a:gd name="connsiteY8" fmla="*/ 127111 h 906431"/>
                <a:gd name="connsiteX9" fmla="*/ 875635 w 875635"/>
                <a:gd name="connsiteY9" fmla="*/ 127111 h 906431"/>
                <a:gd name="connsiteX10" fmla="*/ 738884 w 875635"/>
                <a:gd name="connsiteY10" fmla="*/ 906431 h 906431"/>
                <a:gd name="connsiteX0" fmla="*/ 738884 w 779321"/>
                <a:gd name="connsiteY0" fmla="*/ 906431 h 906431"/>
                <a:gd name="connsiteX1" fmla="*/ 389660 w 779321"/>
                <a:gd name="connsiteY1" fmla="*/ 906431 h 906431"/>
                <a:gd name="connsiteX2" fmla="*/ 0 w 779321"/>
                <a:gd name="connsiteY2" fmla="*/ 516771 h 906431"/>
                <a:gd name="connsiteX3" fmla="*/ 2 w 779321"/>
                <a:gd name="connsiteY3" fmla="*/ 516771 h 906431"/>
                <a:gd name="connsiteX4" fmla="*/ 3684 w 779321"/>
                <a:gd name="connsiteY4" fmla="*/ 498528 h 906431"/>
                <a:gd name="connsiteX5" fmla="*/ 2 w 779321"/>
                <a:gd name="connsiteY5" fmla="*/ 480288 h 906431"/>
                <a:gd name="connsiteX6" fmla="*/ 2 w 779321"/>
                <a:gd name="connsiteY6" fmla="*/ 242688 h 906431"/>
                <a:gd name="connsiteX7" fmla="*/ 779321 w 779321"/>
                <a:gd name="connsiteY7" fmla="*/ 0 h 906431"/>
                <a:gd name="connsiteX8" fmla="*/ 779321 w 779321"/>
                <a:gd name="connsiteY8" fmla="*/ 127111 h 906431"/>
                <a:gd name="connsiteX9" fmla="*/ 738884 w 779321"/>
                <a:gd name="connsiteY9" fmla="*/ 906431 h 906431"/>
                <a:gd name="connsiteX0" fmla="*/ 738884 w 779321"/>
                <a:gd name="connsiteY0" fmla="*/ 779320 h 779320"/>
                <a:gd name="connsiteX1" fmla="*/ 389660 w 779321"/>
                <a:gd name="connsiteY1" fmla="*/ 779320 h 779320"/>
                <a:gd name="connsiteX2" fmla="*/ 0 w 779321"/>
                <a:gd name="connsiteY2" fmla="*/ 389660 h 779320"/>
                <a:gd name="connsiteX3" fmla="*/ 2 w 779321"/>
                <a:gd name="connsiteY3" fmla="*/ 389660 h 779320"/>
                <a:gd name="connsiteX4" fmla="*/ 3684 w 779321"/>
                <a:gd name="connsiteY4" fmla="*/ 371417 h 779320"/>
                <a:gd name="connsiteX5" fmla="*/ 2 w 779321"/>
                <a:gd name="connsiteY5" fmla="*/ 353177 h 779320"/>
                <a:gd name="connsiteX6" fmla="*/ 2 w 779321"/>
                <a:gd name="connsiteY6" fmla="*/ 115577 h 779320"/>
                <a:gd name="connsiteX7" fmla="*/ 779321 w 779321"/>
                <a:gd name="connsiteY7" fmla="*/ 0 h 779320"/>
                <a:gd name="connsiteX8" fmla="*/ 738884 w 779321"/>
                <a:gd name="connsiteY8" fmla="*/ 779320 h 779320"/>
                <a:gd name="connsiteX0" fmla="*/ 738884 w 779321"/>
                <a:gd name="connsiteY0" fmla="*/ 779320 h 779320"/>
                <a:gd name="connsiteX1" fmla="*/ 389660 w 779321"/>
                <a:gd name="connsiteY1" fmla="*/ 779320 h 779320"/>
                <a:gd name="connsiteX2" fmla="*/ 0 w 779321"/>
                <a:gd name="connsiteY2" fmla="*/ 389660 h 779320"/>
                <a:gd name="connsiteX3" fmla="*/ 2 w 779321"/>
                <a:gd name="connsiteY3" fmla="*/ 389660 h 779320"/>
                <a:gd name="connsiteX4" fmla="*/ 3684 w 779321"/>
                <a:gd name="connsiteY4" fmla="*/ 371417 h 779320"/>
                <a:gd name="connsiteX5" fmla="*/ 2 w 779321"/>
                <a:gd name="connsiteY5" fmla="*/ 353177 h 779320"/>
                <a:gd name="connsiteX6" fmla="*/ 2 w 779321"/>
                <a:gd name="connsiteY6" fmla="*/ 37518 h 779320"/>
                <a:gd name="connsiteX7" fmla="*/ 779321 w 779321"/>
                <a:gd name="connsiteY7" fmla="*/ 0 h 779320"/>
                <a:gd name="connsiteX8" fmla="*/ 738884 w 779321"/>
                <a:gd name="connsiteY8" fmla="*/ 779320 h 779320"/>
                <a:gd name="connsiteX0" fmla="*/ 738884 w 779321"/>
                <a:gd name="connsiteY0" fmla="*/ 779320 h 779320"/>
                <a:gd name="connsiteX1" fmla="*/ 389660 w 779321"/>
                <a:gd name="connsiteY1" fmla="*/ 779320 h 779320"/>
                <a:gd name="connsiteX2" fmla="*/ 0 w 779321"/>
                <a:gd name="connsiteY2" fmla="*/ 389660 h 779320"/>
                <a:gd name="connsiteX3" fmla="*/ 2 w 779321"/>
                <a:gd name="connsiteY3" fmla="*/ 389660 h 779320"/>
                <a:gd name="connsiteX4" fmla="*/ 3684 w 779321"/>
                <a:gd name="connsiteY4" fmla="*/ 371417 h 779320"/>
                <a:gd name="connsiteX5" fmla="*/ 2 w 779321"/>
                <a:gd name="connsiteY5" fmla="*/ 353177 h 779320"/>
                <a:gd name="connsiteX6" fmla="*/ 2 w 779321"/>
                <a:gd name="connsiteY6" fmla="*/ 20791 h 779320"/>
                <a:gd name="connsiteX7" fmla="*/ 779321 w 779321"/>
                <a:gd name="connsiteY7" fmla="*/ 0 h 779320"/>
                <a:gd name="connsiteX8" fmla="*/ 738884 w 779321"/>
                <a:gd name="connsiteY8" fmla="*/ 779320 h 779320"/>
                <a:gd name="connsiteX0" fmla="*/ 738884 w 757019"/>
                <a:gd name="connsiteY0" fmla="*/ 779320 h 779320"/>
                <a:gd name="connsiteX1" fmla="*/ 389660 w 757019"/>
                <a:gd name="connsiteY1" fmla="*/ 779320 h 779320"/>
                <a:gd name="connsiteX2" fmla="*/ 0 w 757019"/>
                <a:gd name="connsiteY2" fmla="*/ 389660 h 779320"/>
                <a:gd name="connsiteX3" fmla="*/ 2 w 757019"/>
                <a:gd name="connsiteY3" fmla="*/ 389660 h 779320"/>
                <a:gd name="connsiteX4" fmla="*/ 3684 w 757019"/>
                <a:gd name="connsiteY4" fmla="*/ 371417 h 779320"/>
                <a:gd name="connsiteX5" fmla="*/ 2 w 757019"/>
                <a:gd name="connsiteY5" fmla="*/ 353177 h 779320"/>
                <a:gd name="connsiteX6" fmla="*/ 2 w 757019"/>
                <a:gd name="connsiteY6" fmla="*/ 20791 h 779320"/>
                <a:gd name="connsiteX7" fmla="*/ 757019 w 757019"/>
                <a:gd name="connsiteY7" fmla="*/ 0 h 779320"/>
                <a:gd name="connsiteX8" fmla="*/ 738884 w 757019"/>
                <a:gd name="connsiteY8" fmla="*/ 779320 h 779320"/>
                <a:gd name="connsiteX0" fmla="*/ 738884 w 751443"/>
                <a:gd name="connsiteY0" fmla="*/ 779320 h 779320"/>
                <a:gd name="connsiteX1" fmla="*/ 389660 w 751443"/>
                <a:gd name="connsiteY1" fmla="*/ 779320 h 779320"/>
                <a:gd name="connsiteX2" fmla="*/ 0 w 751443"/>
                <a:gd name="connsiteY2" fmla="*/ 389660 h 779320"/>
                <a:gd name="connsiteX3" fmla="*/ 2 w 751443"/>
                <a:gd name="connsiteY3" fmla="*/ 389660 h 779320"/>
                <a:gd name="connsiteX4" fmla="*/ 3684 w 751443"/>
                <a:gd name="connsiteY4" fmla="*/ 371417 h 779320"/>
                <a:gd name="connsiteX5" fmla="*/ 2 w 751443"/>
                <a:gd name="connsiteY5" fmla="*/ 353177 h 779320"/>
                <a:gd name="connsiteX6" fmla="*/ 2 w 751443"/>
                <a:gd name="connsiteY6" fmla="*/ 20791 h 779320"/>
                <a:gd name="connsiteX7" fmla="*/ 751443 w 751443"/>
                <a:gd name="connsiteY7" fmla="*/ 0 h 779320"/>
                <a:gd name="connsiteX8" fmla="*/ 738884 w 751443"/>
                <a:gd name="connsiteY8" fmla="*/ 779320 h 779320"/>
                <a:gd name="connsiteX0" fmla="*/ 738884 w 745974"/>
                <a:gd name="connsiteY0" fmla="*/ 768169 h 768169"/>
                <a:gd name="connsiteX1" fmla="*/ 389660 w 745974"/>
                <a:gd name="connsiteY1" fmla="*/ 768169 h 768169"/>
                <a:gd name="connsiteX2" fmla="*/ 0 w 745974"/>
                <a:gd name="connsiteY2" fmla="*/ 378509 h 768169"/>
                <a:gd name="connsiteX3" fmla="*/ 2 w 745974"/>
                <a:gd name="connsiteY3" fmla="*/ 378509 h 768169"/>
                <a:gd name="connsiteX4" fmla="*/ 3684 w 745974"/>
                <a:gd name="connsiteY4" fmla="*/ 360266 h 768169"/>
                <a:gd name="connsiteX5" fmla="*/ 2 w 745974"/>
                <a:gd name="connsiteY5" fmla="*/ 342026 h 768169"/>
                <a:gd name="connsiteX6" fmla="*/ 2 w 745974"/>
                <a:gd name="connsiteY6" fmla="*/ 9640 h 768169"/>
                <a:gd name="connsiteX7" fmla="*/ 745974 w 745974"/>
                <a:gd name="connsiteY7" fmla="*/ 0 h 768169"/>
                <a:gd name="connsiteX8" fmla="*/ 738884 w 745974"/>
                <a:gd name="connsiteY8" fmla="*/ 768169 h 768169"/>
                <a:gd name="connsiteX0" fmla="*/ 738884 w 745974"/>
                <a:gd name="connsiteY0" fmla="*/ 768169 h 768169"/>
                <a:gd name="connsiteX1" fmla="*/ 389660 w 745974"/>
                <a:gd name="connsiteY1" fmla="*/ 768169 h 768169"/>
                <a:gd name="connsiteX2" fmla="*/ 0 w 745974"/>
                <a:gd name="connsiteY2" fmla="*/ 378509 h 768169"/>
                <a:gd name="connsiteX3" fmla="*/ 2 w 745974"/>
                <a:gd name="connsiteY3" fmla="*/ 378509 h 768169"/>
                <a:gd name="connsiteX4" fmla="*/ 3684 w 745974"/>
                <a:gd name="connsiteY4" fmla="*/ 360266 h 768169"/>
                <a:gd name="connsiteX5" fmla="*/ 2 w 745974"/>
                <a:gd name="connsiteY5" fmla="*/ 342026 h 768169"/>
                <a:gd name="connsiteX6" fmla="*/ 2 w 745974"/>
                <a:gd name="connsiteY6" fmla="*/ 4878 h 768169"/>
                <a:gd name="connsiteX7" fmla="*/ 745974 w 745974"/>
                <a:gd name="connsiteY7" fmla="*/ 0 h 768169"/>
                <a:gd name="connsiteX8" fmla="*/ 738884 w 745974"/>
                <a:gd name="connsiteY8" fmla="*/ 768169 h 768169"/>
                <a:gd name="connsiteX0" fmla="*/ 738884 w 745974"/>
                <a:gd name="connsiteY0" fmla="*/ 768169 h 768169"/>
                <a:gd name="connsiteX1" fmla="*/ 389660 w 745974"/>
                <a:gd name="connsiteY1" fmla="*/ 768169 h 768169"/>
                <a:gd name="connsiteX2" fmla="*/ 0 w 745974"/>
                <a:gd name="connsiteY2" fmla="*/ 378509 h 768169"/>
                <a:gd name="connsiteX3" fmla="*/ 2 w 745974"/>
                <a:gd name="connsiteY3" fmla="*/ 378509 h 768169"/>
                <a:gd name="connsiteX4" fmla="*/ 3684 w 745974"/>
                <a:gd name="connsiteY4" fmla="*/ 360266 h 768169"/>
                <a:gd name="connsiteX5" fmla="*/ 2 w 745974"/>
                <a:gd name="connsiteY5" fmla="*/ 342026 h 768169"/>
                <a:gd name="connsiteX6" fmla="*/ 2 w 745974"/>
                <a:gd name="connsiteY6" fmla="*/ 116 h 768169"/>
                <a:gd name="connsiteX7" fmla="*/ 745974 w 745974"/>
                <a:gd name="connsiteY7" fmla="*/ 0 h 768169"/>
                <a:gd name="connsiteX8" fmla="*/ 738884 w 745974"/>
                <a:gd name="connsiteY8" fmla="*/ 768169 h 768169"/>
                <a:gd name="connsiteX0" fmla="*/ 746179 w 753269"/>
                <a:gd name="connsiteY0" fmla="*/ 768169 h 768169"/>
                <a:gd name="connsiteX1" fmla="*/ 396955 w 753269"/>
                <a:gd name="connsiteY1" fmla="*/ 768169 h 768169"/>
                <a:gd name="connsiteX2" fmla="*/ 7295 w 753269"/>
                <a:gd name="connsiteY2" fmla="*/ 378509 h 768169"/>
                <a:gd name="connsiteX3" fmla="*/ 7297 w 753269"/>
                <a:gd name="connsiteY3" fmla="*/ 378509 h 768169"/>
                <a:gd name="connsiteX4" fmla="*/ 10979 w 753269"/>
                <a:gd name="connsiteY4" fmla="*/ 360266 h 768169"/>
                <a:gd name="connsiteX5" fmla="*/ 7297 w 753269"/>
                <a:gd name="connsiteY5" fmla="*/ 342026 h 768169"/>
                <a:gd name="connsiteX6" fmla="*/ 0 w 753269"/>
                <a:gd name="connsiteY6" fmla="*/ 116 h 768169"/>
                <a:gd name="connsiteX7" fmla="*/ 753269 w 753269"/>
                <a:gd name="connsiteY7" fmla="*/ 0 h 768169"/>
                <a:gd name="connsiteX8" fmla="*/ 746179 w 753269"/>
                <a:gd name="connsiteY8" fmla="*/ 768169 h 7681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53269" h="768169">
                  <a:moveTo>
                    <a:pt x="746179" y="768169"/>
                  </a:moveTo>
                  <a:lnTo>
                    <a:pt x="396955" y="768169"/>
                  </a:lnTo>
                  <a:cubicBezTo>
                    <a:pt x="181752" y="768169"/>
                    <a:pt x="7295" y="593712"/>
                    <a:pt x="7295" y="378509"/>
                  </a:cubicBezTo>
                  <a:lnTo>
                    <a:pt x="7297" y="378509"/>
                  </a:lnTo>
                  <a:lnTo>
                    <a:pt x="10979" y="360266"/>
                  </a:lnTo>
                  <a:lnTo>
                    <a:pt x="7297" y="342026"/>
                  </a:lnTo>
                  <a:lnTo>
                    <a:pt x="0" y="116"/>
                  </a:lnTo>
                  <a:lnTo>
                    <a:pt x="753269" y="0"/>
                  </a:lnTo>
                  <a:cubicBezTo>
                    <a:pt x="750906" y="256056"/>
                    <a:pt x="748542" y="512113"/>
                    <a:pt x="746179" y="768169"/>
                  </a:cubicBezTo>
                  <a:close/>
                </a:path>
              </a:pathLst>
            </a:custGeom>
            <a:solidFill>
              <a:schemeClr val="bg2">
                <a:lumMod val="25000"/>
                <a:lumOff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IN"/>
            </a:p>
          </p:txBody>
        </p:sp>
        <p:sp>
          <p:nvSpPr>
            <p:cNvPr id="600" name="Freeform: Shape 599">
              <a:extLst>
                <a:ext uri="{FF2B5EF4-FFF2-40B4-BE49-F238E27FC236}">
                  <a16:creationId xmlns:a16="http://schemas.microsoft.com/office/drawing/2014/main" id="{AD7E46A5-3111-44EA-A460-2B8DCDC46683}"/>
                </a:ext>
              </a:extLst>
            </p:cNvPr>
            <p:cNvSpPr/>
            <p:nvPr/>
          </p:nvSpPr>
          <p:spPr>
            <a:xfrm rot="10800000">
              <a:off x="3470564" y="1457794"/>
              <a:ext cx="786560" cy="763593"/>
            </a:xfrm>
            <a:custGeom>
              <a:avLst/>
              <a:gdLst>
                <a:gd name="connsiteX0" fmla="*/ 562649 w 952309"/>
                <a:gd name="connsiteY0" fmla="*/ 786903 h 786903"/>
                <a:gd name="connsiteX1" fmla="*/ 0 w 952309"/>
                <a:gd name="connsiteY1" fmla="*/ 786903 h 786903"/>
                <a:gd name="connsiteX2" fmla="*/ 116686 w 952309"/>
                <a:gd name="connsiteY2" fmla="*/ 7584 h 786903"/>
                <a:gd name="connsiteX3" fmla="*/ 172990 w 952309"/>
                <a:gd name="connsiteY3" fmla="*/ 7584 h 786903"/>
                <a:gd name="connsiteX4" fmla="*/ 172990 w 952309"/>
                <a:gd name="connsiteY4" fmla="*/ 0 h 786903"/>
                <a:gd name="connsiteX5" fmla="*/ 952308 w 952309"/>
                <a:gd name="connsiteY5" fmla="*/ 182809 h 786903"/>
                <a:gd name="connsiteX6" fmla="*/ 952308 w 952309"/>
                <a:gd name="connsiteY6" fmla="*/ 397240 h 786903"/>
                <a:gd name="connsiteX7" fmla="*/ 952309 w 952309"/>
                <a:gd name="connsiteY7" fmla="*/ 397244 h 786903"/>
                <a:gd name="connsiteX8" fmla="*/ 952302 w 952309"/>
                <a:gd name="connsiteY8" fmla="*/ 397278 h 786903"/>
                <a:gd name="connsiteX9" fmla="*/ 928664 w 952309"/>
                <a:gd name="connsiteY9" fmla="*/ 531221 h 786903"/>
                <a:gd name="connsiteX10" fmla="*/ 923412 w 952309"/>
                <a:gd name="connsiteY10" fmla="*/ 540374 h 786903"/>
                <a:gd name="connsiteX11" fmla="*/ 921688 w 952309"/>
                <a:gd name="connsiteY11" fmla="*/ 548916 h 786903"/>
                <a:gd name="connsiteX12" fmla="*/ 885761 w 952309"/>
                <a:gd name="connsiteY12" fmla="*/ 615106 h 786903"/>
                <a:gd name="connsiteX13" fmla="*/ 868618 w 952309"/>
                <a:gd name="connsiteY13" fmla="*/ 635884 h 786903"/>
                <a:gd name="connsiteX14" fmla="*/ 863329 w 952309"/>
                <a:gd name="connsiteY14" fmla="*/ 645102 h 786903"/>
                <a:gd name="connsiteX15" fmla="*/ 848378 w 952309"/>
                <a:gd name="connsiteY15" fmla="*/ 660414 h 786903"/>
                <a:gd name="connsiteX16" fmla="*/ 838180 w 952309"/>
                <a:gd name="connsiteY16" fmla="*/ 672774 h 786903"/>
                <a:gd name="connsiteX17" fmla="*/ 828557 w 952309"/>
                <a:gd name="connsiteY17" fmla="*/ 680714 h 786903"/>
                <a:gd name="connsiteX18" fmla="*/ 817652 w 952309"/>
                <a:gd name="connsiteY18" fmla="*/ 691883 h 786903"/>
                <a:gd name="connsiteX19" fmla="*/ 795026 w 952309"/>
                <a:gd name="connsiteY19" fmla="*/ 708380 h 786903"/>
                <a:gd name="connsiteX20" fmla="*/ 780512 w 952309"/>
                <a:gd name="connsiteY20" fmla="*/ 720355 h 786903"/>
                <a:gd name="connsiteX21" fmla="*/ 773037 w 952309"/>
                <a:gd name="connsiteY21" fmla="*/ 724412 h 786903"/>
                <a:gd name="connsiteX22" fmla="*/ 764701 w 952309"/>
                <a:gd name="connsiteY22" fmla="*/ 730490 h 786903"/>
                <a:gd name="connsiteX23" fmla="*/ 731090 w 952309"/>
                <a:gd name="connsiteY23" fmla="*/ 747180 h 786903"/>
                <a:gd name="connsiteX24" fmla="*/ 714322 w 952309"/>
                <a:gd name="connsiteY24" fmla="*/ 756282 h 786903"/>
                <a:gd name="connsiteX25" fmla="*/ 710160 w 952309"/>
                <a:gd name="connsiteY25" fmla="*/ 757574 h 786903"/>
                <a:gd name="connsiteX26" fmla="*/ 705527 w 952309"/>
                <a:gd name="connsiteY26" fmla="*/ 759874 h 786903"/>
                <a:gd name="connsiteX27" fmla="*/ 641231 w 952309"/>
                <a:gd name="connsiteY27" fmla="*/ 778970 h 786903"/>
                <a:gd name="connsiteX28" fmla="*/ 641179 w 952309"/>
                <a:gd name="connsiteY28" fmla="*/ 778987 h 786903"/>
                <a:gd name="connsiteX29" fmla="*/ 562649 w 952309"/>
                <a:gd name="connsiteY29" fmla="*/ 786903 h 786903"/>
                <a:gd name="connsiteX0" fmla="*/ 463258 w 852918"/>
                <a:gd name="connsiteY0" fmla="*/ 786903 h 786903"/>
                <a:gd name="connsiteX1" fmla="*/ 0 w 852918"/>
                <a:gd name="connsiteY1" fmla="*/ 786903 h 786903"/>
                <a:gd name="connsiteX2" fmla="*/ 17295 w 852918"/>
                <a:gd name="connsiteY2" fmla="*/ 7584 h 786903"/>
                <a:gd name="connsiteX3" fmla="*/ 73599 w 852918"/>
                <a:gd name="connsiteY3" fmla="*/ 7584 h 786903"/>
                <a:gd name="connsiteX4" fmla="*/ 73599 w 852918"/>
                <a:gd name="connsiteY4" fmla="*/ 0 h 786903"/>
                <a:gd name="connsiteX5" fmla="*/ 852917 w 852918"/>
                <a:gd name="connsiteY5" fmla="*/ 182809 h 786903"/>
                <a:gd name="connsiteX6" fmla="*/ 852917 w 852918"/>
                <a:gd name="connsiteY6" fmla="*/ 397240 h 786903"/>
                <a:gd name="connsiteX7" fmla="*/ 852918 w 852918"/>
                <a:gd name="connsiteY7" fmla="*/ 397244 h 786903"/>
                <a:gd name="connsiteX8" fmla="*/ 852911 w 852918"/>
                <a:gd name="connsiteY8" fmla="*/ 397278 h 786903"/>
                <a:gd name="connsiteX9" fmla="*/ 829273 w 852918"/>
                <a:gd name="connsiteY9" fmla="*/ 531221 h 786903"/>
                <a:gd name="connsiteX10" fmla="*/ 824021 w 852918"/>
                <a:gd name="connsiteY10" fmla="*/ 540374 h 786903"/>
                <a:gd name="connsiteX11" fmla="*/ 822297 w 852918"/>
                <a:gd name="connsiteY11" fmla="*/ 548916 h 786903"/>
                <a:gd name="connsiteX12" fmla="*/ 786370 w 852918"/>
                <a:gd name="connsiteY12" fmla="*/ 615106 h 786903"/>
                <a:gd name="connsiteX13" fmla="*/ 769227 w 852918"/>
                <a:gd name="connsiteY13" fmla="*/ 635884 h 786903"/>
                <a:gd name="connsiteX14" fmla="*/ 763938 w 852918"/>
                <a:gd name="connsiteY14" fmla="*/ 645102 h 786903"/>
                <a:gd name="connsiteX15" fmla="*/ 748987 w 852918"/>
                <a:gd name="connsiteY15" fmla="*/ 660414 h 786903"/>
                <a:gd name="connsiteX16" fmla="*/ 738789 w 852918"/>
                <a:gd name="connsiteY16" fmla="*/ 672774 h 786903"/>
                <a:gd name="connsiteX17" fmla="*/ 729166 w 852918"/>
                <a:gd name="connsiteY17" fmla="*/ 680714 h 786903"/>
                <a:gd name="connsiteX18" fmla="*/ 718261 w 852918"/>
                <a:gd name="connsiteY18" fmla="*/ 691883 h 786903"/>
                <a:gd name="connsiteX19" fmla="*/ 695635 w 852918"/>
                <a:gd name="connsiteY19" fmla="*/ 708380 h 786903"/>
                <a:gd name="connsiteX20" fmla="*/ 681121 w 852918"/>
                <a:gd name="connsiteY20" fmla="*/ 720355 h 786903"/>
                <a:gd name="connsiteX21" fmla="*/ 673646 w 852918"/>
                <a:gd name="connsiteY21" fmla="*/ 724412 h 786903"/>
                <a:gd name="connsiteX22" fmla="*/ 665310 w 852918"/>
                <a:gd name="connsiteY22" fmla="*/ 730490 h 786903"/>
                <a:gd name="connsiteX23" fmla="*/ 631699 w 852918"/>
                <a:gd name="connsiteY23" fmla="*/ 747180 h 786903"/>
                <a:gd name="connsiteX24" fmla="*/ 614931 w 852918"/>
                <a:gd name="connsiteY24" fmla="*/ 756282 h 786903"/>
                <a:gd name="connsiteX25" fmla="*/ 610769 w 852918"/>
                <a:gd name="connsiteY25" fmla="*/ 757574 h 786903"/>
                <a:gd name="connsiteX26" fmla="*/ 606136 w 852918"/>
                <a:gd name="connsiteY26" fmla="*/ 759874 h 786903"/>
                <a:gd name="connsiteX27" fmla="*/ 541840 w 852918"/>
                <a:gd name="connsiteY27" fmla="*/ 778970 h 786903"/>
                <a:gd name="connsiteX28" fmla="*/ 541788 w 852918"/>
                <a:gd name="connsiteY28" fmla="*/ 778987 h 786903"/>
                <a:gd name="connsiteX29" fmla="*/ 463258 w 852918"/>
                <a:gd name="connsiteY29" fmla="*/ 786903 h 786903"/>
                <a:gd name="connsiteX0" fmla="*/ 445963 w 835623"/>
                <a:gd name="connsiteY0" fmla="*/ 786903 h 786903"/>
                <a:gd name="connsiteX1" fmla="*/ 122 w 835623"/>
                <a:gd name="connsiteY1" fmla="*/ 786903 h 786903"/>
                <a:gd name="connsiteX2" fmla="*/ 0 w 835623"/>
                <a:gd name="connsiteY2" fmla="*/ 7584 h 786903"/>
                <a:gd name="connsiteX3" fmla="*/ 56304 w 835623"/>
                <a:gd name="connsiteY3" fmla="*/ 7584 h 786903"/>
                <a:gd name="connsiteX4" fmla="*/ 56304 w 835623"/>
                <a:gd name="connsiteY4" fmla="*/ 0 h 786903"/>
                <a:gd name="connsiteX5" fmla="*/ 835622 w 835623"/>
                <a:gd name="connsiteY5" fmla="*/ 182809 h 786903"/>
                <a:gd name="connsiteX6" fmla="*/ 835622 w 835623"/>
                <a:gd name="connsiteY6" fmla="*/ 397240 h 786903"/>
                <a:gd name="connsiteX7" fmla="*/ 835623 w 835623"/>
                <a:gd name="connsiteY7" fmla="*/ 397244 h 786903"/>
                <a:gd name="connsiteX8" fmla="*/ 835616 w 835623"/>
                <a:gd name="connsiteY8" fmla="*/ 397278 h 786903"/>
                <a:gd name="connsiteX9" fmla="*/ 811978 w 835623"/>
                <a:gd name="connsiteY9" fmla="*/ 531221 h 786903"/>
                <a:gd name="connsiteX10" fmla="*/ 806726 w 835623"/>
                <a:gd name="connsiteY10" fmla="*/ 540374 h 786903"/>
                <a:gd name="connsiteX11" fmla="*/ 805002 w 835623"/>
                <a:gd name="connsiteY11" fmla="*/ 548916 h 786903"/>
                <a:gd name="connsiteX12" fmla="*/ 769075 w 835623"/>
                <a:gd name="connsiteY12" fmla="*/ 615106 h 786903"/>
                <a:gd name="connsiteX13" fmla="*/ 751932 w 835623"/>
                <a:gd name="connsiteY13" fmla="*/ 635884 h 786903"/>
                <a:gd name="connsiteX14" fmla="*/ 746643 w 835623"/>
                <a:gd name="connsiteY14" fmla="*/ 645102 h 786903"/>
                <a:gd name="connsiteX15" fmla="*/ 731692 w 835623"/>
                <a:gd name="connsiteY15" fmla="*/ 660414 h 786903"/>
                <a:gd name="connsiteX16" fmla="*/ 721494 w 835623"/>
                <a:gd name="connsiteY16" fmla="*/ 672774 h 786903"/>
                <a:gd name="connsiteX17" fmla="*/ 711871 w 835623"/>
                <a:gd name="connsiteY17" fmla="*/ 680714 h 786903"/>
                <a:gd name="connsiteX18" fmla="*/ 700966 w 835623"/>
                <a:gd name="connsiteY18" fmla="*/ 691883 h 786903"/>
                <a:gd name="connsiteX19" fmla="*/ 678340 w 835623"/>
                <a:gd name="connsiteY19" fmla="*/ 708380 h 786903"/>
                <a:gd name="connsiteX20" fmla="*/ 663826 w 835623"/>
                <a:gd name="connsiteY20" fmla="*/ 720355 h 786903"/>
                <a:gd name="connsiteX21" fmla="*/ 656351 w 835623"/>
                <a:gd name="connsiteY21" fmla="*/ 724412 h 786903"/>
                <a:gd name="connsiteX22" fmla="*/ 648015 w 835623"/>
                <a:gd name="connsiteY22" fmla="*/ 730490 h 786903"/>
                <a:gd name="connsiteX23" fmla="*/ 614404 w 835623"/>
                <a:gd name="connsiteY23" fmla="*/ 747180 h 786903"/>
                <a:gd name="connsiteX24" fmla="*/ 597636 w 835623"/>
                <a:gd name="connsiteY24" fmla="*/ 756282 h 786903"/>
                <a:gd name="connsiteX25" fmla="*/ 593474 w 835623"/>
                <a:gd name="connsiteY25" fmla="*/ 757574 h 786903"/>
                <a:gd name="connsiteX26" fmla="*/ 588841 w 835623"/>
                <a:gd name="connsiteY26" fmla="*/ 759874 h 786903"/>
                <a:gd name="connsiteX27" fmla="*/ 524545 w 835623"/>
                <a:gd name="connsiteY27" fmla="*/ 778970 h 786903"/>
                <a:gd name="connsiteX28" fmla="*/ 524493 w 835623"/>
                <a:gd name="connsiteY28" fmla="*/ 778987 h 786903"/>
                <a:gd name="connsiteX29" fmla="*/ 445963 w 835623"/>
                <a:gd name="connsiteY29" fmla="*/ 786903 h 786903"/>
                <a:gd name="connsiteX0" fmla="*/ 445963 w 835623"/>
                <a:gd name="connsiteY0" fmla="*/ 786903 h 786903"/>
                <a:gd name="connsiteX1" fmla="*/ 122 w 835623"/>
                <a:gd name="connsiteY1" fmla="*/ 786903 h 786903"/>
                <a:gd name="connsiteX2" fmla="*/ 0 w 835623"/>
                <a:gd name="connsiteY2" fmla="*/ 7584 h 786903"/>
                <a:gd name="connsiteX3" fmla="*/ 56304 w 835623"/>
                <a:gd name="connsiteY3" fmla="*/ 7584 h 786903"/>
                <a:gd name="connsiteX4" fmla="*/ 56304 w 835623"/>
                <a:gd name="connsiteY4" fmla="*/ 0 h 786903"/>
                <a:gd name="connsiteX5" fmla="*/ 831503 w 835623"/>
                <a:gd name="connsiteY5" fmla="*/ 13934 h 786903"/>
                <a:gd name="connsiteX6" fmla="*/ 835622 w 835623"/>
                <a:gd name="connsiteY6" fmla="*/ 397240 h 786903"/>
                <a:gd name="connsiteX7" fmla="*/ 835623 w 835623"/>
                <a:gd name="connsiteY7" fmla="*/ 397244 h 786903"/>
                <a:gd name="connsiteX8" fmla="*/ 835616 w 835623"/>
                <a:gd name="connsiteY8" fmla="*/ 397278 h 786903"/>
                <a:gd name="connsiteX9" fmla="*/ 811978 w 835623"/>
                <a:gd name="connsiteY9" fmla="*/ 531221 h 786903"/>
                <a:gd name="connsiteX10" fmla="*/ 806726 w 835623"/>
                <a:gd name="connsiteY10" fmla="*/ 540374 h 786903"/>
                <a:gd name="connsiteX11" fmla="*/ 805002 w 835623"/>
                <a:gd name="connsiteY11" fmla="*/ 548916 h 786903"/>
                <a:gd name="connsiteX12" fmla="*/ 769075 w 835623"/>
                <a:gd name="connsiteY12" fmla="*/ 615106 h 786903"/>
                <a:gd name="connsiteX13" fmla="*/ 751932 w 835623"/>
                <a:gd name="connsiteY13" fmla="*/ 635884 h 786903"/>
                <a:gd name="connsiteX14" fmla="*/ 746643 w 835623"/>
                <a:gd name="connsiteY14" fmla="*/ 645102 h 786903"/>
                <a:gd name="connsiteX15" fmla="*/ 731692 w 835623"/>
                <a:gd name="connsiteY15" fmla="*/ 660414 h 786903"/>
                <a:gd name="connsiteX16" fmla="*/ 721494 w 835623"/>
                <a:gd name="connsiteY16" fmla="*/ 672774 h 786903"/>
                <a:gd name="connsiteX17" fmla="*/ 711871 w 835623"/>
                <a:gd name="connsiteY17" fmla="*/ 680714 h 786903"/>
                <a:gd name="connsiteX18" fmla="*/ 700966 w 835623"/>
                <a:gd name="connsiteY18" fmla="*/ 691883 h 786903"/>
                <a:gd name="connsiteX19" fmla="*/ 678340 w 835623"/>
                <a:gd name="connsiteY19" fmla="*/ 708380 h 786903"/>
                <a:gd name="connsiteX20" fmla="*/ 663826 w 835623"/>
                <a:gd name="connsiteY20" fmla="*/ 720355 h 786903"/>
                <a:gd name="connsiteX21" fmla="*/ 656351 w 835623"/>
                <a:gd name="connsiteY21" fmla="*/ 724412 h 786903"/>
                <a:gd name="connsiteX22" fmla="*/ 648015 w 835623"/>
                <a:gd name="connsiteY22" fmla="*/ 730490 h 786903"/>
                <a:gd name="connsiteX23" fmla="*/ 614404 w 835623"/>
                <a:gd name="connsiteY23" fmla="*/ 747180 h 786903"/>
                <a:gd name="connsiteX24" fmla="*/ 597636 w 835623"/>
                <a:gd name="connsiteY24" fmla="*/ 756282 h 786903"/>
                <a:gd name="connsiteX25" fmla="*/ 593474 w 835623"/>
                <a:gd name="connsiteY25" fmla="*/ 757574 h 786903"/>
                <a:gd name="connsiteX26" fmla="*/ 588841 w 835623"/>
                <a:gd name="connsiteY26" fmla="*/ 759874 h 786903"/>
                <a:gd name="connsiteX27" fmla="*/ 524545 w 835623"/>
                <a:gd name="connsiteY27" fmla="*/ 778970 h 786903"/>
                <a:gd name="connsiteX28" fmla="*/ 524493 w 835623"/>
                <a:gd name="connsiteY28" fmla="*/ 778987 h 786903"/>
                <a:gd name="connsiteX29" fmla="*/ 445963 w 835623"/>
                <a:gd name="connsiteY29" fmla="*/ 786903 h 786903"/>
                <a:gd name="connsiteX0" fmla="*/ 445963 w 835623"/>
                <a:gd name="connsiteY0" fmla="*/ 779319 h 779319"/>
                <a:gd name="connsiteX1" fmla="*/ 122 w 835623"/>
                <a:gd name="connsiteY1" fmla="*/ 779319 h 779319"/>
                <a:gd name="connsiteX2" fmla="*/ 0 w 835623"/>
                <a:gd name="connsiteY2" fmla="*/ 0 h 779319"/>
                <a:gd name="connsiteX3" fmla="*/ 56304 w 835623"/>
                <a:gd name="connsiteY3" fmla="*/ 0 h 779319"/>
                <a:gd name="connsiteX4" fmla="*/ 831503 w 835623"/>
                <a:gd name="connsiteY4" fmla="*/ 6350 h 779319"/>
                <a:gd name="connsiteX5" fmla="*/ 835622 w 835623"/>
                <a:gd name="connsiteY5" fmla="*/ 389656 h 779319"/>
                <a:gd name="connsiteX6" fmla="*/ 835623 w 835623"/>
                <a:gd name="connsiteY6" fmla="*/ 389660 h 779319"/>
                <a:gd name="connsiteX7" fmla="*/ 835616 w 835623"/>
                <a:gd name="connsiteY7" fmla="*/ 389694 h 779319"/>
                <a:gd name="connsiteX8" fmla="*/ 811978 w 835623"/>
                <a:gd name="connsiteY8" fmla="*/ 523637 h 779319"/>
                <a:gd name="connsiteX9" fmla="*/ 806726 w 835623"/>
                <a:gd name="connsiteY9" fmla="*/ 532790 h 779319"/>
                <a:gd name="connsiteX10" fmla="*/ 805002 w 835623"/>
                <a:gd name="connsiteY10" fmla="*/ 541332 h 779319"/>
                <a:gd name="connsiteX11" fmla="*/ 769075 w 835623"/>
                <a:gd name="connsiteY11" fmla="*/ 607522 h 779319"/>
                <a:gd name="connsiteX12" fmla="*/ 751932 w 835623"/>
                <a:gd name="connsiteY12" fmla="*/ 628300 h 779319"/>
                <a:gd name="connsiteX13" fmla="*/ 746643 w 835623"/>
                <a:gd name="connsiteY13" fmla="*/ 637518 h 779319"/>
                <a:gd name="connsiteX14" fmla="*/ 731692 w 835623"/>
                <a:gd name="connsiteY14" fmla="*/ 652830 h 779319"/>
                <a:gd name="connsiteX15" fmla="*/ 721494 w 835623"/>
                <a:gd name="connsiteY15" fmla="*/ 665190 h 779319"/>
                <a:gd name="connsiteX16" fmla="*/ 711871 w 835623"/>
                <a:gd name="connsiteY16" fmla="*/ 673130 h 779319"/>
                <a:gd name="connsiteX17" fmla="*/ 700966 w 835623"/>
                <a:gd name="connsiteY17" fmla="*/ 684299 h 779319"/>
                <a:gd name="connsiteX18" fmla="*/ 678340 w 835623"/>
                <a:gd name="connsiteY18" fmla="*/ 700796 h 779319"/>
                <a:gd name="connsiteX19" fmla="*/ 663826 w 835623"/>
                <a:gd name="connsiteY19" fmla="*/ 712771 h 779319"/>
                <a:gd name="connsiteX20" fmla="*/ 656351 w 835623"/>
                <a:gd name="connsiteY20" fmla="*/ 716828 h 779319"/>
                <a:gd name="connsiteX21" fmla="*/ 648015 w 835623"/>
                <a:gd name="connsiteY21" fmla="*/ 722906 h 779319"/>
                <a:gd name="connsiteX22" fmla="*/ 614404 w 835623"/>
                <a:gd name="connsiteY22" fmla="*/ 739596 h 779319"/>
                <a:gd name="connsiteX23" fmla="*/ 597636 w 835623"/>
                <a:gd name="connsiteY23" fmla="*/ 748698 h 779319"/>
                <a:gd name="connsiteX24" fmla="*/ 593474 w 835623"/>
                <a:gd name="connsiteY24" fmla="*/ 749990 h 779319"/>
                <a:gd name="connsiteX25" fmla="*/ 588841 w 835623"/>
                <a:gd name="connsiteY25" fmla="*/ 752290 h 779319"/>
                <a:gd name="connsiteX26" fmla="*/ 524545 w 835623"/>
                <a:gd name="connsiteY26" fmla="*/ 771386 h 779319"/>
                <a:gd name="connsiteX27" fmla="*/ 524493 w 835623"/>
                <a:gd name="connsiteY27" fmla="*/ 771403 h 779319"/>
                <a:gd name="connsiteX28" fmla="*/ 445963 w 835623"/>
                <a:gd name="connsiteY28" fmla="*/ 779319 h 779319"/>
                <a:gd name="connsiteX0" fmla="*/ 445963 w 835623"/>
                <a:gd name="connsiteY0" fmla="*/ 779319 h 779319"/>
                <a:gd name="connsiteX1" fmla="*/ 122 w 835623"/>
                <a:gd name="connsiteY1" fmla="*/ 779319 h 779319"/>
                <a:gd name="connsiteX2" fmla="*/ 0 w 835623"/>
                <a:gd name="connsiteY2" fmla="*/ 0 h 779319"/>
                <a:gd name="connsiteX3" fmla="*/ 831503 w 835623"/>
                <a:gd name="connsiteY3" fmla="*/ 6350 h 779319"/>
                <a:gd name="connsiteX4" fmla="*/ 835622 w 835623"/>
                <a:gd name="connsiteY4" fmla="*/ 389656 h 779319"/>
                <a:gd name="connsiteX5" fmla="*/ 835623 w 835623"/>
                <a:gd name="connsiteY5" fmla="*/ 389660 h 779319"/>
                <a:gd name="connsiteX6" fmla="*/ 835616 w 835623"/>
                <a:gd name="connsiteY6" fmla="*/ 389694 h 779319"/>
                <a:gd name="connsiteX7" fmla="*/ 811978 w 835623"/>
                <a:gd name="connsiteY7" fmla="*/ 523637 h 779319"/>
                <a:gd name="connsiteX8" fmla="*/ 806726 w 835623"/>
                <a:gd name="connsiteY8" fmla="*/ 532790 h 779319"/>
                <a:gd name="connsiteX9" fmla="*/ 805002 w 835623"/>
                <a:gd name="connsiteY9" fmla="*/ 541332 h 779319"/>
                <a:gd name="connsiteX10" fmla="*/ 769075 w 835623"/>
                <a:gd name="connsiteY10" fmla="*/ 607522 h 779319"/>
                <a:gd name="connsiteX11" fmla="*/ 751932 w 835623"/>
                <a:gd name="connsiteY11" fmla="*/ 628300 h 779319"/>
                <a:gd name="connsiteX12" fmla="*/ 746643 w 835623"/>
                <a:gd name="connsiteY12" fmla="*/ 637518 h 779319"/>
                <a:gd name="connsiteX13" fmla="*/ 731692 w 835623"/>
                <a:gd name="connsiteY13" fmla="*/ 652830 h 779319"/>
                <a:gd name="connsiteX14" fmla="*/ 721494 w 835623"/>
                <a:gd name="connsiteY14" fmla="*/ 665190 h 779319"/>
                <a:gd name="connsiteX15" fmla="*/ 711871 w 835623"/>
                <a:gd name="connsiteY15" fmla="*/ 673130 h 779319"/>
                <a:gd name="connsiteX16" fmla="*/ 700966 w 835623"/>
                <a:gd name="connsiteY16" fmla="*/ 684299 h 779319"/>
                <a:gd name="connsiteX17" fmla="*/ 678340 w 835623"/>
                <a:gd name="connsiteY17" fmla="*/ 700796 h 779319"/>
                <a:gd name="connsiteX18" fmla="*/ 663826 w 835623"/>
                <a:gd name="connsiteY18" fmla="*/ 712771 h 779319"/>
                <a:gd name="connsiteX19" fmla="*/ 656351 w 835623"/>
                <a:gd name="connsiteY19" fmla="*/ 716828 h 779319"/>
                <a:gd name="connsiteX20" fmla="*/ 648015 w 835623"/>
                <a:gd name="connsiteY20" fmla="*/ 722906 h 779319"/>
                <a:gd name="connsiteX21" fmla="*/ 614404 w 835623"/>
                <a:gd name="connsiteY21" fmla="*/ 739596 h 779319"/>
                <a:gd name="connsiteX22" fmla="*/ 597636 w 835623"/>
                <a:gd name="connsiteY22" fmla="*/ 748698 h 779319"/>
                <a:gd name="connsiteX23" fmla="*/ 593474 w 835623"/>
                <a:gd name="connsiteY23" fmla="*/ 749990 h 779319"/>
                <a:gd name="connsiteX24" fmla="*/ 588841 w 835623"/>
                <a:gd name="connsiteY24" fmla="*/ 752290 h 779319"/>
                <a:gd name="connsiteX25" fmla="*/ 524545 w 835623"/>
                <a:gd name="connsiteY25" fmla="*/ 771386 h 779319"/>
                <a:gd name="connsiteX26" fmla="*/ 524493 w 835623"/>
                <a:gd name="connsiteY26" fmla="*/ 771403 h 779319"/>
                <a:gd name="connsiteX27" fmla="*/ 445963 w 835623"/>
                <a:gd name="connsiteY27" fmla="*/ 779319 h 7793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835623" h="779319">
                  <a:moveTo>
                    <a:pt x="445963" y="779319"/>
                  </a:moveTo>
                  <a:lnTo>
                    <a:pt x="122" y="779319"/>
                  </a:lnTo>
                  <a:cubicBezTo>
                    <a:pt x="81" y="519546"/>
                    <a:pt x="41" y="259773"/>
                    <a:pt x="0" y="0"/>
                  </a:cubicBezTo>
                  <a:lnTo>
                    <a:pt x="831503" y="6350"/>
                  </a:lnTo>
                  <a:cubicBezTo>
                    <a:pt x="831503" y="77827"/>
                    <a:pt x="835622" y="318179"/>
                    <a:pt x="835622" y="389656"/>
                  </a:cubicBezTo>
                  <a:cubicBezTo>
                    <a:pt x="835622" y="389657"/>
                    <a:pt x="835623" y="389659"/>
                    <a:pt x="835623" y="389660"/>
                  </a:cubicBezTo>
                  <a:cubicBezTo>
                    <a:pt x="835621" y="389671"/>
                    <a:pt x="835618" y="389683"/>
                    <a:pt x="835616" y="389694"/>
                  </a:cubicBezTo>
                  <a:lnTo>
                    <a:pt x="811978" y="523637"/>
                  </a:lnTo>
                  <a:lnTo>
                    <a:pt x="806726" y="532790"/>
                  </a:lnTo>
                  <a:lnTo>
                    <a:pt x="805002" y="541332"/>
                  </a:lnTo>
                  <a:cubicBezTo>
                    <a:pt x="795143" y="564641"/>
                    <a:pt x="783080" y="586792"/>
                    <a:pt x="769075" y="607522"/>
                  </a:cubicBezTo>
                  <a:lnTo>
                    <a:pt x="751932" y="628300"/>
                  </a:lnTo>
                  <a:lnTo>
                    <a:pt x="746643" y="637518"/>
                  </a:lnTo>
                  <a:lnTo>
                    <a:pt x="731692" y="652830"/>
                  </a:lnTo>
                  <a:lnTo>
                    <a:pt x="721494" y="665190"/>
                  </a:lnTo>
                  <a:lnTo>
                    <a:pt x="711871" y="673130"/>
                  </a:lnTo>
                  <a:lnTo>
                    <a:pt x="700966" y="684299"/>
                  </a:lnTo>
                  <a:lnTo>
                    <a:pt x="678340" y="700796"/>
                  </a:lnTo>
                  <a:lnTo>
                    <a:pt x="663826" y="712771"/>
                  </a:lnTo>
                  <a:lnTo>
                    <a:pt x="656351" y="716828"/>
                  </a:lnTo>
                  <a:lnTo>
                    <a:pt x="648015" y="722906"/>
                  </a:lnTo>
                  <a:lnTo>
                    <a:pt x="614404" y="739596"/>
                  </a:lnTo>
                  <a:lnTo>
                    <a:pt x="597636" y="748698"/>
                  </a:lnTo>
                  <a:lnTo>
                    <a:pt x="593474" y="749990"/>
                  </a:lnTo>
                  <a:lnTo>
                    <a:pt x="588841" y="752290"/>
                  </a:lnTo>
                  <a:lnTo>
                    <a:pt x="524545" y="771386"/>
                  </a:lnTo>
                  <a:cubicBezTo>
                    <a:pt x="524528" y="771392"/>
                    <a:pt x="524510" y="771397"/>
                    <a:pt x="524493" y="771403"/>
                  </a:cubicBezTo>
                  <a:cubicBezTo>
                    <a:pt x="499127" y="776593"/>
                    <a:pt x="472864" y="779319"/>
                    <a:pt x="445963" y="779319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IN"/>
            </a:p>
          </p:txBody>
        </p:sp>
        <p:sp>
          <p:nvSpPr>
            <p:cNvPr id="599" name="Rectangle 598">
              <a:extLst>
                <a:ext uri="{FF2B5EF4-FFF2-40B4-BE49-F238E27FC236}">
                  <a16:creationId xmlns:a16="http://schemas.microsoft.com/office/drawing/2014/main" id="{97415616-F092-4FBB-ADAC-018687D08929}"/>
                </a:ext>
              </a:extLst>
            </p:cNvPr>
            <p:cNvSpPr/>
            <p:nvPr/>
          </p:nvSpPr>
          <p:spPr>
            <a:xfrm rot="10800000">
              <a:off x="4288616" y="1457797"/>
              <a:ext cx="798802" cy="779320"/>
            </a:xfrm>
            <a:prstGeom prst="rect">
              <a:avLst/>
            </a:prstGeom>
            <a:solidFill>
              <a:srgbClr val="00BED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IN"/>
            </a:p>
          </p:txBody>
        </p:sp>
        <p:sp>
          <p:nvSpPr>
            <p:cNvPr id="598" name="Freeform: Shape 597">
              <a:extLst>
                <a:ext uri="{FF2B5EF4-FFF2-40B4-BE49-F238E27FC236}">
                  <a16:creationId xmlns:a16="http://schemas.microsoft.com/office/drawing/2014/main" id="{39CEC0FA-90DD-4BC6-B4C0-40C7FC6A3345}"/>
                </a:ext>
              </a:extLst>
            </p:cNvPr>
            <p:cNvSpPr/>
            <p:nvPr/>
          </p:nvSpPr>
          <p:spPr>
            <a:xfrm rot="10800000">
              <a:off x="5121501" y="1457797"/>
              <a:ext cx="871288" cy="779320"/>
            </a:xfrm>
            <a:custGeom>
              <a:avLst/>
              <a:gdLst>
                <a:gd name="connsiteX0" fmla="*/ 832630 w 832630"/>
                <a:gd name="connsiteY0" fmla="*/ 779320 h 779320"/>
                <a:gd name="connsiteX1" fmla="*/ 46716 w 832630"/>
                <a:gd name="connsiteY1" fmla="*/ 779320 h 779320"/>
                <a:gd name="connsiteX2" fmla="*/ 0 w 832630"/>
                <a:gd name="connsiteY2" fmla="*/ 774610 h 779320"/>
                <a:gd name="connsiteX3" fmla="*/ 470455 w 832630"/>
                <a:gd name="connsiteY3" fmla="*/ 0 h 779320"/>
                <a:gd name="connsiteX4" fmla="*/ 832630 w 832630"/>
                <a:gd name="connsiteY4" fmla="*/ 0 h 779320"/>
                <a:gd name="connsiteX5" fmla="*/ 832630 w 832630"/>
                <a:gd name="connsiteY5" fmla="*/ 779320 h 779320"/>
                <a:gd name="connsiteX0" fmla="*/ 832630 w 832630"/>
                <a:gd name="connsiteY0" fmla="*/ 779320 h 779320"/>
                <a:gd name="connsiteX1" fmla="*/ 46716 w 832630"/>
                <a:gd name="connsiteY1" fmla="*/ 779320 h 779320"/>
                <a:gd name="connsiteX2" fmla="*/ 0 w 832630"/>
                <a:gd name="connsiteY2" fmla="*/ 774610 h 779320"/>
                <a:gd name="connsiteX3" fmla="*/ 446839 w 832630"/>
                <a:gd name="connsiteY3" fmla="*/ 0 h 779320"/>
                <a:gd name="connsiteX4" fmla="*/ 832630 w 832630"/>
                <a:gd name="connsiteY4" fmla="*/ 0 h 779320"/>
                <a:gd name="connsiteX5" fmla="*/ 832630 w 832630"/>
                <a:gd name="connsiteY5" fmla="*/ 779320 h 7793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832630" h="779320">
                  <a:moveTo>
                    <a:pt x="832630" y="779320"/>
                  </a:moveTo>
                  <a:lnTo>
                    <a:pt x="46716" y="779320"/>
                  </a:lnTo>
                  <a:lnTo>
                    <a:pt x="0" y="774610"/>
                  </a:lnTo>
                  <a:lnTo>
                    <a:pt x="446839" y="0"/>
                  </a:lnTo>
                  <a:lnTo>
                    <a:pt x="832630" y="0"/>
                  </a:lnTo>
                  <a:lnTo>
                    <a:pt x="832630" y="779320"/>
                  </a:lnTo>
                  <a:close/>
                </a:path>
              </a:pathLst>
            </a:custGeom>
            <a:solidFill>
              <a:srgbClr val="00BED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IN"/>
            </a:p>
          </p:txBody>
        </p:sp>
        <p:sp>
          <p:nvSpPr>
            <p:cNvPr id="597" name="Freeform: Shape 596">
              <a:extLst>
                <a:ext uri="{FF2B5EF4-FFF2-40B4-BE49-F238E27FC236}">
                  <a16:creationId xmlns:a16="http://schemas.microsoft.com/office/drawing/2014/main" id="{D8DFF245-F74F-459F-ADDD-4DE556ECB2D7}"/>
                </a:ext>
              </a:extLst>
            </p:cNvPr>
            <p:cNvSpPr/>
            <p:nvPr/>
          </p:nvSpPr>
          <p:spPr>
            <a:xfrm rot="10800000">
              <a:off x="5554429" y="1465556"/>
              <a:ext cx="781304" cy="928119"/>
            </a:xfrm>
            <a:custGeom>
              <a:avLst/>
              <a:gdLst>
                <a:gd name="connsiteX0" fmla="*/ 312700 w 781304"/>
                <a:gd name="connsiteY0" fmla="*/ 928119 h 928119"/>
                <a:gd name="connsiteX1" fmla="*/ 311130 w 781304"/>
                <a:gd name="connsiteY1" fmla="*/ 927961 h 928119"/>
                <a:gd name="connsiteX2" fmla="*/ 0 w 781304"/>
                <a:gd name="connsiteY2" fmla="*/ 546218 h 928119"/>
                <a:gd name="connsiteX3" fmla="*/ 1 w 781304"/>
                <a:gd name="connsiteY3" fmla="*/ 546218 h 928119"/>
                <a:gd name="connsiteX4" fmla="*/ 2 w 781304"/>
                <a:gd name="connsiteY4" fmla="*/ 546216 h 928119"/>
                <a:gd name="connsiteX5" fmla="*/ 2 w 781304"/>
                <a:gd name="connsiteY5" fmla="*/ 0 h 928119"/>
                <a:gd name="connsiteX6" fmla="*/ 779321 w 781304"/>
                <a:gd name="connsiteY6" fmla="*/ 0 h 928119"/>
                <a:gd name="connsiteX7" fmla="*/ 779321 w 781304"/>
                <a:gd name="connsiteY7" fmla="*/ 156558 h 928119"/>
                <a:gd name="connsiteX8" fmla="*/ 781304 w 781304"/>
                <a:gd name="connsiteY8" fmla="*/ 156558 h 928119"/>
                <a:gd name="connsiteX9" fmla="*/ 312700 w 781304"/>
                <a:gd name="connsiteY9" fmla="*/ 928119 h 9281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781304" h="928119">
                  <a:moveTo>
                    <a:pt x="312700" y="928119"/>
                  </a:moveTo>
                  <a:lnTo>
                    <a:pt x="311130" y="927961"/>
                  </a:lnTo>
                  <a:cubicBezTo>
                    <a:pt x="133569" y="891627"/>
                    <a:pt x="0" y="734521"/>
                    <a:pt x="0" y="546218"/>
                  </a:cubicBezTo>
                  <a:lnTo>
                    <a:pt x="1" y="546218"/>
                  </a:lnTo>
                  <a:lnTo>
                    <a:pt x="2" y="546216"/>
                  </a:lnTo>
                  <a:lnTo>
                    <a:pt x="2" y="0"/>
                  </a:lnTo>
                  <a:lnTo>
                    <a:pt x="779321" y="0"/>
                  </a:lnTo>
                  <a:lnTo>
                    <a:pt x="779321" y="156558"/>
                  </a:lnTo>
                  <a:lnTo>
                    <a:pt x="781304" y="156558"/>
                  </a:lnTo>
                  <a:lnTo>
                    <a:pt x="312700" y="928119"/>
                  </a:lnTo>
                  <a:close/>
                </a:path>
              </a:pathLst>
            </a:custGeom>
            <a:solidFill>
              <a:srgbClr val="00BED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IN"/>
            </a:p>
          </p:txBody>
        </p:sp>
        <p:sp>
          <p:nvSpPr>
            <p:cNvPr id="590" name="Rectangle 589">
              <a:extLst>
                <a:ext uri="{FF2B5EF4-FFF2-40B4-BE49-F238E27FC236}">
                  <a16:creationId xmlns:a16="http://schemas.microsoft.com/office/drawing/2014/main" id="{3FB3E3AD-EF3C-48DD-94ED-25F4FAAFD3C9}"/>
                </a:ext>
              </a:extLst>
            </p:cNvPr>
            <p:cNvSpPr/>
            <p:nvPr/>
          </p:nvSpPr>
          <p:spPr>
            <a:xfrm rot="10800000">
              <a:off x="8932114" y="2010687"/>
              <a:ext cx="641504" cy="770766"/>
            </a:xfrm>
            <a:prstGeom prst="rect">
              <a:avLst/>
            </a:prstGeom>
            <a:solidFill>
              <a:srgbClr val="88CB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IN"/>
            </a:p>
          </p:txBody>
        </p:sp>
        <p:sp>
          <p:nvSpPr>
            <p:cNvPr id="589" name="Rectangle 588">
              <a:extLst>
                <a:ext uri="{FF2B5EF4-FFF2-40B4-BE49-F238E27FC236}">
                  <a16:creationId xmlns:a16="http://schemas.microsoft.com/office/drawing/2014/main" id="{87D4A682-5C09-4106-AA96-D2FE74805DCC}"/>
                </a:ext>
              </a:extLst>
            </p:cNvPr>
            <p:cNvSpPr/>
            <p:nvPr/>
          </p:nvSpPr>
          <p:spPr>
            <a:xfrm rot="10800000">
              <a:off x="9598744" y="2010690"/>
              <a:ext cx="695530" cy="770764"/>
            </a:xfrm>
            <a:prstGeom prst="rect">
              <a:avLst/>
            </a:prstGeom>
            <a:solidFill>
              <a:srgbClr val="88CB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IN"/>
            </a:p>
          </p:txBody>
        </p:sp>
        <p:sp>
          <p:nvSpPr>
            <p:cNvPr id="586" name="Rectangle 585">
              <a:extLst>
                <a:ext uri="{FF2B5EF4-FFF2-40B4-BE49-F238E27FC236}">
                  <a16:creationId xmlns:a16="http://schemas.microsoft.com/office/drawing/2014/main" id="{2F9A6AFB-E004-4D4C-AA16-2957A8F4EFF1}"/>
                </a:ext>
              </a:extLst>
            </p:cNvPr>
            <p:cNvSpPr/>
            <p:nvPr/>
          </p:nvSpPr>
          <p:spPr>
            <a:xfrm rot="10800000">
              <a:off x="3470565" y="2255831"/>
              <a:ext cx="779318" cy="279556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IN"/>
            </a:p>
          </p:txBody>
        </p:sp>
        <p:sp>
          <p:nvSpPr>
            <p:cNvPr id="679" name="Freeform: Shape 678">
              <a:extLst>
                <a:ext uri="{FF2B5EF4-FFF2-40B4-BE49-F238E27FC236}">
                  <a16:creationId xmlns:a16="http://schemas.microsoft.com/office/drawing/2014/main" id="{247B31A2-4E42-46E9-A275-83FA998BBE37}"/>
                </a:ext>
              </a:extLst>
            </p:cNvPr>
            <p:cNvSpPr/>
            <p:nvPr/>
          </p:nvSpPr>
          <p:spPr>
            <a:xfrm rot="10800000">
              <a:off x="0" y="3027717"/>
              <a:ext cx="773684" cy="779319"/>
            </a:xfrm>
            <a:custGeom>
              <a:avLst/>
              <a:gdLst>
                <a:gd name="connsiteX0" fmla="*/ 768485 w 773684"/>
                <a:gd name="connsiteY0" fmla="*/ 779319 h 779319"/>
                <a:gd name="connsiteX1" fmla="*/ 0 w 773684"/>
                <a:gd name="connsiteY1" fmla="*/ 779319 h 779319"/>
                <a:gd name="connsiteX2" fmla="*/ 0 w 773684"/>
                <a:gd name="connsiteY2" fmla="*/ 0 h 779319"/>
                <a:gd name="connsiteX3" fmla="*/ 768485 w 773684"/>
                <a:gd name="connsiteY3" fmla="*/ 0 h 779319"/>
                <a:gd name="connsiteX4" fmla="*/ 773684 w 773684"/>
                <a:gd name="connsiteY4" fmla="*/ 786 h 779319"/>
                <a:gd name="connsiteX5" fmla="*/ 773684 w 773684"/>
                <a:gd name="connsiteY5" fmla="*/ 778533 h 7793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73684" h="779319">
                  <a:moveTo>
                    <a:pt x="768485" y="779319"/>
                  </a:moveTo>
                  <a:lnTo>
                    <a:pt x="0" y="779319"/>
                  </a:lnTo>
                  <a:lnTo>
                    <a:pt x="0" y="0"/>
                  </a:lnTo>
                  <a:lnTo>
                    <a:pt x="768485" y="0"/>
                  </a:lnTo>
                  <a:lnTo>
                    <a:pt x="773684" y="786"/>
                  </a:lnTo>
                  <a:lnTo>
                    <a:pt x="773684" y="778533"/>
                  </a:lnTo>
                  <a:close/>
                </a:path>
              </a:pathLst>
            </a:custGeom>
            <a:solidFill>
              <a:schemeClr val="accent3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IN"/>
            </a:p>
          </p:txBody>
        </p:sp>
        <p:sp>
          <p:nvSpPr>
            <p:cNvPr id="584" name="Rectangle 583">
              <a:extLst>
                <a:ext uri="{FF2B5EF4-FFF2-40B4-BE49-F238E27FC236}">
                  <a16:creationId xmlns:a16="http://schemas.microsoft.com/office/drawing/2014/main" id="{0A0707BB-A322-4B6B-A51C-BA32BC32B9BF}"/>
                </a:ext>
              </a:extLst>
            </p:cNvPr>
            <p:cNvSpPr/>
            <p:nvPr/>
          </p:nvSpPr>
          <p:spPr>
            <a:xfrm rot="10800000">
              <a:off x="800759" y="3029713"/>
              <a:ext cx="676560" cy="777324"/>
            </a:xfrm>
            <a:prstGeom prst="rect">
              <a:avLst/>
            </a:prstGeom>
            <a:solidFill>
              <a:schemeClr val="accent3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IN"/>
            </a:p>
          </p:txBody>
        </p:sp>
        <p:sp>
          <p:nvSpPr>
            <p:cNvPr id="583" name="Freeform: Shape 582">
              <a:extLst>
                <a:ext uri="{FF2B5EF4-FFF2-40B4-BE49-F238E27FC236}">
                  <a16:creationId xmlns:a16="http://schemas.microsoft.com/office/drawing/2014/main" id="{C0AF7ED4-3A22-4C5D-8827-F5A4BAE61426}"/>
                </a:ext>
              </a:extLst>
            </p:cNvPr>
            <p:cNvSpPr/>
            <p:nvPr/>
          </p:nvSpPr>
          <p:spPr>
            <a:xfrm rot="10800000">
              <a:off x="1503681" y="3030775"/>
              <a:ext cx="754832" cy="769563"/>
            </a:xfrm>
            <a:custGeom>
              <a:avLst/>
              <a:gdLst>
                <a:gd name="connsiteX0" fmla="*/ 632947 w 875635"/>
                <a:gd name="connsiteY0" fmla="*/ 906431 h 906431"/>
                <a:gd name="connsiteX1" fmla="*/ 389660 w 875635"/>
                <a:gd name="connsiteY1" fmla="*/ 906431 h 906431"/>
                <a:gd name="connsiteX2" fmla="*/ 0 w 875635"/>
                <a:gd name="connsiteY2" fmla="*/ 516771 h 906431"/>
                <a:gd name="connsiteX3" fmla="*/ 2 w 875635"/>
                <a:gd name="connsiteY3" fmla="*/ 516771 h 906431"/>
                <a:gd name="connsiteX4" fmla="*/ 3684 w 875635"/>
                <a:gd name="connsiteY4" fmla="*/ 498528 h 906431"/>
                <a:gd name="connsiteX5" fmla="*/ 2 w 875635"/>
                <a:gd name="connsiteY5" fmla="*/ 480288 h 906431"/>
                <a:gd name="connsiteX6" fmla="*/ 2 w 875635"/>
                <a:gd name="connsiteY6" fmla="*/ 242688 h 906431"/>
                <a:gd name="connsiteX7" fmla="*/ 779321 w 875635"/>
                <a:gd name="connsiteY7" fmla="*/ 0 h 906431"/>
                <a:gd name="connsiteX8" fmla="*/ 779321 w 875635"/>
                <a:gd name="connsiteY8" fmla="*/ 127111 h 906431"/>
                <a:gd name="connsiteX9" fmla="*/ 875635 w 875635"/>
                <a:gd name="connsiteY9" fmla="*/ 127111 h 906431"/>
                <a:gd name="connsiteX10" fmla="*/ 632947 w 875635"/>
                <a:gd name="connsiteY10" fmla="*/ 906431 h 906431"/>
                <a:gd name="connsiteX0" fmla="*/ 738884 w 875635"/>
                <a:gd name="connsiteY0" fmla="*/ 906431 h 906431"/>
                <a:gd name="connsiteX1" fmla="*/ 389660 w 875635"/>
                <a:gd name="connsiteY1" fmla="*/ 906431 h 906431"/>
                <a:gd name="connsiteX2" fmla="*/ 0 w 875635"/>
                <a:gd name="connsiteY2" fmla="*/ 516771 h 906431"/>
                <a:gd name="connsiteX3" fmla="*/ 2 w 875635"/>
                <a:gd name="connsiteY3" fmla="*/ 516771 h 906431"/>
                <a:gd name="connsiteX4" fmla="*/ 3684 w 875635"/>
                <a:gd name="connsiteY4" fmla="*/ 498528 h 906431"/>
                <a:gd name="connsiteX5" fmla="*/ 2 w 875635"/>
                <a:gd name="connsiteY5" fmla="*/ 480288 h 906431"/>
                <a:gd name="connsiteX6" fmla="*/ 2 w 875635"/>
                <a:gd name="connsiteY6" fmla="*/ 242688 h 906431"/>
                <a:gd name="connsiteX7" fmla="*/ 779321 w 875635"/>
                <a:gd name="connsiteY7" fmla="*/ 0 h 906431"/>
                <a:gd name="connsiteX8" fmla="*/ 779321 w 875635"/>
                <a:gd name="connsiteY8" fmla="*/ 127111 h 906431"/>
                <a:gd name="connsiteX9" fmla="*/ 875635 w 875635"/>
                <a:gd name="connsiteY9" fmla="*/ 127111 h 906431"/>
                <a:gd name="connsiteX10" fmla="*/ 738884 w 875635"/>
                <a:gd name="connsiteY10" fmla="*/ 906431 h 906431"/>
                <a:gd name="connsiteX0" fmla="*/ 738884 w 779321"/>
                <a:gd name="connsiteY0" fmla="*/ 906431 h 906431"/>
                <a:gd name="connsiteX1" fmla="*/ 389660 w 779321"/>
                <a:gd name="connsiteY1" fmla="*/ 906431 h 906431"/>
                <a:gd name="connsiteX2" fmla="*/ 0 w 779321"/>
                <a:gd name="connsiteY2" fmla="*/ 516771 h 906431"/>
                <a:gd name="connsiteX3" fmla="*/ 2 w 779321"/>
                <a:gd name="connsiteY3" fmla="*/ 516771 h 906431"/>
                <a:gd name="connsiteX4" fmla="*/ 3684 w 779321"/>
                <a:gd name="connsiteY4" fmla="*/ 498528 h 906431"/>
                <a:gd name="connsiteX5" fmla="*/ 2 w 779321"/>
                <a:gd name="connsiteY5" fmla="*/ 480288 h 906431"/>
                <a:gd name="connsiteX6" fmla="*/ 2 w 779321"/>
                <a:gd name="connsiteY6" fmla="*/ 242688 h 906431"/>
                <a:gd name="connsiteX7" fmla="*/ 779321 w 779321"/>
                <a:gd name="connsiteY7" fmla="*/ 0 h 906431"/>
                <a:gd name="connsiteX8" fmla="*/ 779321 w 779321"/>
                <a:gd name="connsiteY8" fmla="*/ 127111 h 906431"/>
                <a:gd name="connsiteX9" fmla="*/ 738884 w 779321"/>
                <a:gd name="connsiteY9" fmla="*/ 906431 h 906431"/>
                <a:gd name="connsiteX0" fmla="*/ 738884 w 779321"/>
                <a:gd name="connsiteY0" fmla="*/ 779320 h 779320"/>
                <a:gd name="connsiteX1" fmla="*/ 389660 w 779321"/>
                <a:gd name="connsiteY1" fmla="*/ 779320 h 779320"/>
                <a:gd name="connsiteX2" fmla="*/ 0 w 779321"/>
                <a:gd name="connsiteY2" fmla="*/ 389660 h 779320"/>
                <a:gd name="connsiteX3" fmla="*/ 2 w 779321"/>
                <a:gd name="connsiteY3" fmla="*/ 389660 h 779320"/>
                <a:gd name="connsiteX4" fmla="*/ 3684 w 779321"/>
                <a:gd name="connsiteY4" fmla="*/ 371417 h 779320"/>
                <a:gd name="connsiteX5" fmla="*/ 2 w 779321"/>
                <a:gd name="connsiteY5" fmla="*/ 353177 h 779320"/>
                <a:gd name="connsiteX6" fmla="*/ 2 w 779321"/>
                <a:gd name="connsiteY6" fmla="*/ 115577 h 779320"/>
                <a:gd name="connsiteX7" fmla="*/ 779321 w 779321"/>
                <a:gd name="connsiteY7" fmla="*/ 0 h 779320"/>
                <a:gd name="connsiteX8" fmla="*/ 738884 w 779321"/>
                <a:gd name="connsiteY8" fmla="*/ 779320 h 779320"/>
                <a:gd name="connsiteX0" fmla="*/ 738884 w 779321"/>
                <a:gd name="connsiteY0" fmla="*/ 779320 h 779320"/>
                <a:gd name="connsiteX1" fmla="*/ 389660 w 779321"/>
                <a:gd name="connsiteY1" fmla="*/ 779320 h 779320"/>
                <a:gd name="connsiteX2" fmla="*/ 0 w 779321"/>
                <a:gd name="connsiteY2" fmla="*/ 389660 h 779320"/>
                <a:gd name="connsiteX3" fmla="*/ 2 w 779321"/>
                <a:gd name="connsiteY3" fmla="*/ 389660 h 779320"/>
                <a:gd name="connsiteX4" fmla="*/ 3684 w 779321"/>
                <a:gd name="connsiteY4" fmla="*/ 371417 h 779320"/>
                <a:gd name="connsiteX5" fmla="*/ 2 w 779321"/>
                <a:gd name="connsiteY5" fmla="*/ 353177 h 779320"/>
                <a:gd name="connsiteX6" fmla="*/ 2 w 779321"/>
                <a:gd name="connsiteY6" fmla="*/ 37518 h 779320"/>
                <a:gd name="connsiteX7" fmla="*/ 779321 w 779321"/>
                <a:gd name="connsiteY7" fmla="*/ 0 h 779320"/>
                <a:gd name="connsiteX8" fmla="*/ 738884 w 779321"/>
                <a:gd name="connsiteY8" fmla="*/ 779320 h 779320"/>
                <a:gd name="connsiteX0" fmla="*/ 738884 w 779321"/>
                <a:gd name="connsiteY0" fmla="*/ 779320 h 779320"/>
                <a:gd name="connsiteX1" fmla="*/ 389660 w 779321"/>
                <a:gd name="connsiteY1" fmla="*/ 779320 h 779320"/>
                <a:gd name="connsiteX2" fmla="*/ 0 w 779321"/>
                <a:gd name="connsiteY2" fmla="*/ 389660 h 779320"/>
                <a:gd name="connsiteX3" fmla="*/ 2 w 779321"/>
                <a:gd name="connsiteY3" fmla="*/ 389660 h 779320"/>
                <a:gd name="connsiteX4" fmla="*/ 3684 w 779321"/>
                <a:gd name="connsiteY4" fmla="*/ 371417 h 779320"/>
                <a:gd name="connsiteX5" fmla="*/ 2 w 779321"/>
                <a:gd name="connsiteY5" fmla="*/ 353177 h 779320"/>
                <a:gd name="connsiteX6" fmla="*/ 2 w 779321"/>
                <a:gd name="connsiteY6" fmla="*/ 20791 h 779320"/>
                <a:gd name="connsiteX7" fmla="*/ 779321 w 779321"/>
                <a:gd name="connsiteY7" fmla="*/ 0 h 779320"/>
                <a:gd name="connsiteX8" fmla="*/ 738884 w 779321"/>
                <a:gd name="connsiteY8" fmla="*/ 779320 h 779320"/>
                <a:gd name="connsiteX0" fmla="*/ 738884 w 757019"/>
                <a:gd name="connsiteY0" fmla="*/ 779320 h 779320"/>
                <a:gd name="connsiteX1" fmla="*/ 389660 w 757019"/>
                <a:gd name="connsiteY1" fmla="*/ 779320 h 779320"/>
                <a:gd name="connsiteX2" fmla="*/ 0 w 757019"/>
                <a:gd name="connsiteY2" fmla="*/ 389660 h 779320"/>
                <a:gd name="connsiteX3" fmla="*/ 2 w 757019"/>
                <a:gd name="connsiteY3" fmla="*/ 389660 h 779320"/>
                <a:gd name="connsiteX4" fmla="*/ 3684 w 757019"/>
                <a:gd name="connsiteY4" fmla="*/ 371417 h 779320"/>
                <a:gd name="connsiteX5" fmla="*/ 2 w 757019"/>
                <a:gd name="connsiteY5" fmla="*/ 353177 h 779320"/>
                <a:gd name="connsiteX6" fmla="*/ 2 w 757019"/>
                <a:gd name="connsiteY6" fmla="*/ 20791 h 779320"/>
                <a:gd name="connsiteX7" fmla="*/ 757019 w 757019"/>
                <a:gd name="connsiteY7" fmla="*/ 0 h 779320"/>
                <a:gd name="connsiteX8" fmla="*/ 738884 w 757019"/>
                <a:gd name="connsiteY8" fmla="*/ 779320 h 779320"/>
                <a:gd name="connsiteX0" fmla="*/ 738884 w 751443"/>
                <a:gd name="connsiteY0" fmla="*/ 779320 h 779320"/>
                <a:gd name="connsiteX1" fmla="*/ 389660 w 751443"/>
                <a:gd name="connsiteY1" fmla="*/ 779320 h 779320"/>
                <a:gd name="connsiteX2" fmla="*/ 0 w 751443"/>
                <a:gd name="connsiteY2" fmla="*/ 389660 h 779320"/>
                <a:gd name="connsiteX3" fmla="*/ 2 w 751443"/>
                <a:gd name="connsiteY3" fmla="*/ 389660 h 779320"/>
                <a:gd name="connsiteX4" fmla="*/ 3684 w 751443"/>
                <a:gd name="connsiteY4" fmla="*/ 371417 h 779320"/>
                <a:gd name="connsiteX5" fmla="*/ 2 w 751443"/>
                <a:gd name="connsiteY5" fmla="*/ 353177 h 779320"/>
                <a:gd name="connsiteX6" fmla="*/ 2 w 751443"/>
                <a:gd name="connsiteY6" fmla="*/ 20791 h 779320"/>
                <a:gd name="connsiteX7" fmla="*/ 751443 w 751443"/>
                <a:gd name="connsiteY7" fmla="*/ 0 h 779320"/>
                <a:gd name="connsiteX8" fmla="*/ 738884 w 751443"/>
                <a:gd name="connsiteY8" fmla="*/ 779320 h 779320"/>
                <a:gd name="connsiteX0" fmla="*/ 738884 w 745974"/>
                <a:gd name="connsiteY0" fmla="*/ 768169 h 768169"/>
                <a:gd name="connsiteX1" fmla="*/ 389660 w 745974"/>
                <a:gd name="connsiteY1" fmla="*/ 768169 h 768169"/>
                <a:gd name="connsiteX2" fmla="*/ 0 w 745974"/>
                <a:gd name="connsiteY2" fmla="*/ 378509 h 768169"/>
                <a:gd name="connsiteX3" fmla="*/ 2 w 745974"/>
                <a:gd name="connsiteY3" fmla="*/ 378509 h 768169"/>
                <a:gd name="connsiteX4" fmla="*/ 3684 w 745974"/>
                <a:gd name="connsiteY4" fmla="*/ 360266 h 768169"/>
                <a:gd name="connsiteX5" fmla="*/ 2 w 745974"/>
                <a:gd name="connsiteY5" fmla="*/ 342026 h 768169"/>
                <a:gd name="connsiteX6" fmla="*/ 2 w 745974"/>
                <a:gd name="connsiteY6" fmla="*/ 9640 h 768169"/>
                <a:gd name="connsiteX7" fmla="*/ 745974 w 745974"/>
                <a:gd name="connsiteY7" fmla="*/ 0 h 768169"/>
                <a:gd name="connsiteX8" fmla="*/ 738884 w 745974"/>
                <a:gd name="connsiteY8" fmla="*/ 768169 h 768169"/>
                <a:gd name="connsiteX0" fmla="*/ 743553 w 750643"/>
                <a:gd name="connsiteY0" fmla="*/ 768169 h 768169"/>
                <a:gd name="connsiteX1" fmla="*/ 394329 w 750643"/>
                <a:gd name="connsiteY1" fmla="*/ 768169 h 768169"/>
                <a:gd name="connsiteX2" fmla="*/ 4669 w 750643"/>
                <a:gd name="connsiteY2" fmla="*/ 378509 h 768169"/>
                <a:gd name="connsiteX3" fmla="*/ 4671 w 750643"/>
                <a:gd name="connsiteY3" fmla="*/ 378509 h 768169"/>
                <a:gd name="connsiteX4" fmla="*/ 8353 w 750643"/>
                <a:gd name="connsiteY4" fmla="*/ 360266 h 768169"/>
                <a:gd name="connsiteX5" fmla="*/ 4671 w 750643"/>
                <a:gd name="connsiteY5" fmla="*/ 342026 h 768169"/>
                <a:gd name="connsiteX6" fmla="*/ 0 w 750643"/>
                <a:gd name="connsiteY6" fmla="*/ 305 h 768169"/>
                <a:gd name="connsiteX7" fmla="*/ 750643 w 750643"/>
                <a:gd name="connsiteY7" fmla="*/ 0 h 768169"/>
                <a:gd name="connsiteX8" fmla="*/ 743553 w 750643"/>
                <a:gd name="connsiteY8" fmla="*/ 768169 h 7681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50643" h="768169">
                  <a:moveTo>
                    <a:pt x="743553" y="768169"/>
                  </a:moveTo>
                  <a:lnTo>
                    <a:pt x="394329" y="768169"/>
                  </a:lnTo>
                  <a:cubicBezTo>
                    <a:pt x="179126" y="768169"/>
                    <a:pt x="4669" y="593712"/>
                    <a:pt x="4669" y="378509"/>
                  </a:cubicBezTo>
                  <a:lnTo>
                    <a:pt x="4671" y="378509"/>
                  </a:lnTo>
                  <a:lnTo>
                    <a:pt x="8353" y="360266"/>
                  </a:lnTo>
                  <a:lnTo>
                    <a:pt x="4671" y="342026"/>
                  </a:lnTo>
                  <a:lnTo>
                    <a:pt x="0" y="305"/>
                  </a:lnTo>
                  <a:lnTo>
                    <a:pt x="750643" y="0"/>
                  </a:lnTo>
                  <a:cubicBezTo>
                    <a:pt x="748280" y="256056"/>
                    <a:pt x="745916" y="512113"/>
                    <a:pt x="743553" y="768169"/>
                  </a:cubicBezTo>
                  <a:close/>
                </a:path>
              </a:pathLst>
            </a:custGeom>
            <a:solidFill>
              <a:schemeClr val="accent3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IN"/>
            </a:p>
          </p:txBody>
        </p:sp>
        <p:sp>
          <p:nvSpPr>
            <p:cNvPr id="573" name="Freeform: Shape 572">
              <a:extLst>
                <a:ext uri="{FF2B5EF4-FFF2-40B4-BE49-F238E27FC236}">
                  <a16:creationId xmlns:a16="http://schemas.microsoft.com/office/drawing/2014/main" id="{C211596B-4E4A-4BDB-B7F0-B97773EEDB10}"/>
                </a:ext>
              </a:extLst>
            </p:cNvPr>
            <p:cNvSpPr/>
            <p:nvPr/>
          </p:nvSpPr>
          <p:spPr>
            <a:xfrm rot="10800000">
              <a:off x="5556411" y="2421107"/>
              <a:ext cx="779320" cy="607568"/>
            </a:xfrm>
            <a:custGeom>
              <a:avLst/>
              <a:gdLst>
                <a:gd name="connsiteX0" fmla="*/ 779319 w 779320"/>
                <a:gd name="connsiteY0" fmla="*/ 607568 h 607568"/>
                <a:gd name="connsiteX1" fmla="*/ 0 w 779320"/>
                <a:gd name="connsiteY1" fmla="*/ 607568 h 607568"/>
                <a:gd name="connsiteX2" fmla="*/ 0 w 779320"/>
                <a:gd name="connsiteY2" fmla="*/ 0 h 607568"/>
                <a:gd name="connsiteX3" fmla="*/ 779320 w 779320"/>
                <a:gd name="connsiteY3" fmla="*/ 0 h 607568"/>
                <a:gd name="connsiteX4" fmla="*/ 779319 w 779320"/>
                <a:gd name="connsiteY4" fmla="*/ 607568 h 6075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79320" h="607568">
                  <a:moveTo>
                    <a:pt x="779319" y="607568"/>
                  </a:moveTo>
                  <a:lnTo>
                    <a:pt x="0" y="607568"/>
                  </a:lnTo>
                  <a:lnTo>
                    <a:pt x="0" y="0"/>
                  </a:lnTo>
                  <a:lnTo>
                    <a:pt x="779320" y="0"/>
                  </a:lnTo>
                  <a:lnTo>
                    <a:pt x="779319" y="607568"/>
                  </a:lnTo>
                  <a:close/>
                </a:path>
              </a:pathLst>
            </a:custGeom>
            <a:solidFill>
              <a:srgbClr val="00BED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IN"/>
            </a:p>
          </p:txBody>
        </p:sp>
        <p:sp>
          <p:nvSpPr>
            <p:cNvPr id="572" name="Rectangle 571">
              <a:extLst>
                <a:ext uri="{FF2B5EF4-FFF2-40B4-BE49-F238E27FC236}">
                  <a16:creationId xmlns:a16="http://schemas.microsoft.com/office/drawing/2014/main" id="{4290B0FD-2169-4415-8CA8-0B084FB3AC64}"/>
                </a:ext>
              </a:extLst>
            </p:cNvPr>
            <p:cNvSpPr/>
            <p:nvPr/>
          </p:nvSpPr>
          <p:spPr>
            <a:xfrm rot="10800000">
              <a:off x="10318173" y="2833875"/>
              <a:ext cx="779318" cy="277241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IN"/>
            </a:p>
          </p:txBody>
        </p:sp>
        <p:sp>
          <p:nvSpPr>
            <p:cNvPr id="568" name="Freeform: Shape 567">
              <a:extLst>
                <a:ext uri="{FF2B5EF4-FFF2-40B4-BE49-F238E27FC236}">
                  <a16:creationId xmlns:a16="http://schemas.microsoft.com/office/drawing/2014/main" id="{75D87F70-A611-421D-8719-1F2598BA6665}"/>
                </a:ext>
              </a:extLst>
            </p:cNvPr>
            <p:cNvSpPr/>
            <p:nvPr/>
          </p:nvSpPr>
          <p:spPr>
            <a:xfrm rot="10800000">
              <a:off x="3470565" y="2558701"/>
              <a:ext cx="779319" cy="328168"/>
            </a:xfrm>
            <a:custGeom>
              <a:avLst/>
              <a:gdLst>
                <a:gd name="connsiteX0" fmla="*/ 779318 w 779319"/>
                <a:gd name="connsiteY0" fmla="*/ 328168 h 328168"/>
                <a:gd name="connsiteX1" fmla="*/ 0 w 779319"/>
                <a:gd name="connsiteY1" fmla="*/ 328168 h 328168"/>
                <a:gd name="connsiteX2" fmla="*/ 0 w 779319"/>
                <a:gd name="connsiteY2" fmla="*/ 0 h 328168"/>
                <a:gd name="connsiteX3" fmla="*/ 779319 w 779319"/>
                <a:gd name="connsiteY3" fmla="*/ 0 h 328168"/>
                <a:gd name="connsiteX4" fmla="*/ 779318 w 779319"/>
                <a:gd name="connsiteY4" fmla="*/ 328168 h 3281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79319" h="328168">
                  <a:moveTo>
                    <a:pt x="779318" y="328168"/>
                  </a:moveTo>
                  <a:lnTo>
                    <a:pt x="0" y="328168"/>
                  </a:lnTo>
                  <a:lnTo>
                    <a:pt x="0" y="0"/>
                  </a:lnTo>
                  <a:lnTo>
                    <a:pt x="779319" y="0"/>
                  </a:lnTo>
                  <a:lnTo>
                    <a:pt x="779318" y="328168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IN"/>
            </a:p>
          </p:txBody>
        </p:sp>
        <p:sp>
          <p:nvSpPr>
            <p:cNvPr id="567" name="Rectangle 566">
              <a:extLst>
                <a:ext uri="{FF2B5EF4-FFF2-40B4-BE49-F238E27FC236}">
                  <a16:creationId xmlns:a16="http://schemas.microsoft.com/office/drawing/2014/main" id="{07299D97-9DE0-4379-BC79-1D0E14FF8709}"/>
                </a:ext>
              </a:extLst>
            </p:cNvPr>
            <p:cNvSpPr/>
            <p:nvPr/>
          </p:nvSpPr>
          <p:spPr>
            <a:xfrm rot="10800000">
              <a:off x="8131895" y="2810006"/>
              <a:ext cx="779320" cy="391387"/>
            </a:xfrm>
            <a:prstGeom prst="rect">
              <a:avLst/>
            </a:prstGeom>
            <a:solidFill>
              <a:srgbClr val="88CB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IN"/>
            </a:p>
          </p:txBody>
        </p:sp>
        <p:sp>
          <p:nvSpPr>
            <p:cNvPr id="561" name="Rectangle 560">
              <a:extLst>
                <a:ext uri="{FF2B5EF4-FFF2-40B4-BE49-F238E27FC236}">
                  <a16:creationId xmlns:a16="http://schemas.microsoft.com/office/drawing/2014/main" id="{B4D0732C-DAED-49C1-B17D-3AEA4939923E}"/>
                </a:ext>
              </a:extLst>
            </p:cNvPr>
            <p:cNvSpPr/>
            <p:nvPr/>
          </p:nvSpPr>
          <p:spPr>
            <a:xfrm rot="10800000">
              <a:off x="1493568" y="3832093"/>
              <a:ext cx="767461" cy="627465"/>
            </a:xfrm>
            <a:prstGeom prst="rect">
              <a:avLst/>
            </a:prstGeom>
            <a:solidFill>
              <a:schemeClr val="bg2">
                <a:lumMod val="25000"/>
                <a:lumOff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IN"/>
            </a:p>
          </p:txBody>
        </p:sp>
        <p:sp>
          <p:nvSpPr>
            <p:cNvPr id="555" name="Freeform: Shape 554">
              <a:extLst>
                <a:ext uri="{FF2B5EF4-FFF2-40B4-BE49-F238E27FC236}">
                  <a16:creationId xmlns:a16="http://schemas.microsoft.com/office/drawing/2014/main" id="{0DBFCA36-F14C-4D72-BB8A-C6C916B1A403}"/>
                </a:ext>
              </a:extLst>
            </p:cNvPr>
            <p:cNvSpPr/>
            <p:nvPr/>
          </p:nvSpPr>
          <p:spPr>
            <a:xfrm rot="10800000">
              <a:off x="3470565" y="2914301"/>
              <a:ext cx="779319" cy="475488"/>
            </a:xfrm>
            <a:custGeom>
              <a:avLst/>
              <a:gdLst>
                <a:gd name="connsiteX0" fmla="*/ 779319 w 779319"/>
                <a:gd name="connsiteY0" fmla="*/ 475488 h 475488"/>
                <a:gd name="connsiteX1" fmla="*/ 0 w 779319"/>
                <a:gd name="connsiteY1" fmla="*/ 475488 h 475488"/>
                <a:gd name="connsiteX2" fmla="*/ 0 w 779319"/>
                <a:gd name="connsiteY2" fmla="*/ 0 h 475488"/>
                <a:gd name="connsiteX3" fmla="*/ 779319 w 779319"/>
                <a:gd name="connsiteY3" fmla="*/ 0 h 475488"/>
                <a:gd name="connsiteX4" fmla="*/ 779319 w 779319"/>
                <a:gd name="connsiteY4" fmla="*/ 475488 h 4754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79319" h="475488">
                  <a:moveTo>
                    <a:pt x="779319" y="475488"/>
                  </a:moveTo>
                  <a:lnTo>
                    <a:pt x="0" y="475488"/>
                  </a:lnTo>
                  <a:lnTo>
                    <a:pt x="0" y="0"/>
                  </a:lnTo>
                  <a:lnTo>
                    <a:pt x="779319" y="0"/>
                  </a:lnTo>
                  <a:lnTo>
                    <a:pt x="779319" y="475488"/>
                  </a:lnTo>
                  <a:close/>
                </a:path>
              </a:pathLst>
            </a:custGeom>
            <a:solidFill>
              <a:schemeClr val="accent3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IN"/>
            </a:p>
          </p:txBody>
        </p:sp>
        <p:sp>
          <p:nvSpPr>
            <p:cNvPr id="551" name="Freeform: Shape 550">
              <a:extLst>
                <a:ext uri="{FF2B5EF4-FFF2-40B4-BE49-F238E27FC236}">
                  <a16:creationId xmlns:a16="http://schemas.microsoft.com/office/drawing/2014/main" id="{8D6367B9-A35E-4EC3-8CD7-D1F0EAB60C93}"/>
                </a:ext>
              </a:extLst>
            </p:cNvPr>
            <p:cNvSpPr/>
            <p:nvPr/>
          </p:nvSpPr>
          <p:spPr>
            <a:xfrm rot="10800000">
              <a:off x="5556411" y="3056107"/>
              <a:ext cx="779320" cy="368808"/>
            </a:xfrm>
            <a:custGeom>
              <a:avLst/>
              <a:gdLst>
                <a:gd name="connsiteX0" fmla="*/ 779320 w 779320"/>
                <a:gd name="connsiteY0" fmla="*/ 368808 h 368808"/>
                <a:gd name="connsiteX1" fmla="*/ 0 w 779320"/>
                <a:gd name="connsiteY1" fmla="*/ 368808 h 368808"/>
                <a:gd name="connsiteX2" fmla="*/ 0 w 779320"/>
                <a:gd name="connsiteY2" fmla="*/ 0 h 368808"/>
                <a:gd name="connsiteX3" fmla="*/ 779320 w 779320"/>
                <a:gd name="connsiteY3" fmla="*/ 0 h 368808"/>
                <a:gd name="connsiteX4" fmla="*/ 779320 w 779320"/>
                <a:gd name="connsiteY4" fmla="*/ 368808 h 3688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79320" h="368808">
                  <a:moveTo>
                    <a:pt x="779320" y="368808"/>
                  </a:moveTo>
                  <a:lnTo>
                    <a:pt x="0" y="368808"/>
                  </a:lnTo>
                  <a:lnTo>
                    <a:pt x="0" y="0"/>
                  </a:lnTo>
                  <a:lnTo>
                    <a:pt x="779320" y="0"/>
                  </a:lnTo>
                  <a:lnTo>
                    <a:pt x="779320" y="368808"/>
                  </a:lnTo>
                  <a:close/>
                </a:path>
              </a:pathLst>
            </a:custGeom>
            <a:solidFill>
              <a:schemeClr val="accent3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IN"/>
            </a:p>
          </p:txBody>
        </p:sp>
        <p:sp>
          <p:nvSpPr>
            <p:cNvPr id="548" name="Freeform: Shape 547">
              <a:extLst>
                <a:ext uri="{FF2B5EF4-FFF2-40B4-BE49-F238E27FC236}">
                  <a16:creationId xmlns:a16="http://schemas.microsoft.com/office/drawing/2014/main" id="{0581F1A7-92AA-4C1E-A1D5-600CBE73F67D}"/>
                </a:ext>
              </a:extLst>
            </p:cNvPr>
            <p:cNvSpPr/>
            <p:nvPr/>
          </p:nvSpPr>
          <p:spPr>
            <a:xfrm rot="10800000">
              <a:off x="10318173" y="3138551"/>
              <a:ext cx="779319" cy="239268"/>
            </a:xfrm>
            <a:custGeom>
              <a:avLst/>
              <a:gdLst>
                <a:gd name="connsiteX0" fmla="*/ 779318 w 779319"/>
                <a:gd name="connsiteY0" fmla="*/ 239268 h 239268"/>
                <a:gd name="connsiteX1" fmla="*/ 0 w 779319"/>
                <a:gd name="connsiteY1" fmla="*/ 239268 h 239268"/>
                <a:gd name="connsiteX2" fmla="*/ 0 w 779319"/>
                <a:gd name="connsiteY2" fmla="*/ 0 h 239268"/>
                <a:gd name="connsiteX3" fmla="*/ 779319 w 779319"/>
                <a:gd name="connsiteY3" fmla="*/ 0 h 239268"/>
                <a:gd name="connsiteX4" fmla="*/ 779318 w 779319"/>
                <a:gd name="connsiteY4" fmla="*/ 239268 h 2392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79319" h="239268">
                  <a:moveTo>
                    <a:pt x="779318" y="239268"/>
                  </a:moveTo>
                  <a:lnTo>
                    <a:pt x="0" y="239268"/>
                  </a:lnTo>
                  <a:lnTo>
                    <a:pt x="0" y="0"/>
                  </a:lnTo>
                  <a:lnTo>
                    <a:pt x="779319" y="0"/>
                  </a:lnTo>
                  <a:lnTo>
                    <a:pt x="779318" y="239268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IN"/>
            </a:p>
          </p:txBody>
        </p:sp>
        <p:sp>
          <p:nvSpPr>
            <p:cNvPr id="545" name="Freeform: Shape 544">
              <a:extLst>
                <a:ext uri="{FF2B5EF4-FFF2-40B4-BE49-F238E27FC236}">
                  <a16:creationId xmlns:a16="http://schemas.microsoft.com/office/drawing/2014/main" id="{F06DE7AC-EB5A-4B22-8D92-7845F0AF06B6}"/>
                </a:ext>
              </a:extLst>
            </p:cNvPr>
            <p:cNvSpPr/>
            <p:nvPr/>
          </p:nvSpPr>
          <p:spPr>
            <a:xfrm rot="10800000">
              <a:off x="8131895" y="3228827"/>
              <a:ext cx="779320" cy="455168"/>
            </a:xfrm>
            <a:custGeom>
              <a:avLst/>
              <a:gdLst>
                <a:gd name="connsiteX0" fmla="*/ 779320 w 779320"/>
                <a:gd name="connsiteY0" fmla="*/ 455168 h 455168"/>
                <a:gd name="connsiteX1" fmla="*/ 0 w 779320"/>
                <a:gd name="connsiteY1" fmla="*/ 455168 h 455168"/>
                <a:gd name="connsiteX2" fmla="*/ 0 w 779320"/>
                <a:gd name="connsiteY2" fmla="*/ 0 h 455168"/>
                <a:gd name="connsiteX3" fmla="*/ 779320 w 779320"/>
                <a:gd name="connsiteY3" fmla="*/ 0 h 455168"/>
                <a:gd name="connsiteX4" fmla="*/ 779320 w 779320"/>
                <a:gd name="connsiteY4" fmla="*/ 455168 h 4551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79320" h="455168">
                  <a:moveTo>
                    <a:pt x="779320" y="455168"/>
                  </a:moveTo>
                  <a:lnTo>
                    <a:pt x="0" y="455168"/>
                  </a:lnTo>
                  <a:lnTo>
                    <a:pt x="0" y="0"/>
                  </a:lnTo>
                  <a:lnTo>
                    <a:pt x="779320" y="0"/>
                  </a:lnTo>
                  <a:lnTo>
                    <a:pt x="779320" y="455168"/>
                  </a:lnTo>
                  <a:close/>
                </a:path>
              </a:pathLst>
            </a:custGeom>
            <a:solidFill>
              <a:srgbClr val="88CB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IN"/>
            </a:p>
          </p:txBody>
        </p:sp>
        <p:sp>
          <p:nvSpPr>
            <p:cNvPr id="540" name="Freeform: Shape 539">
              <a:extLst>
                <a:ext uri="{FF2B5EF4-FFF2-40B4-BE49-F238E27FC236}">
                  <a16:creationId xmlns:a16="http://schemas.microsoft.com/office/drawing/2014/main" id="{40DDFE68-ED67-42F2-82BE-406A2DE61821}"/>
                </a:ext>
              </a:extLst>
            </p:cNvPr>
            <p:cNvSpPr/>
            <p:nvPr/>
          </p:nvSpPr>
          <p:spPr>
            <a:xfrm rot="10800000">
              <a:off x="10318173" y="3405251"/>
              <a:ext cx="779319" cy="284988"/>
            </a:xfrm>
            <a:custGeom>
              <a:avLst/>
              <a:gdLst>
                <a:gd name="connsiteX0" fmla="*/ 779319 w 779319"/>
                <a:gd name="connsiteY0" fmla="*/ 284988 h 284988"/>
                <a:gd name="connsiteX1" fmla="*/ 0 w 779319"/>
                <a:gd name="connsiteY1" fmla="*/ 284988 h 284988"/>
                <a:gd name="connsiteX2" fmla="*/ 0 w 779319"/>
                <a:gd name="connsiteY2" fmla="*/ 0 h 284988"/>
                <a:gd name="connsiteX3" fmla="*/ 779319 w 779319"/>
                <a:gd name="connsiteY3" fmla="*/ 0 h 284988"/>
                <a:gd name="connsiteX4" fmla="*/ 779319 w 779319"/>
                <a:gd name="connsiteY4" fmla="*/ 284988 h 2849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79319" h="284988">
                  <a:moveTo>
                    <a:pt x="779319" y="284988"/>
                  </a:moveTo>
                  <a:lnTo>
                    <a:pt x="0" y="284988"/>
                  </a:lnTo>
                  <a:lnTo>
                    <a:pt x="0" y="0"/>
                  </a:lnTo>
                  <a:lnTo>
                    <a:pt x="779319" y="0"/>
                  </a:lnTo>
                  <a:lnTo>
                    <a:pt x="779319" y="284988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IN"/>
            </a:p>
          </p:txBody>
        </p:sp>
        <p:sp>
          <p:nvSpPr>
            <p:cNvPr id="539" name="Freeform: Shape 538">
              <a:extLst>
                <a:ext uri="{FF2B5EF4-FFF2-40B4-BE49-F238E27FC236}">
                  <a16:creationId xmlns:a16="http://schemas.microsoft.com/office/drawing/2014/main" id="{DD4D1502-405E-4251-8B68-2569D0F44A0F}"/>
                </a:ext>
              </a:extLst>
            </p:cNvPr>
            <p:cNvSpPr/>
            <p:nvPr/>
          </p:nvSpPr>
          <p:spPr>
            <a:xfrm rot="10800000">
              <a:off x="3470565" y="4311731"/>
              <a:ext cx="779319" cy="622808"/>
            </a:xfrm>
            <a:custGeom>
              <a:avLst/>
              <a:gdLst>
                <a:gd name="connsiteX0" fmla="*/ 779319 w 779319"/>
                <a:gd name="connsiteY0" fmla="*/ 622808 h 622808"/>
                <a:gd name="connsiteX1" fmla="*/ 0 w 779319"/>
                <a:gd name="connsiteY1" fmla="*/ 622808 h 622808"/>
                <a:gd name="connsiteX2" fmla="*/ 0 w 779319"/>
                <a:gd name="connsiteY2" fmla="*/ 0 h 622808"/>
                <a:gd name="connsiteX3" fmla="*/ 779319 w 779319"/>
                <a:gd name="connsiteY3" fmla="*/ 0 h 622808"/>
                <a:gd name="connsiteX4" fmla="*/ 779319 w 779319"/>
                <a:gd name="connsiteY4" fmla="*/ 622808 h 6228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79319" h="622808">
                  <a:moveTo>
                    <a:pt x="779319" y="622808"/>
                  </a:moveTo>
                  <a:lnTo>
                    <a:pt x="0" y="622808"/>
                  </a:lnTo>
                  <a:lnTo>
                    <a:pt x="0" y="0"/>
                  </a:lnTo>
                  <a:lnTo>
                    <a:pt x="779319" y="0"/>
                  </a:lnTo>
                  <a:lnTo>
                    <a:pt x="779319" y="622808"/>
                  </a:lnTo>
                  <a:close/>
                </a:path>
              </a:pathLst>
            </a:custGeom>
            <a:solidFill>
              <a:schemeClr val="accent3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IN"/>
            </a:p>
          </p:txBody>
        </p:sp>
        <p:sp>
          <p:nvSpPr>
            <p:cNvPr id="536" name="Freeform: Shape 535">
              <a:extLst>
                <a:ext uri="{FF2B5EF4-FFF2-40B4-BE49-F238E27FC236}">
                  <a16:creationId xmlns:a16="http://schemas.microsoft.com/office/drawing/2014/main" id="{B23D13EF-4DDD-455B-AB74-BAC86D9AC7E2}"/>
                </a:ext>
              </a:extLst>
            </p:cNvPr>
            <p:cNvSpPr/>
            <p:nvPr/>
          </p:nvSpPr>
          <p:spPr>
            <a:xfrm rot="10800000">
              <a:off x="5556411" y="3452347"/>
              <a:ext cx="779320" cy="267208"/>
            </a:xfrm>
            <a:custGeom>
              <a:avLst/>
              <a:gdLst>
                <a:gd name="connsiteX0" fmla="*/ 779320 w 779320"/>
                <a:gd name="connsiteY0" fmla="*/ 267208 h 267208"/>
                <a:gd name="connsiteX1" fmla="*/ 0 w 779320"/>
                <a:gd name="connsiteY1" fmla="*/ 267208 h 267208"/>
                <a:gd name="connsiteX2" fmla="*/ 0 w 779320"/>
                <a:gd name="connsiteY2" fmla="*/ 0 h 267208"/>
                <a:gd name="connsiteX3" fmla="*/ 779320 w 779320"/>
                <a:gd name="connsiteY3" fmla="*/ 0 h 267208"/>
                <a:gd name="connsiteX4" fmla="*/ 779320 w 779320"/>
                <a:gd name="connsiteY4" fmla="*/ 267208 h 2672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79320" h="267208">
                  <a:moveTo>
                    <a:pt x="779320" y="267208"/>
                  </a:moveTo>
                  <a:lnTo>
                    <a:pt x="0" y="267208"/>
                  </a:lnTo>
                  <a:lnTo>
                    <a:pt x="0" y="0"/>
                  </a:lnTo>
                  <a:lnTo>
                    <a:pt x="779320" y="0"/>
                  </a:lnTo>
                  <a:lnTo>
                    <a:pt x="779320" y="267208"/>
                  </a:lnTo>
                  <a:close/>
                </a:path>
              </a:pathLst>
            </a:custGeom>
            <a:solidFill>
              <a:schemeClr val="accent3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IN"/>
            </a:p>
          </p:txBody>
        </p:sp>
        <p:sp>
          <p:nvSpPr>
            <p:cNvPr id="533" name="Freeform: Shape 532">
              <a:extLst>
                <a:ext uri="{FF2B5EF4-FFF2-40B4-BE49-F238E27FC236}">
                  <a16:creationId xmlns:a16="http://schemas.microsoft.com/office/drawing/2014/main" id="{0F878D6A-2B66-42EE-9C04-F3973416F970}"/>
                </a:ext>
              </a:extLst>
            </p:cNvPr>
            <p:cNvSpPr/>
            <p:nvPr/>
          </p:nvSpPr>
          <p:spPr>
            <a:xfrm rot="10800000">
              <a:off x="1493569" y="4486991"/>
              <a:ext cx="767462" cy="447549"/>
            </a:xfrm>
            <a:custGeom>
              <a:avLst/>
              <a:gdLst>
                <a:gd name="connsiteX0" fmla="*/ 779319 w 779320"/>
                <a:gd name="connsiteY0" fmla="*/ 447548 h 447548"/>
                <a:gd name="connsiteX1" fmla="*/ 0 w 779320"/>
                <a:gd name="connsiteY1" fmla="*/ 447548 h 447548"/>
                <a:gd name="connsiteX2" fmla="*/ 0 w 779320"/>
                <a:gd name="connsiteY2" fmla="*/ 0 h 447548"/>
                <a:gd name="connsiteX3" fmla="*/ 779320 w 779320"/>
                <a:gd name="connsiteY3" fmla="*/ 0 h 447548"/>
                <a:gd name="connsiteX4" fmla="*/ 779319 w 779320"/>
                <a:gd name="connsiteY4" fmla="*/ 447548 h 4475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79320" h="447548">
                  <a:moveTo>
                    <a:pt x="779319" y="447548"/>
                  </a:moveTo>
                  <a:lnTo>
                    <a:pt x="0" y="447548"/>
                  </a:lnTo>
                  <a:lnTo>
                    <a:pt x="0" y="0"/>
                  </a:lnTo>
                  <a:lnTo>
                    <a:pt x="779320" y="0"/>
                  </a:lnTo>
                  <a:lnTo>
                    <a:pt x="779319" y="447548"/>
                  </a:lnTo>
                  <a:close/>
                </a:path>
              </a:pathLst>
            </a:custGeom>
            <a:solidFill>
              <a:schemeClr val="bg2">
                <a:lumMod val="25000"/>
                <a:lumOff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IN"/>
            </a:p>
          </p:txBody>
        </p:sp>
        <p:sp>
          <p:nvSpPr>
            <p:cNvPr id="528" name="Freeform: Shape 527">
              <a:extLst>
                <a:ext uri="{FF2B5EF4-FFF2-40B4-BE49-F238E27FC236}">
                  <a16:creationId xmlns:a16="http://schemas.microsoft.com/office/drawing/2014/main" id="{2B246904-370F-4E7E-8E89-05CC1970E86E}"/>
                </a:ext>
              </a:extLst>
            </p:cNvPr>
            <p:cNvSpPr/>
            <p:nvPr/>
          </p:nvSpPr>
          <p:spPr>
            <a:xfrm rot="10800000">
              <a:off x="10318169" y="3727910"/>
              <a:ext cx="779319" cy="362828"/>
            </a:xfrm>
            <a:custGeom>
              <a:avLst/>
              <a:gdLst>
                <a:gd name="connsiteX0" fmla="*/ 779319 w 779319"/>
                <a:gd name="connsiteY0" fmla="*/ 384048 h 384048"/>
                <a:gd name="connsiteX1" fmla="*/ 0 w 779319"/>
                <a:gd name="connsiteY1" fmla="*/ 384048 h 384048"/>
                <a:gd name="connsiteX2" fmla="*/ 0 w 779319"/>
                <a:gd name="connsiteY2" fmla="*/ 0 h 384048"/>
                <a:gd name="connsiteX3" fmla="*/ 779319 w 779319"/>
                <a:gd name="connsiteY3" fmla="*/ 0 h 384048"/>
                <a:gd name="connsiteX4" fmla="*/ 779319 w 779319"/>
                <a:gd name="connsiteY4" fmla="*/ 384048 h 384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79319" h="384048">
                  <a:moveTo>
                    <a:pt x="779319" y="384048"/>
                  </a:moveTo>
                  <a:lnTo>
                    <a:pt x="0" y="384048"/>
                  </a:lnTo>
                  <a:lnTo>
                    <a:pt x="0" y="0"/>
                  </a:lnTo>
                  <a:lnTo>
                    <a:pt x="779319" y="0"/>
                  </a:lnTo>
                  <a:lnTo>
                    <a:pt x="779319" y="384048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IN"/>
            </a:p>
          </p:txBody>
        </p:sp>
        <p:sp>
          <p:nvSpPr>
            <p:cNvPr id="527" name="Freeform: Shape 526">
              <a:extLst>
                <a:ext uri="{FF2B5EF4-FFF2-40B4-BE49-F238E27FC236}">
                  <a16:creationId xmlns:a16="http://schemas.microsoft.com/office/drawing/2014/main" id="{632C5991-EC87-46B8-BE22-75F66AF890A8}"/>
                </a:ext>
              </a:extLst>
            </p:cNvPr>
            <p:cNvSpPr/>
            <p:nvPr/>
          </p:nvSpPr>
          <p:spPr>
            <a:xfrm rot="10800000">
              <a:off x="8131895" y="3711427"/>
              <a:ext cx="779320" cy="384048"/>
            </a:xfrm>
            <a:custGeom>
              <a:avLst/>
              <a:gdLst>
                <a:gd name="connsiteX0" fmla="*/ 779320 w 779320"/>
                <a:gd name="connsiteY0" fmla="*/ 384048 h 384048"/>
                <a:gd name="connsiteX1" fmla="*/ 0 w 779320"/>
                <a:gd name="connsiteY1" fmla="*/ 384048 h 384048"/>
                <a:gd name="connsiteX2" fmla="*/ 0 w 779320"/>
                <a:gd name="connsiteY2" fmla="*/ 0 h 384048"/>
                <a:gd name="connsiteX3" fmla="*/ 779320 w 779320"/>
                <a:gd name="connsiteY3" fmla="*/ 0 h 384048"/>
                <a:gd name="connsiteX4" fmla="*/ 779320 w 779320"/>
                <a:gd name="connsiteY4" fmla="*/ 384048 h 384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79320" h="384048">
                  <a:moveTo>
                    <a:pt x="779320" y="384048"/>
                  </a:moveTo>
                  <a:lnTo>
                    <a:pt x="0" y="384048"/>
                  </a:lnTo>
                  <a:lnTo>
                    <a:pt x="0" y="0"/>
                  </a:lnTo>
                  <a:lnTo>
                    <a:pt x="779320" y="0"/>
                  </a:lnTo>
                  <a:lnTo>
                    <a:pt x="779320" y="384048"/>
                  </a:lnTo>
                  <a:close/>
                </a:path>
              </a:pathLst>
            </a:custGeom>
            <a:solidFill>
              <a:srgbClr val="88CB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IN"/>
            </a:p>
          </p:txBody>
        </p:sp>
        <p:sp>
          <p:nvSpPr>
            <p:cNvPr id="524" name="Freeform: Shape 523">
              <a:extLst>
                <a:ext uri="{FF2B5EF4-FFF2-40B4-BE49-F238E27FC236}">
                  <a16:creationId xmlns:a16="http://schemas.microsoft.com/office/drawing/2014/main" id="{7A693F51-D7B4-4D06-B065-2394DBF03D09}"/>
                </a:ext>
              </a:extLst>
            </p:cNvPr>
            <p:cNvSpPr/>
            <p:nvPr/>
          </p:nvSpPr>
          <p:spPr>
            <a:xfrm rot="10800000">
              <a:off x="5556411" y="3752126"/>
              <a:ext cx="779320" cy="304404"/>
            </a:xfrm>
            <a:custGeom>
              <a:avLst/>
              <a:gdLst>
                <a:gd name="connsiteX0" fmla="*/ 779320 w 779320"/>
                <a:gd name="connsiteY0" fmla="*/ 312928 h 312928"/>
                <a:gd name="connsiteX1" fmla="*/ 0 w 779320"/>
                <a:gd name="connsiteY1" fmla="*/ 312928 h 312928"/>
                <a:gd name="connsiteX2" fmla="*/ 0 w 779320"/>
                <a:gd name="connsiteY2" fmla="*/ 0 h 312928"/>
                <a:gd name="connsiteX3" fmla="*/ 779320 w 779320"/>
                <a:gd name="connsiteY3" fmla="*/ 0 h 312928"/>
                <a:gd name="connsiteX4" fmla="*/ 779320 w 779320"/>
                <a:gd name="connsiteY4" fmla="*/ 312928 h 3129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79320" h="312928">
                  <a:moveTo>
                    <a:pt x="779320" y="312928"/>
                  </a:moveTo>
                  <a:lnTo>
                    <a:pt x="0" y="312928"/>
                  </a:lnTo>
                  <a:lnTo>
                    <a:pt x="0" y="0"/>
                  </a:lnTo>
                  <a:lnTo>
                    <a:pt x="779320" y="0"/>
                  </a:lnTo>
                  <a:lnTo>
                    <a:pt x="779320" y="312928"/>
                  </a:lnTo>
                  <a:close/>
                </a:path>
              </a:pathLst>
            </a:custGeom>
            <a:solidFill>
              <a:schemeClr val="accent3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IN"/>
            </a:p>
          </p:txBody>
        </p:sp>
        <p:sp>
          <p:nvSpPr>
            <p:cNvPr id="517" name="Rectangle 516">
              <a:extLst>
                <a:ext uri="{FF2B5EF4-FFF2-40B4-BE49-F238E27FC236}">
                  <a16:creationId xmlns:a16="http://schemas.microsoft.com/office/drawing/2014/main" id="{2AE629F1-86D6-4806-B8C7-23ADDFBB7E37}"/>
                </a:ext>
              </a:extLst>
            </p:cNvPr>
            <p:cNvSpPr/>
            <p:nvPr/>
          </p:nvSpPr>
          <p:spPr>
            <a:xfrm rot="10800000">
              <a:off x="1493569" y="4967543"/>
              <a:ext cx="767462" cy="517265"/>
            </a:xfrm>
            <a:prstGeom prst="rect">
              <a:avLst/>
            </a:prstGeom>
            <a:solidFill>
              <a:schemeClr val="bg2">
                <a:lumMod val="25000"/>
                <a:lumOff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IN"/>
            </a:p>
          </p:txBody>
        </p:sp>
        <p:sp>
          <p:nvSpPr>
            <p:cNvPr id="516" name="Rectangle 515">
              <a:extLst>
                <a:ext uri="{FF2B5EF4-FFF2-40B4-BE49-F238E27FC236}">
                  <a16:creationId xmlns:a16="http://schemas.microsoft.com/office/drawing/2014/main" id="{1FFB39F2-5530-4052-9CB2-35F128075493}"/>
                </a:ext>
              </a:extLst>
            </p:cNvPr>
            <p:cNvSpPr/>
            <p:nvPr/>
          </p:nvSpPr>
          <p:spPr>
            <a:xfrm rot="10800000">
              <a:off x="3470562" y="4961969"/>
              <a:ext cx="779319" cy="522839"/>
            </a:xfrm>
            <a:prstGeom prst="rect">
              <a:avLst/>
            </a:prstGeom>
            <a:solidFill>
              <a:schemeClr val="accent3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IN"/>
            </a:p>
          </p:txBody>
        </p:sp>
        <p:sp>
          <p:nvSpPr>
            <p:cNvPr id="515" name="Freeform: Shape 514">
              <a:extLst>
                <a:ext uri="{FF2B5EF4-FFF2-40B4-BE49-F238E27FC236}">
                  <a16:creationId xmlns:a16="http://schemas.microsoft.com/office/drawing/2014/main" id="{9209AC72-B60E-41BD-9A03-020F06C05A57}"/>
                </a:ext>
              </a:extLst>
            </p:cNvPr>
            <p:cNvSpPr/>
            <p:nvPr/>
          </p:nvSpPr>
          <p:spPr>
            <a:xfrm rot="10800000">
              <a:off x="5556411" y="4079180"/>
              <a:ext cx="779320" cy="332291"/>
            </a:xfrm>
            <a:custGeom>
              <a:avLst/>
              <a:gdLst>
                <a:gd name="connsiteX0" fmla="*/ 779320 w 779320"/>
                <a:gd name="connsiteY0" fmla="*/ 307848 h 307848"/>
                <a:gd name="connsiteX1" fmla="*/ 0 w 779320"/>
                <a:gd name="connsiteY1" fmla="*/ 307848 h 307848"/>
                <a:gd name="connsiteX2" fmla="*/ 0 w 779320"/>
                <a:gd name="connsiteY2" fmla="*/ 0 h 307848"/>
                <a:gd name="connsiteX3" fmla="*/ 779320 w 779320"/>
                <a:gd name="connsiteY3" fmla="*/ 0 h 307848"/>
                <a:gd name="connsiteX4" fmla="*/ 779320 w 779320"/>
                <a:gd name="connsiteY4" fmla="*/ 307848 h 307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79320" h="307848">
                  <a:moveTo>
                    <a:pt x="779320" y="307848"/>
                  </a:moveTo>
                  <a:lnTo>
                    <a:pt x="0" y="307848"/>
                  </a:lnTo>
                  <a:lnTo>
                    <a:pt x="0" y="0"/>
                  </a:lnTo>
                  <a:lnTo>
                    <a:pt x="779320" y="0"/>
                  </a:lnTo>
                  <a:lnTo>
                    <a:pt x="779320" y="307848"/>
                  </a:lnTo>
                  <a:close/>
                </a:path>
              </a:pathLst>
            </a:custGeom>
            <a:solidFill>
              <a:schemeClr val="accent3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IN"/>
            </a:p>
          </p:txBody>
        </p:sp>
        <p:sp>
          <p:nvSpPr>
            <p:cNvPr id="510" name="Rectangle 509">
              <a:extLst>
                <a:ext uri="{FF2B5EF4-FFF2-40B4-BE49-F238E27FC236}">
                  <a16:creationId xmlns:a16="http://schemas.microsoft.com/office/drawing/2014/main" id="{BEFE1F84-07CD-4C62-A642-C6ACF3BD0653}"/>
                </a:ext>
              </a:extLst>
            </p:cNvPr>
            <p:cNvSpPr/>
            <p:nvPr/>
          </p:nvSpPr>
          <p:spPr>
            <a:xfrm rot="10800000">
              <a:off x="10318171" y="4119211"/>
              <a:ext cx="779320" cy="503141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IN"/>
            </a:p>
          </p:txBody>
        </p:sp>
        <p:sp>
          <p:nvSpPr>
            <p:cNvPr id="509" name="Freeform: Shape 508">
              <a:extLst>
                <a:ext uri="{FF2B5EF4-FFF2-40B4-BE49-F238E27FC236}">
                  <a16:creationId xmlns:a16="http://schemas.microsoft.com/office/drawing/2014/main" id="{3A049717-95C3-4619-AD09-DA0C807B6717}"/>
                </a:ext>
              </a:extLst>
            </p:cNvPr>
            <p:cNvSpPr/>
            <p:nvPr/>
          </p:nvSpPr>
          <p:spPr>
            <a:xfrm rot="10800000">
              <a:off x="8087071" y="4122907"/>
              <a:ext cx="824147" cy="1202956"/>
            </a:xfrm>
            <a:custGeom>
              <a:avLst/>
              <a:gdLst>
                <a:gd name="connsiteX0" fmla="*/ 779322 w 824147"/>
                <a:gd name="connsiteY0" fmla="*/ 1202956 h 1202956"/>
                <a:gd name="connsiteX1" fmla="*/ 2 w 824147"/>
                <a:gd name="connsiteY1" fmla="*/ 1202956 h 1202956"/>
                <a:gd name="connsiteX2" fmla="*/ 2 w 824147"/>
                <a:gd name="connsiteY2" fmla="*/ 319578 h 1202956"/>
                <a:gd name="connsiteX3" fmla="*/ 0 w 824147"/>
                <a:gd name="connsiteY3" fmla="*/ 319569 h 1202956"/>
                <a:gd name="connsiteX4" fmla="*/ 1 w 824147"/>
                <a:gd name="connsiteY4" fmla="*/ 319569 h 1202956"/>
                <a:gd name="connsiteX5" fmla="*/ 2 w 824147"/>
                <a:gd name="connsiteY5" fmla="*/ 319564 h 1202956"/>
                <a:gd name="connsiteX6" fmla="*/ 114131 w 824147"/>
                <a:gd name="connsiteY6" fmla="*/ 44033 h 1202956"/>
                <a:gd name="connsiteX7" fmla="*/ 167500 w 824147"/>
                <a:gd name="connsiteY7" fmla="*/ 0 h 1202956"/>
                <a:gd name="connsiteX8" fmla="*/ 824147 w 824147"/>
                <a:gd name="connsiteY8" fmla="*/ 709229 h 1202956"/>
                <a:gd name="connsiteX9" fmla="*/ 779322 w 824147"/>
                <a:gd name="connsiteY9" fmla="*/ 709229 h 1202956"/>
                <a:gd name="connsiteX10" fmla="*/ 779322 w 824147"/>
                <a:gd name="connsiteY10" fmla="*/ 1202956 h 12029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24147" h="1202956">
                  <a:moveTo>
                    <a:pt x="779322" y="1202956"/>
                  </a:moveTo>
                  <a:lnTo>
                    <a:pt x="2" y="1202956"/>
                  </a:lnTo>
                  <a:lnTo>
                    <a:pt x="2" y="319578"/>
                  </a:lnTo>
                  <a:lnTo>
                    <a:pt x="0" y="319569"/>
                  </a:lnTo>
                  <a:lnTo>
                    <a:pt x="1" y="319569"/>
                  </a:lnTo>
                  <a:lnTo>
                    <a:pt x="2" y="319564"/>
                  </a:lnTo>
                  <a:cubicBezTo>
                    <a:pt x="2" y="211963"/>
                    <a:pt x="43616" y="114548"/>
                    <a:pt x="114131" y="44033"/>
                  </a:cubicBezTo>
                  <a:lnTo>
                    <a:pt x="167500" y="0"/>
                  </a:lnTo>
                  <a:lnTo>
                    <a:pt x="824147" y="709229"/>
                  </a:lnTo>
                  <a:lnTo>
                    <a:pt x="779322" y="709229"/>
                  </a:lnTo>
                  <a:lnTo>
                    <a:pt x="779322" y="1202956"/>
                  </a:lnTo>
                  <a:close/>
                </a:path>
              </a:pathLst>
            </a:custGeom>
            <a:solidFill>
              <a:srgbClr val="88CB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IN"/>
            </a:p>
          </p:txBody>
        </p:sp>
        <p:sp>
          <p:nvSpPr>
            <p:cNvPr id="487" name="Rectangle 486">
              <a:extLst>
                <a:ext uri="{FF2B5EF4-FFF2-40B4-BE49-F238E27FC236}">
                  <a16:creationId xmlns:a16="http://schemas.microsoft.com/office/drawing/2014/main" id="{0C072E15-2C74-420D-BD1B-8CB1A1095A19}"/>
                </a:ext>
              </a:extLst>
            </p:cNvPr>
            <p:cNvSpPr/>
            <p:nvPr/>
          </p:nvSpPr>
          <p:spPr>
            <a:xfrm rot="10800000">
              <a:off x="2286868" y="5525110"/>
              <a:ext cx="387865" cy="765351"/>
            </a:xfrm>
            <a:prstGeom prst="rect">
              <a:avLst/>
            </a:prstGeom>
            <a:solidFill>
              <a:schemeClr val="accent3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IN"/>
            </a:p>
          </p:txBody>
        </p:sp>
        <p:sp>
          <p:nvSpPr>
            <p:cNvPr id="486" name="Rectangle 485">
              <a:extLst>
                <a:ext uri="{FF2B5EF4-FFF2-40B4-BE49-F238E27FC236}">
                  <a16:creationId xmlns:a16="http://schemas.microsoft.com/office/drawing/2014/main" id="{19CBAE34-9DE4-43F3-99D6-ADDE8274EF5A}"/>
                </a:ext>
              </a:extLst>
            </p:cNvPr>
            <p:cNvSpPr/>
            <p:nvPr/>
          </p:nvSpPr>
          <p:spPr>
            <a:xfrm rot="10800000">
              <a:off x="2702164" y="5525112"/>
              <a:ext cx="735000" cy="765352"/>
            </a:xfrm>
            <a:prstGeom prst="rect">
              <a:avLst/>
            </a:prstGeom>
            <a:solidFill>
              <a:schemeClr val="accent3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IN"/>
            </a:p>
          </p:txBody>
        </p:sp>
        <p:sp>
          <p:nvSpPr>
            <p:cNvPr id="485" name="Rectangle 484">
              <a:extLst>
                <a:ext uri="{FF2B5EF4-FFF2-40B4-BE49-F238E27FC236}">
                  <a16:creationId xmlns:a16="http://schemas.microsoft.com/office/drawing/2014/main" id="{468FE06C-41E8-47A3-98FC-0ACA5DB98BBF}"/>
                </a:ext>
              </a:extLst>
            </p:cNvPr>
            <p:cNvSpPr/>
            <p:nvPr/>
          </p:nvSpPr>
          <p:spPr>
            <a:xfrm rot="10800000">
              <a:off x="6366506" y="4616626"/>
              <a:ext cx="482868" cy="779323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IN"/>
            </a:p>
          </p:txBody>
        </p:sp>
        <p:sp>
          <p:nvSpPr>
            <p:cNvPr id="484" name="Freeform: Shape 483">
              <a:extLst>
                <a:ext uri="{FF2B5EF4-FFF2-40B4-BE49-F238E27FC236}">
                  <a16:creationId xmlns:a16="http://schemas.microsoft.com/office/drawing/2014/main" id="{BB352E90-0E2D-40CD-B372-590721B3A617}"/>
                </a:ext>
              </a:extLst>
            </p:cNvPr>
            <p:cNvSpPr/>
            <p:nvPr/>
          </p:nvSpPr>
          <p:spPr>
            <a:xfrm rot="10800000">
              <a:off x="6881192" y="4616633"/>
              <a:ext cx="820362" cy="779319"/>
            </a:xfrm>
            <a:custGeom>
              <a:avLst/>
              <a:gdLst>
                <a:gd name="connsiteX0" fmla="*/ 627888 w 627888"/>
                <a:gd name="connsiteY0" fmla="*/ 779319 h 779319"/>
                <a:gd name="connsiteX1" fmla="*/ 0 w 627888"/>
                <a:gd name="connsiteY1" fmla="*/ 779319 h 779319"/>
                <a:gd name="connsiteX2" fmla="*/ 0 w 627888"/>
                <a:gd name="connsiteY2" fmla="*/ 0 h 779319"/>
                <a:gd name="connsiteX3" fmla="*/ 627888 w 627888"/>
                <a:gd name="connsiteY3" fmla="*/ 0 h 779319"/>
                <a:gd name="connsiteX4" fmla="*/ 627888 w 627888"/>
                <a:gd name="connsiteY4" fmla="*/ 779319 h 7793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27888" h="779319">
                  <a:moveTo>
                    <a:pt x="627888" y="779319"/>
                  </a:moveTo>
                  <a:lnTo>
                    <a:pt x="0" y="779319"/>
                  </a:lnTo>
                  <a:lnTo>
                    <a:pt x="0" y="0"/>
                  </a:lnTo>
                  <a:lnTo>
                    <a:pt x="627888" y="0"/>
                  </a:lnTo>
                  <a:lnTo>
                    <a:pt x="627888" y="779319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IN"/>
            </a:p>
          </p:txBody>
        </p:sp>
        <p:sp>
          <p:nvSpPr>
            <p:cNvPr id="483" name="Freeform: Shape 482">
              <a:extLst>
                <a:ext uri="{FF2B5EF4-FFF2-40B4-BE49-F238E27FC236}">
                  <a16:creationId xmlns:a16="http://schemas.microsoft.com/office/drawing/2014/main" id="{5E83D6C8-BA0F-4F9D-A2ED-0ADFF486E62B}"/>
                </a:ext>
              </a:extLst>
            </p:cNvPr>
            <p:cNvSpPr/>
            <p:nvPr/>
          </p:nvSpPr>
          <p:spPr>
            <a:xfrm rot="10800000">
              <a:off x="7733418" y="4616634"/>
              <a:ext cx="986167" cy="779325"/>
            </a:xfrm>
            <a:custGeom>
              <a:avLst/>
              <a:gdLst>
                <a:gd name="connsiteX0" fmla="*/ 986167 w 986167"/>
                <a:gd name="connsiteY0" fmla="*/ 779325 h 779325"/>
                <a:gd name="connsiteX1" fmla="*/ 669900 w 986167"/>
                <a:gd name="connsiteY1" fmla="*/ 779325 h 779325"/>
                <a:gd name="connsiteX2" fmla="*/ 0 w 986167"/>
                <a:gd name="connsiteY2" fmla="*/ 55783 h 779325"/>
                <a:gd name="connsiteX3" fmla="*/ 46356 w 986167"/>
                <a:gd name="connsiteY3" fmla="*/ 30621 h 779325"/>
                <a:gd name="connsiteX4" fmla="*/ 198029 w 986167"/>
                <a:gd name="connsiteY4" fmla="*/ 0 h 779325"/>
                <a:gd name="connsiteX5" fmla="*/ 198029 w 986167"/>
                <a:gd name="connsiteY5" fmla="*/ 1 h 779325"/>
                <a:gd name="connsiteX6" fmla="*/ 198069 w 986167"/>
                <a:gd name="connsiteY6" fmla="*/ 5 h 779325"/>
                <a:gd name="connsiteX7" fmla="*/ 986167 w 986167"/>
                <a:gd name="connsiteY7" fmla="*/ 6 h 779325"/>
                <a:gd name="connsiteX8" fmla="*/ 986167 w 986167"/>
                <a:gd name="connsiteY8" fmla="*/ 779325 h 7793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986167" h="779325">
                  <a:moveTo>
                    <a:pt x="986167" y="779325"/>
                  </a:moveTo>
                  <a:lnTo>
                    <a:pt x="669900" y="779325"/>
                  </a:lnTo>
                  <a:lnTo>
                    <a:pt x="0" y="55783"/>
                  </a:lnTo>
                  <a:lnTo>
                    <a:pt x="46356" y="30621"/>
                  </a:lnTo>
                  <a:cubicBezTo>
                    <a:pt x="92974" y="10904"/>
                    <a:pt x="144228" y="0"/>
                    <a:pt x="198029" y="0"/>
                  </a:cubicBezTo>
                  <a:lnTo>
                    <a:pt x="198029" y="1"/>
                  </a:lnTo>
                  <a:lnTo>
                    <a:pt x="198069" y="5"/>
                  </a:lnTo>
                  <a:lnTo>
                    <a:pt x="986167" y="6"/>
                  </a:lnTo>
                  <a:lnTo>
                    <a:pt x="986167" y="779325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IN"/>
            </a:p>
          </p:txBody>
        </p:sp>
        <p:sp>
          <p:nvSpPr>
            <p:cNvPr id="482" name="Freeform: Shape 481">
              <a:extLst>
                <a:ext uri="{FF2B5EF4-FFF2-40B4-BE49-F238E27FC236}">
                  <a16:creationId xmlns:a16="http://schemas.microsoft.com/office/drawing/2014/main" id="{B24D2670-60B2-4827-9E5A-F8BD3562C5B4}"/>
                </a:ext>
              </a:extLst>
            </p:cNvPr>
            <p:cNvSpPr/>
            <p:nvPr/>
          </p:nvSpPr>
          <p:spPr>
            <a:xfrm rot="10800000">
              <a:off x="10318171" y="4646340"/>
              <a:ext cx="783276" cy="749617"/>
            </a:xfrm>
            <a:custGeom>
              <a:avLst/>
              <a:gdLst>
                <a:gd name="connsiteX0" fmla="*/ 196355 w 992563"/>
                <a:gd name="connsiteY0" fmla="*/ 779327 h 779327"/>
                <a:gd name="connsiteX1" fmla="*/ 0 w 992563"/>
                <a:gd name="connsiteY1" fmla="*/ 779327 h 779327"/>
                <a:gd name="connsiteX2" fmla="*/ 0 w 992563"/>
                <a:gd name="connsiteY2" fmla="*/ 8 h 779327"/>
                <a:gd name="connsiteX3" fmla="*/ 602828 w 992563"/>
                <a:gd name="connsiteY3" fmla="*/ 8 h 779327"/>
                <a:gd name="connsiteX4" fmla="*/ 602903 w 992563"/>
                <a:gd name="connsiteY4" fmla="*/ 0 h 779327"/>
                <a:gd name="connsiteX5" fmla="*/ 602903 w 992563"/>
                <a:gd name="connsiteY5" fmla="*/ 1 h 779327"/>
                <a:gd name="connsiteX6" fmla="*/ 603435 w 992563"/>
                <a:gd name="connsiteY6" fmla="*/ 55 h 779327"/>
                <a:gd name="connsiteX7" fmla="*/ 671877 w 992563"/>
                <a:gd name="connsiteY7" fmla="*/ 6094 h 779327"/>
                <a:gd name="connsiteX8" fmla="*/ 676961 w 992563"/>
                <a:gd name="connsiteY8" fmla="*/ 7467 h 779327"/>
                <a:gd name="connsiteX9" fmla="*/ 681433 w 992563"/>
                <a:gd name="connsiteY9" fmla="*/ 7918 h 779327"/>
                <a:gd name="connsiteX10" fmla="*/ 700222 w 992563"/>
                <a:gd name="connsiteY10" fmla="*/ 13750 h 779327"/>
                <a:gd name="connsiteX11" fmla="*/ 736879 w 992563"/>
                <a:gd name="connsiteY11" fmla="*/ 23652 h 779327"/>
                <a:gd name="connsiteX12" fmla="*/ 746342 w 992563"/>
                <a:gd name="connsiteY12" fmla="*/ 28067 h 779327"/>
                <a:gd name="connsiteX13" fmla="*/ 754576 w 992563"/>
                <a:gd name="connsiteY13" fmla="*/ 30623 h 779327"/>
                <a:gd name="connsiteX14" fmla="*/ 771430 w 992563"/>
                <a:gd name="connsiteY14" fmla="*/ 39771 h 779327"/>
                <a:gd name="connsiteX15" fmla="*/ 796857 w 992563"/>
                <a:gd name="connsiteY15" fmla="*/ 51633 h 779327"/>
                <a:gd name="connsiteX16" fmla="*/ 809767 w 992563"/>
                <a:gd name="connsiteY16" fmla="*/ 60580 h 779327"/>
                <a:gd name="connsiteX17" fmla="*/ 820765 w 992563"/>
                <a:gd name="connsiteY17" fmla="*/ 66549 h 779327"/>
                <a:gd name="connsiteX18" fmla="*/ 833269 w 992563"/>
                <a:gd name="connsiteY18" fmla="*/ 76866 h 779327"/>
                <a:gd name="connsiteX19" fmla="*/ 850761 w 992563"/>
                <a:gd name="connsiteY19" fmla="*/ 88987 h 779327"/>
                <a:gd name="connsiteX20" fmla="*/ 866029 w 992563"/>
                <a:gd name="connsiteY20" fmla="*/ 103895 h 779327"/>
                <a:gd name="connsiteX21" fmla="*/ 878434 w 992563"/>
                <a:gd name="connsiteY21" fmla="*/ 114130 h 779327"/>
                <a:gd name="connsiteX22" fmla="*/ 886402 w 992563"/>
                <a:gd name="connsiteY22" fmla="*/ 123788 h 779327"/>
                <a:gd name="connsiteX23" fmla="*/ 897541 w 992563"/>
                <a:gd name="connsiteY23" fmla="*/ 134664 h 779327"/>
                <a:gd name="connsiteX24" fmla="*/ 913992 w 992563"/>
                <a:gd name="connsiteY24" fmla="*/ 157227 h 779327"/>
                <a:gd name="connsiteX25" fmla="*/ 926015 w 992563"/>
                <a:gd name="connsiteY25" fmla="*/ 171799 h 779327"/>
                <a:gd name="connsiteX26" fmla="*/ 930088 w 992563"/>
                <a:gd name="connsiteY26" fmla="*/ 179303 h 779327"/>
                <a:gd name="connsiteX27" fmla="*/ 936148 w 992563"/>
                <a:gd name="connsiteY27" fmla="*/ 187615 h 779327"/>
                <a:gd name="connsiteX28" fmla="*/ 940197 w 992563"/>
                <a:gd name="connsiteY28" fmla="*/ 197927 h 779327"/>
                <a:gd name="connsiteX29" fmla="*/ 961941 w 992563"/>
                <a:gd name="connsiteY29" fmla="*/ 237988 h 779327"/>
                <a:gd name="connsiteX30" fmla="*/ 968310 w 992563"/>
                <a:gd name="connsiteY30" fmla="*/ 269534 h 779327"/>
                <a:gd name="connsiteX31" fmla="*/ 984644 w 992563"/>
                <a:gd name="connsiteY31" fmla="*/ 311138 h 779327"/>
                <a:gd name="connsiteX32" fmla="*/ 992558 w 992563"/>
                <a:gd name="connsiteY32" fmla="*/ 389636 h 779327"/>
                <a:gd name="connsiteX33" fmla="*/ 992563 w 992563"/>
                <a:gd name="connsiteY33" fmla="*/ 389661 h 779327"/>
                <a:gd name="connsiteX34" fmla="*/ 992563 w 992563"/>
                <a:gd name="connsiteY34" fmla="*/ 593479 h 779327"/>
                <a:gd name="connsiteX35" fmla="*/ 196355 w 992563"/>
                <a:gd name="connsiteY35" fmla="*/ 779327 h 779327"/>
                <a:gd name="connsiteX0" fmla="*/ 196355 w 1003196"/>
                <a:gd name="connsiteY0" fmla="*/ 779327 h 781397"/>
                <a:gd name="connsiteX1" fmla="*/ 0 w 1003196"/>
                <a:gd name="connsiteY1" fmla="*/ 779327 h 781397"/>
                <a:gd name="connsiteX2" fmla="*/ 0 w 1003196"/>
                <a:gd name="connsiteY2" fmla="*/ 8 h 781397"/>
                <a:gd name="connsiteX3" fmla="*/ 602828 w 1003196"/>
                <a:gd name="connsiteY3" fmla="*/ 8 h 781397"/>
                <a:gd name="connsiteX4" fmla="*/ 602903 w 1003196"/>
                <a:gd name="connsiteY4" fmla="*/ 0 h 781397"/>
                <a:gd name="connsiteX5" fmla="*/ 602903 w 1003196"/>
                <a:gd name="connsiteY5" fmla="*/ 1 h 781397"/>
                <a:gd name="connsiteX6" fmla="*/ 603435 w 1003196"/>
                <a:gd name="connsiteY6" fmla="*/ 55 h 781397"/>
                <a:gd name="connsiteX7" fmla="*/ 671877 w 1003196"/>
                <a:gd name="connsiteY7" fmla="*/ 6094 h 781397"/>
                <a:gd name="connsiteX8" fmla="*/ 676961 w 1003196"/>
                <a:gd name="connsiteY8" fmla="*/ 7467 h 781397"/>
                <a:gd name="connsiteX9" fmla="*/ 681433 w 1003196"/>
                <a:gd name="connsiteY9" fmla="*/ 7918 h 781397"/>
                <a:gd name="connsiteX10" fmla="*/ 700222 w 1003196"/>
                <a:gd name="connsiteY10" fmla="*/ 13750 h 781397"/>
                <a:gd name="connsiteX11" fmla="*/ 736879 w 1003196"/>
                <a:gd name="connsiteY11" fmla="*/ 23652 h 781397"/>
                <a:gd name="connsiteX12" fmla="*/ 746342 w 1003196"/>
                <a:gd name="connsiteY12" fmla="*/ 28067 h 781397"/>
                <a:gd name="connsiteX13" fmla="*/ 754576 w 1003196"/>
                <a:gd name="connsiteY13" fmla="*/ 30623 h 781397"/>
                <a:gd name="connsiteX14" fmla="*/ 771430 w 1003196"/>
                <a:gd name="connsiteY14" fmla="*/ 39771 h 781397"/>
                <a:gd name="connsiteX15" fmla="*/ 796857 w 1003196"/>
                <a:gd name="connsiteY15" fmla="*/ 51633 h 781397"/>
                <a:gd name="connsiteX16" fmla="*/ 809767 w 1003196"/>
                <a:gd name="connsiteY16" fmla="*/ 60580 h 781397"/>
                <a:gd name="connsiteX17" fmla="*/ 820765 w 1003196"/>
                <a:gd name="connsiteY17" fmla="*/ 66549 h 781397"/>
                <a:gd name="connsiteX18" fmla="*/ 833269 w 1003196"/>
                <a:gd name="connsiteY18" fmla="*/ 76866 h 781397"/>
                <a:gd name="connsiteX19" fmla="*/ 850761 w 1003196"/>
                <a:gd name="connsiteY19" fmla="*/ 88987 h 781397"/>
                <a:gd name="connsiteX20" fmla="*/ 866029 w 1003196"/>
                <a:gd name="connsiteY20" fmla="*/ 103895 h 781397"/>
                <a:gd name="connsiteX21" fmla="*/ 878434 w 1003196"/>
                <a:gd name="connsiteY21" fmla="*/ 114130 h 781397"/>
                <a:gd name="connsiteX22" fmla="*/ 886402 w 1003196"/>
                <a:gd name="connsiteY22" fmla="*/ 123788 h 781397"/>
                <a:gd name="connsiteX23" fmla="*/ 897541 w 1003196"/>
                <a:gd name="connsiteY23" fmla="*/ 134664 h 781397"/>
                <a:gd name="connsiteX24" fmla="*/ 913992 w 1003196"/>
                <a:gd name="connsiteY24" fmla="*/ 157227 h 781397"/>
                <a:gd name="connsiteX25" fmla="*/ 926015 w 1003196"/>
                <a:gd name="connsiteY25" fmla="*/ 171799 h 781397"/>
                <a:gd name="connsiteX26" fmla="*/ 930088 w 1003196"/>
                <a:gd name="connsiteY26" fmla="*/ 179303 h 781397"/>
                <a:gd name="connsiteX27" fmla="*/ 936148 w 1003196"/>
                <a:gd name="connsiteY27" fmla="*/ 187615 h 781397"/>
                <a:gd name="connsiteX28" fmla="*/ 940197 w 1003196"/>
                <a:gd name="connsiteY28" fmla="*/ 197927 h 781397"/>
                <a:gd name="connsiteX29" fmla="*/ 961941 w 1003196"/>
                <a:gd name="connsiteY29" fmla="*/ 237988 h 781397"/>
                <a:gd name="connsiteX30" fmla="*/ 968310 w 1003196"/>
                <a:gd name="connsiteY30" fmla="*/ 269534 h 781397"/>
                <a:gd name="connsiteX31" fmla="*/ 984644 w 1003196"/>
                <a:gd name="connsiteY31" fmla="*/ 311138 h 781397"/>
                <a:gd name="connsiteX32" fmla="*/ 992558 w 1003196"/>
                <a:gd name="connsiteY32" fmla="*/ 389636 h 781397"/>
                <a:gd name="connsiteX33" fmla="*/ 992563 w 1003196"/>
                <a:gd name="connsiteY33" fmla="*/ 389661 h 781397"/>
                <a:gd name="connsiteX34" fmla="*/ 1003196 w 1003196"/>
                <a:gd name="connsiteY34" fmla="*/ 781397 h 781397"/>
                <a:gd name="connsiteX35" fmla="*/ 196355 w 1003196"/>
                <a:gd name="connsiteY35" fmla="*/ 779327 h 781397"/>
                <a:gd name="connsiteX0" fmla="*/ 196355 w 1003196"/>
                <a:gd name="connsiteY0" fmla="*/ 779327 h 779327"/>
                <a:gd name="connsiteX1" fmla="*/ 0 w 1003196"/>
                <a:gd name="connsiteY1" fmla="*/ 779327 h 779327"/>
                <a:gd name="connsiteX2" fmla="*/ 0 w 1003196"/>
                <a:gd name="connsiteY2" fmla="*/ 8 h 779327"/>
                <a:gd name="connsiteX3" fmla="*/ 602828 w 1003196"/>
                <a:gd name="connsiteY3" fmla="*/ 8 h 779327"/>
                <a:gd name="connsiteX4" fmla="*/ 602903 w 1003196"/>
                <a:gd name="connsiteY4" fmla="*/ 0 h 779327"/>
                <a:gd name="connsiteX5" fmla="*/ 602903 w 1003196"/>
                <a:gd name="connsiteY5" fmla="*/ 1 h 779327"/>
                <a:gd name="connsiteX6" fmla="*/ 603435 w 1003196"/>
                <a:gd name="connsiteY6" fmla="*/ 55 h 779327"/>
                <a:gd name="connsiteX7" fmla="*/ 671877 w 1003196"/>
                <a:gd name="connsiteY7" fmla="*/ 6094 h 779327"/>
                <a:gd name="connsiteX8" fmla="*/ 676961 w 1003196"/>
                <a:gd name="connsiteY8" fmla="*/ 7467 h 779327"/>
                <a:gd name="connsiteX9" fmla="*/ 681433 w 1003196"/>
                <a:gd name="connsiteY9" fmla="*/ 7918 h 779327"/>
                <a:gd name="connsiteX10" fmla="*/ 700222 w 1003196"/>
                <a:gd name="connsiteY10" fmla="*/ 13750 h 779327"/>
                <a:gd name="connsiteX11" fmla="*/ 736879 w 1003196"/>
                <a:gd name="connsiteY11" fmla="*/ 23652 h 779327"/>
                <a:gd name="connsiteX12" fmla="*/ 746342 w 1003196"/>
                <a:gd name="connsiteY12" fmla="*/ 28067 h 779327"/>
                <a:gd name="connsiteX13" fmla="*/ 754576 w 1003196"/>
                <a:gd name="connsiteY13" fmla="*/ 30623 h 779327"/>
                <a:gd name="connsiteX14" fmla="*/ 771430 w 1003196"/>
                <a:gd name="connsiteY14" fmla="*/ 39771 h 779327"/>
                <a:gd name="connsiteX15" fmla="*/ 796857 w 1003196"/>
                <a:gd name="connsiteY15" fmla="*/ 51633 h 779327"/>
                <a:gd name="connsiteX16" fmla="*/ 809767 w 1003196"/>
                <a:gd name="connsiteY16" fmla="*/ 60580 h 779327"/>
                <a:gd name="connsiteX17" fmla="*/ 820765 w 1003196"/>
                <a:gd name="connsiteY17" fmla="*/ 66549 h 779327"/>
                <a:gd name="connsiteX18" fmla="*/ 833269 w 1003196"/>
                <a:gd name="connsiteY18" fmla="*/ 76866 h 779327"/>
                <a:gd name="connsiteX19" fmla="*/ 850761 w 1003196"/>
                <a:gd name="connsiteY19" fmla="*/ 88987 h 779327"/>
                <a:gd name="connsiteX20" fmla="*/ 866029 w 1003196"/>
                <a:gd name="connsiteY20" fmla="*/ 103895 h 779327"/>
                <a:gd name="connsiteX21" fmla="*/ 878434 w 1003196"/>
                <a:gd name="connsiteY21" fmla="*/ 114130 h 779327"/>
                <a:gd name="connsiteX22" fmla="*/ 886402 w 1003196"/>
                <a:gd name="connsiteY22" fmla="*/ 123788 h 779327"/>
                <a:gd name="connsiteX23" fmla="*/ 897541 w 1003196"/>
                <a:gd name="connsiteY23" fmla="*/ 134664 h 779327"/>
                <a:gd name="connsiteX24" fmla="*/ 913992 w 1003196"/>
                <a:gd name="connsiteY24" fmla="*/ 157227 h 779327"/>
                <a:gd name="connsiteX25" fmla="*/ 926015 w 1003196"/>
                <a:gd name="connsiteY25" fmla="*/ 171799 h 779327"/>
                <a:gd name="connsiteX26" fmla="*/ 930088 w 1003196"/>
                <a:gd name="connsiteY26" fmla="*/ 179303 h 779327"/>
                <a:gd name="connsiteX27" fmla="*/ 936148 w 1003196"/>
                <a:gd name="connsiteY27" fmla="*/ 187615 h 779327"/>
                <a:gd name="connsiteX28" fmla="*/ 940197 w 1003196"/>
                <a:gd name="connsiteY28" fmla="*/ 197927 h 779327"/>
                <a:gd name="connsiteX29" fmla="*/ 961941 w 1003196"/>
                <a:gd name="connsiteY29" fmla="*/ 237988 h 779327"/>
                <a:gd name="connsiteX30" fmla="*/ 968310 w 1003196"/>
                <a:gd name="connsiteY30" fmla="*/ 269534 h 779327"/>
                <a:gd name="connsiteX31" fmla="*/ 984644 w 1003196"/>
                <a:gd name="connsiteY31" fmla="*/ 311138 h 779327"/>
                <a:gd name="connsiteX32" fmla="*/ 992558 w 1003196"/>
                <a:gd name="connsiteY32" fmla="*/ 389636 h 779327"/>
                <a:gd name="connsiteX33" fmla="*/ 992563 w 1003196"/>
                <a:gd name="connsiteY33" fmla="*/ 389661 h 779327"/>
                <a:gd name="connsiteX34" fmla="*/ 1003196 w 1003196"/>
                <a:gd name="connsiteY34" fmla="*/ 775869 h 779327"/>
                <a:gd name="connsiteX35" fmla="*/ 196355 w 1003196"/>
                <a:gd name="connsiteY35" fmla="*/ 779327 h 779327"/>
                <a:gd name="connsiteX0" fmla="*/ 1003196 w 1003196"/>
                <a:gd name="connsiteY0" fmla="*/ 775869 h 779327"/>
                <a:gd name="connsiteX1" fmla="*/ 0 w 1003196"/>
                <a:gd name="connsiteY1" fmla="*/ 779327 h 779327"/>
                <a:gd name="connsiteX2" fmla="*/ 0 w 1003196"/>
                <a:gd name="connsiteY2" fmla="*/ 8 h 779327"/>
                <a:gd name="connsiteX3" fmla="*/ 602828 w 1003196"/>
                <a:gd name="connsiteY3" fmla="*/ 8 h 779327"/>
                <a:gd name="connsiteX4" fmla="*/ 602903 w 1003196"/>
                <a:gd name="connsiteY4" fmla="*/ 0 h 779327"/>
                <a:gd name="connsiteX5" fmla="*/ 602903 w 1003196"/>
                <a:gd name="connsiteY5" fmla="*/ 1 h 779327"/>
                <a:gd name="connsiteX6" fmla="*/ 603435 w 1003196"/>
                <a:gd name="connsiteY6" fmla="*/ 55 h 779327"/>
                <a:gd name="connsiteX7" fmla="*/ 671877 w 1003196"/>
                <a:gd name="connsiteY7" fmla="*/ 6094 h 779327"/>
                <a:gd name="connsiteX8" fmla="*/ 676961 w 1003196"/>
                <a:gd name="connsiteY8" fmla="*/ 7467 h 779327"/>
                <a:gd name="connsiteX9" fmla="*/ 681433 w 1003196"/>
                <a:gd name="connsiteY9" fmla="*/ 7918 h 779327"/>
                <a:gd name="connsiteX10" fmla="*/ 700222 w 1003196"/>
                <a:gd name="connsiteY10" fmla="*/ 13750 h 779327"/>
                <a:gd name="connsiteX11" fmla="*/ 736879 w 1003196"/>
                <a:gd name="connsiteY11" fmla="*/ 23652 h 779327"/>
                <a:gd name="connsiteX12" fmla="*/ 746342 w 1003196"/>
                <a:gd name="connsiteY12" fmla="*/ 28067 h 779327"/>
                <a:gd name="connsiteX13" fmla="*/ 754576 w 1003196"/>
                <a:gd name="connsiteY13" fmla="*/ 30623 h 779327"/>
                <a:gd name="connsiteX14" fmla="*/ 771430 w 1003196"/>
                <a:gd name="connsiteY14" fmla="*/ 39771 h 779327"/>
                <a:gd name="connsiteX15" fmla="*/ 796857 w 1003196"/>
                <a:gd name="connsiteY15" fmla="*/ 51633 h 779327"/>
                <a:gd name="connsiteX16" fmla="*/ 809767 w 1003196"/>
                <a:gd name="connsiteY16" fmla="*/ 60580 h 779327"/>
                <a:gd name="connsiteX17" fmla="*/ 820765 w 1003196"/>
                <a:gd name="connsiteY17" fmla="*/ 66549 h 779327"/>
                <a:gd name="connsiteX18" fmla="*/ 833269 w 1003196"/>
                <a:gd name="connsiteY18" fmla="*/ 76866 h 779327"/>
                <a:gd name="connsiteX19" fmla="*/ 850761 w 1003196"/>
                <a:gd name="connsiteY19" fmla="*/ 88987 h 779327"/>
                <a:gd name="connsiteX20" fmla="*/ 866029 w 1003196"/>
                <a:gd name="connsiteY20" fmla="*/ 103895 h 779327"/>
                <a:gd name="connsiteX21" fmla="*/ 878434 w 1003196"/>
                <a:gd name="connsiteY21" fmla="*/ 114130 h 779327"/>
                <a:gd name="connsiteX22" fmla="*/ 886402 w 1003196"/>
                <a:gd name="connsiteY22" fmla="*/ 123788 h 779327"/>
                <a:gd name="connsiteX23" fmla="*/ 897541 w 1003196"/>
                <a:gd name="connsiteY23" fmla="*/ 134664 h 779327"/>
                <a:gd name="connsiteX24" fmla="*/ 913992 w 1003196"/>
                <a:gd name="connsiteY24" fmla="*/ 157227 h 779327"/>
                <a:gd name="connsiteX25" fmla="*/ 926015 w 1003196"/>
                <a:gd name="connsiteY25" fmla="*/ 171799 h 779327"/>
                <a:gd name="connsiteX26" fmla="*/ 930088 w 1003196"/>
                <a:gd name="connsiteY26" fmla="*/ 179303 h 779327"/>
                <a:gd name="connsiteX27" fmla="*/ 936148 w 1003196"/>
                <a:gd name="connsiteY27" fmla="*/ 187615 h 779327"/>
                <a:gd name="connsiteX28" fmla="*/ 940197 w 1003196"/>
                <a:gd name="connsiteY28" fmla="*/ 197927 h 779327"/>
                <a:gd name="connsiteX29" fmla="*/ 961941 w 1003196"/>
                <a:gd name="connsiteY29" fmla="*/ 237988 h 779327"/>
                <a:gd name="connsiteX30" fmla="*/ 968310 w 1003196"/>
                <a:gd name="connsiteY30" fmla="*/ 269534 h 779327"/>
                <a:gd name="connsiteX31" fmla="*/ 984644 w 1003196"/>
                <a:gd name="connsiteY31" fmla="*/ 311138 h 779327"/>
                <a:gd name="connsiteX32" fmla="*/ 992558 w 1003196"/>
                <a:gd name="connsiteY32" fmla="*/ 389636 h 779327"/>
                <a:gd name="connsiteX33" fmla="*/ 992563 w 1003196"/>
                <a:gd name="connsiteY33" fmla="*/ 389661 h 779327"/>
                <a:gd name="connsiteX34" fmla="*/ 1003196 w 1003196"/>
                <a:gd name="connsiteY34" fmla="*/ 775869 h 779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1003196" h="779327">
                  <a:moveTo>
                    <a:pt x="1003196" y="775869"/>
                  </a:moveTo>
                  <a:lnTo>
                    <a:pt x="0" y="779327"/>
                  </a:lnTo>
                  <a:lnTo>
                    <a:pt x="0" y="8"/>
                  </a:lnTo>
                  <a:lnTo>
                    <a:pt x="602828" y="8"/>
                  </a:lnTo>
                  <a:cubicBezTo>
                    <a:pt x="602853" y="5"/>
                    <a:pt x="602878" y="3"/>
                    <a:pt x="602903" y="0"/>
                  </a:cubicBezTo>
                  <a:lnTo>
                    <a:pt x="602903" y="1"/>
                  </a:lnTo>
                  <a:lnTo>
                    <a:pt x="603435" y="55"/>
                  </a:lnTo>
                  <a:lnTo>
                    <a:pt x="671877" y="6094"/>
                  </a:lnTo>
                  <a:lnTo>
                    <a:pt x="676961" y="7467"/>
                  </a:lnTo>
                  <a:lnTo>
                    <a:pt x="681433" y="7918"/>
                  </a:lnTo>
                  <a:lnTo>
                    <a:pt x="700222" y="13750"/>
                  </a:lnTo>
                  <a:lnTo>
                    <a:pt x="736879" y="23652"/>
                  </a:lnTo>
                  <a:lnTo>
                    <a:pt x="746342" y="28067"/>
                  </a:lnTo>
                  <a:lnTo>
                    <a:pt x="754576" y="30623"/>
                  </a:lnTo>
                  <a:lnTo>
                    <a:pt x="771430" y="39771"/>
                  </a:lnTo>
                  <a:lnTo>
                    <a:pt x="796857" y="51633"/>
                  </a:lnTo>
                  <a:lnTo>
                    <a:pt x="809767" y="60580"/>
                  </a:lnTo>
                  <a:lnTo>
                    <a:pt x="820765" y="66549"/>
                  </a:lnTo>
                  <a:lnTo>
                    <a:pt x="833269" y="76866"/>
                  </a:lnTo>
                  <a:lnTo>
                    <a:pt x="850761" y="88987"/>
                  </a:lnTo>
                  <a:lnTo>
                    <a:pt x="866029" y="103895"/>
                  </a:lnTo>
                  <a:lnTo>
                    <a:pt x="878434" y="114130"/>
                  </a:lnTo>
                  <a:lnTo>
                    <a:pt x="886402" y="123788"/>
                  </a:lnTo>
                  <a:lnTo>
                    <a:pt x="897541" y="134664"/>
                  </a:lnTo>
                  <a:lnTo>
                    <a:pt x="913992" y="157227"/>
                  </a:lnTo>
                  <a:lnTo>
                    <a:pt x="926015" y="171799"/>
                  </a:lnTo>
                  <a:lnTo>
                    <a:pt x="930088" y="179303"/>
                  </a:lnTo>
                  <a:lnTo>
                    <a:pt x="936148" y="187615"/>
                  </a:lnTo>
                  <a:lnTo>
                    <a:pt x="940197" y="197927"/>
                  </a:lnTo>
                  <a:lnTo>
                    <a:pt x="961941" y="237988"/>
                  </a:lnTo>
                  <a:lnTo>
                    <a:pt x="968310" y="269534"/>
                  </a:lnTo>
                  <a:lnTo>
                    <a:pt x="984644" y="311138"/>
                  </a:lnTo>
                  <a:lnTo>
                    <a:pt x="992558" y="389636"/>
                  </a:lnTo>
                  <a:cubicBezTo>
                    <a:pt x="992560" y="389644"/>
                    <a:pt x="992561" y="389653"/>
                    <a:pt x="992563" y="389661"/>
                  </a:cubicBezTo>
                  <a:lnTo>
                    <a:pt x="1003196" y="775869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IN"/>
            </a:p>
          </p:txBody>
        </p:sp>
        <p:sp>
          <p:nvSpPr>
            <p:cNvPr id="677" name="Freeform: Shape 676">
              <a:extLst>
                <a:ext uri="{FF2B5EF4-FFF2-40B4-BE49-F238E27FC236}">
                  <a16:creationId xmlns:a16="http://schemas.microsoft.com/office/drawing/2014/main" id="{59FC0C21-0BD1-4A68-8EA9-37B99C57278A}"/>
                </a:ext>
              </a:extLst>
            </p:cNvPr>
            <p:cNvSpPr/>
            <p:nvPr/>
          </p:nvSpPr>
          <p:spPr>
            <a:xfrm rot="10800000">
              <a:off x="11137705" y="4645410"/>
              <a:ext cx="1054295" cy="750544"/>
            </a:xfrm>
            <a:custGeom>
              <a:avLst/>
              <a:gdLst>
                <a:gd name="connsiteX0" fmla="*/ 853834 w 853834"/>
                <a:gd name="connsiteY0" fmla="*/ 779320 h 779320"/>
                <a:gd name="connsiteX1" fmla="*/ 0 w 853834"/>
                <a:gd name="connsiteY1" fmla="*/ 779320 h 779320"/>
                <a:gd name="connsiteX2" fmla="*/ 0 w 853834"/>
                <a:gd name="connsiteY2" fmla="*/ 0 h 779320"/>
                <a:gd name="connsiteX3" fmla="*/ 853834 w 853834"/>
                <a:gd name="connsiteY3" fmla="*/ 1 h 7793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53834" h="779320">
                  <a:moveTo>
                    <a:pt x="853834" y="779320"/>
                  </a:moveTo>
                  <a:lnTo>
                    <a:pt x="0" y="779320"/>
                  </a:lnTo>
                  <a:lnTo>
                    <a:pt x="0" y="0"/>
                  </a:lnTo>
                  <a:lnTo>
                    <a:pt x="853834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IN"/>
            </a:p>
          </p:txBody>
        </p:sp>
        <p:sp>
          <p:nvSpPr>
            <p:cNvPr id="276" name="Rectangle 275">
              <a:extLst>
                <a:ext uri="{FF2B5EF4-FFF2-40B4-BE49-F238E27FC236}">
                  <a16:creationId xmlns:a16="http://schemas.microsoft.com/office/drawing/2014/main" id="{38556C6F-319A-4EE2-8E1C-31A30BC7382B}"/>
                </a:ext>
              </a:extLst>
            </p:cNvPr>
            <p:cNvSpPr/>
            <p:nvPr/>
          </p:nvSpPr>
          <p:spPr>
            <a:xfrm>
              <a:off x="71978" y="3075342"/>
              <a:ext cx="711866" cy="684622"/>
            </a:xfrm>
            <a:prstGeom prst="rect">
              <a:avLst/>
            </a:prstGeom>
          </p:spPr>
          <p:txBody>
            <a:bodyPr wrap="square" lIns="0" tIns="0" rIns="0" bIns="0" anchor="ctr">
              <a:noAutofit/>
            </a:bodyPr>
            <a:lstStyle/>
            <a:p>
              <a:pPr marL="0" lvl="1" algn="ctr">
                <a:spcBef>
                  <a:spcPts val="100"/>
                </a:spcBef>
                <a:spcAft>
                  <a:spcPts val="200"/>
                </a:spcAft>
                <a:tabLst>
                  <a:tab pos="225425" algn="l"/>
                </a:tabLst>
              </a:pPr>
              <a:r>
                <a:rPr lang="en-US" sz="950"/>
                <a:t>High level business strategy</a:t>
              </a:r>
              <a:endParaRPr lang="en-IN" sz="950"/>
            </a:p>
          </p:txBody>
        </p:sp>
        <p:sp>
          <p:nvSpPr>
            <p:cNvPr id="278" name="Rectangle 277">
              <a:extLst>
                <a:ext uri="{FF2B5EF4-FFF2-40B4-BE49-F238E27FC236}">
                  <a16:creationId xmlns:a16="http://schemas.microsoft.com/office/drawing/2014/main" id="{874F72B9-2D7F-41FD-8069-77C56D8DAFAB}"/>
                </a:ext>
              </a:extLst>
            </p:cNvPr>
            <p:cNvSpPr/>
            <p:nvPr/>
          </p:nvSpPr>
          <p:spPr>
            <a:xfrm>
              <a:off x="786239" y="3075342"/>
              <a:ext cx="711866" cy="684622"/>
            </a:xfrm>
            <a:prstGeom prst="rect">
              <a:avLst/>
            </a:prstGeom>
          </p:spPr>
          <p:txBody>
            <a:bodyPr wrap="square" lIns="0" tIns="0" rIns="0" bIns="0" anchor="ctr">
              <a:noAutofit/>
            </a:bodyPr>
            <a:lstStyle/>
            <a:p>
              <a:pPr marL="0" lvl="1" algn="ctr">
                <a:spcBef>
                  <a:spcPts val="100"/>
                </a:spcBef>
                <a:spcAft>
                  <a:spcPts val="200"/>
                </a:spcAft>
                <a:tabLst>
                  <a:tab pos="225425" algn="l"/>
                </a:tabLst>
              </a:pPr>
              <a:r>
                <a:rPr lang="en-US" sz="950" dirty="0"/>
                <a:t>Key stakeholder </a:t>
              </a:r>
              <a:br>
                <a:rPr lang="en-US" sz="950" dirty="0"/>
              </a:br>
              <a:r>
                <a:rPr lang="en-US" sz="950" dirty="0"/>
                <a:t>sign off</a:t>
              </a:r>
              <a:endParaRPr lang="en-IN" sz="950" dirty="0"/>
            </a:p>
          </p:txBody>
        </p:sp>
        <p:sp>
          <p:nvSpPr>
            <p:cNvPr id="280" name="Rectangle 279">
              <a:extLst>
                <a:ext uri="{FF2B5EF4-FFF2-40B4-BE49-F238E27FC236}">
                  <a16:creationId xmlns:a16="http://schemas.microsoft.com/office/drawing/2014/main" id="{3471A227-4E4A-4AEB-A173-F0B67F174DC3}"/>
                </a:ext>
              </a:extLst>
            </p:cNvPr>
            <p:cNvSpPr/>
            <p:nvPr/>
          </p:nvSpPr>
          <p:spPr>
            <a:xfrm>
              <a:off x="1530755" y="3075342"/>
              <a:ext cx="711866" cy="684622"/>
            </a:xfrm>
            <a:prstGeom prst="rect">
              <a:avLst/>
            </a:prstGeom>
          </p:spPr>
          <p:txBody>
            <a:bodyPr wrap="square" lIns="0" tIns="0" rIns="0" bIns="0" anchor="ctr">
              <a:noAutofit/>
            </a:bodyPr>
            <a:lstStyle/>
            <a:p>
              <a:pPr marL="0" lvl="1" algn="ctr">
                <a:spcBef>
                  <a:spcPts val="100"/>
                </a:spcBef>
                <a:spcAft>
                  <a:spcPts val="200"/>
                </a:spcAft>
                <a:tabLst>
                  <a:tab pos="225425" algn="l"/>
                </a:tabLst>
              </a:pPr>
              <a:r>
                <a:rPr lang="en-US" sz="950" dirty="0"/>
                <a:t>Migration funding committed </a:t>
              </a:r>
              <a:endParaRPr lang="en-IN" sz="950" dirty="0"/>
            </a:p>
          </p:txBody>
        </p:sp>
        <p:sp>
          <p:nvSpPr>
            <p:cNvPr id="281" name="Freeform 16">
              <a:extLst>
                <a:ext uri="{FF2B5EF4-FFF2-40B4-BE49-F238E27FC236}">
                  <a16:creationId xmlns:a16="http://schemas.microsoft.com/office/drawing/2014/main" id="{133AB022-284E-4AE4-97BF-FC7E251BE05E}"/>
                </a:ext>
              </a:extLst>
            </p:cNvPr>
            <p:cNvSpPr>
              <a:spLocks/>
            </p:cNvSpPr>
            <p:nvPr/>
          </p:nvSpPr>
          <p:spPr bwMode="auto">
            <a:xfrm>
              <a:off x="1493569" y="5009179"/>
              <a:ext cx="776096" cy="402207"/>
            </a:xfrm>
            <a:custGeom>
              <a:avLst/>
              <a:gdLst>
                <a:gd name="T0" fmla="*/ 64 w 64"/>
                <a:gd name="T1" fmla="*/ 62 h 62"/>
                <a:gd name="T2" fmla="*/ 64 w 64"/>
                <a:gd name="T3" fmla="*/ 0 h 62"/>
                <a:gd name="T4" fmla="*/ 0 w 64"/>
                <a:gd name="T5" fmla="*/ 0 h 62"/>
                <a:gd name="T6" fmla="*/ 0 w 64"/>
                <a:gd name="T7" fmla="*/ 60 h 62"/>
                <a:gd name="T8" fmla="*/ 0 w 64"/>
                <a:gd name="T9" fmla="*/ 62 h 62"/>
                <a:gd name="T10" fmla="*/ 64 w 64"/>
                <a:gd name="T11" fmla="*/ 62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4" h="62">
                  <a:moveTo>
                    <a:pt x="64" y="62"/>
                  </a:moveTo>
                  <a:cubicBezTo>
                    <a:pt x="64" y="0"/>
                    <a:pt x="64" y="0"/>
                    <a:pt x="6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0" y="60"/>
                    <a:pt x="0" y="61"/>
                    <a:pt x="0" y="62"/>
                  </a:cubicBezTo>
                  <a:lnTo>
                    <a:pt x="64" y="62"/>
                  </a:lnTo>
                  <a:close/>
                </a:path>
              </a:pathLst>
            </a:custGeom>
            <a:noFill/>
            <a:ln>
              <a:noFill/>
            </a:ln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1" algn="ctr" fontAlgn="auto">
                <a:lnSpc>
                  <a:spcPct val="100000"/>
                </a:lnSpc>
                <a:spcBef>
                  <a:spcPts val="100"/>
                </a:spcBef>
                <a:spcAft>
                  <a:spcPts val="200"/>
                </a:spcAft>
                <a:buClrTx/>
                <a:buSzTx/>
                <a:buFontTx/>
                <a:buNone/>
                <a:tabLst>
                  <a:tab pos="225425" algn="l"/>
                </a:tabLst>
                <a:defRPr/>
              </a:pPr>
              <a:r>
                <a:rPr lang="en-US" sz="950"/>
                <a:t>Azure operations partner</a:t>
              </a:r>
            </a:p>
          </p:txBody>
        </p:sp>
        <p:sp>
          <p:nvSpPr>
            <p:cNvPr id="282" name="Rectangle 17">
              <a:extLst>
                <a:ext uri="{FF2B5EF4-FFF2-40B4-BE49-F238E27FC236}">
                  <a16:creationId xmlns:a16="http://schemas.microsoft.com/office/drawing/2014/main" id="{C495EE56-58FF-40A9-8480-9DBFEAAE564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493569" y="3970951"/>
              <a:ext cx="776096" cy="402207"/>
            </a:xfrm>
            <a:prstGeom prst="rect">
              <a:avLst/>
            </a:prstGeom>
            <a:noFill/>
            <a:ln>
              <a:noFill/>
            </a:ln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1" algn="ctr" fontAlgn="auto">
                <a:lnSpc>
                  <a:spcPct val="100000"/>
                </a:lnSpc>
                <a:spcBef>
                  <a:spcPts val="100"/>
                </a:spcBef>
                <a:spcAft>
                  <a:spcPts val="200"/>
                </a:spcAft>
                <a:buClrTx/>
                <a:buSzTx/>
                <a:buFontTx/>
                <a:buNone/>
                <a:tabLst>
                  <a:tab pos="225425" algn="l"/>
                </a:tabLst>
                <a:defRPr/>
              </a:pPr>
              <a:r>
                <a:rPr lang="en-US" sz="950"/>
                <a:t>Customer/</a:t>
              </a:r>
              <a:br>
                <a:rPr lang="en-US" sz="950"/>
              </a:br>
              <a:r>
                <a:rPr lang="en-US" sz="950"/>
                <a:t>partner </a:t>
              </a:r>
              <a:br>
                <a:rPr lang="en-US" sz="950"/>
              </a:br>
              <a:r>
                <a:rPr lang="en-US" sz="950"/>
                <a:t>contract</a:t>
              </a:r>
            </a:p>
          </p:txBody>
        </p:sp>
        <p:sp>
          <p:nvSpPr>
            <p:cNvPr id="283" name="Rectangle 18">
              <a:extLst>
                <a:ext uri="{FF2B5EF4-FFF2-40B4-BE49-F238E27FC236}">
                  <a16:creationId xmlns:a16="http://schemas.microsoft.com/office/drawing/2014/main" id="{DCC7EF4E-3773-4E14-A2EB-EFF02C624A6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493569" y="4530706"/>
              <a:ext cx="776096" cy="369332"/>
            </a:xfrm>
            <a:prstGeom prst="rect">
              <a:avLst/>
            </a:prstGeom>
            <a:noFill/>
            <a:ln>
              <a:noFill/>
            </a:ln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1" algn="ctr" fontAlgn="auto">
                <a:lnSpc>
                  <a:spcPct val="100000"/>
                </a:lnSpc>
                <a:spcBef>
                  <a:spcPts val="100"/>
                </a:spcBef>
                <a:spcAft>
                  <a:spcPts val="200"/>
                </a:spcAft>
                <a:buClrTx/>
                <a:buSzTx/>
                <a:buFontTx/>
                <a:buNone/>
                <a:tabLst>
                  <a:tab pos="225425" algn="l"/>
                </a:tabLst>
                <a:defRPr/>
              </a:pPr>
              <a:r>
                <a:rPr lang="en-US" sz="950"/>
                <a:t>Migration partner</a:t>
              </a:r>
            </a:p>
          </p:txBody>
        </p:sp>
        <p:sp>
          <p:nvSpPr>
            <p:cNvPr id="284" name="TextBox 283">
              <a:extLst>
                <a:ext uri="{FF2B5EF4-FFF2-40B4-BE49-F238E27FC236}">
                  <a16:creationId xmlns:a16="http://schemas.microsoft.com/office/drawing/2014/main" id="{E3DA7819-099D-4528-945B-E1A2B6A507DB}"/>
                </a:ext>
              </a:extLst>
            </p:cNvPr>
            <p:cNvSpPr txBox="1"/>
            <p:nvPr/>
          </p:nvSpPr>
          <p:spPr>
            <a:xfrm>
              <a:off x="1526328" y="5558458"/>
              <a:ext cx="711866" cy="564210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marL="0" marR="0" lvl="1" algn="ctr" fontAlgn="auto">
                <a:lnSpc>
                  <a:spcPct val="100000"/>
                </a:lnSpc>
                <a:spcBef>
                  <a:spcPts val="100"/>
                </a:spcBef>
                <a:spcAft>
                  <a:spcPts val="200"/>
                </a:spcAft>
                <a:buClrTx/>
                <a:buSzTx/>
                <a:buFontTx/>
                <a:buNone/>
                <a:tabLst>
                  <a:tab pos="225425" algn="l"/>
                </a:tabLst>
                <a:defRPr/>
              </a:pPr>
              <a:r>
                <a:rPr lang="en-US" sz="950"/>
                <a:t>Migration factory offering</a:t>
              </a:r>
            </a:p>
          </p:txBody>
        </p:sp>
        <p:sp>
          <p:nvSpPr>
            <p:cNvPr id="285" name="TextBox 284">
              <a:extLst>
                <a:ext uri="{FF2B5EF4-FFF2-40B4-BE49-F238E27FC236}">
                  <a16:creationId xmlns:a16="http://schemas.microsoft.com/office/drawing/2014/main" id="{1F37BFB3-A299-4B0B-9219-1AFEC955B3DF}"/>
                </a:ext>
              </a:extLst>
            </p:cNvPr>
            <p:cNvSpPr txBox="1"/>
            <p:nvPr/>
          </p:nvSpPr>
          <p:spPr>
            <a:xfrm>
              <a:off x="2258513" y="5668858"/>
              <a:ext cx="458296" cy="369332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marL="0" marR="0" lvl="1" algn="ctr" fontAlgn="auto">
                <a:lnSpc>
                  <a:spcPct val="100000"/>
                </a:lnSpc>
                <a:spcBef>
                  <a:spcPts val="100"/>
                </a:spcBef>
                <a:spcAft>
                  <a:spcPts val="200"/>
                </a:spcAft>
                <a:buClrTx/>
                <a:buSzTx/>
                <a:buFontTx/>
                <a:buNone/>
                <a:tabLst>
                  <a:tab pos="225425" algn="l"/>
                </a:tabLst>
                <a:defRPr/>
              </a:pPr>
              <a:r>
                <a:rPr lang="en-US" sz="950"/>
                <a:t>Scan</a:t>
              </a:r>
            </a:p>
          </p:txBody>
        </p:sp>
        <p:sp>
          <p:nvSpPr>
            <p:cNvPr id="286" name="TextBox 285">
              <a:extLst>
                <a:ext uri="{FF2B5EF4-FFF2-40B4-BE49-F238E27FC236}">
                  <a16:creationId xmlns:a16="http://schemas.microsoft.com/office/drawing/2014/main" id="{4370203E-4079-43DC-B43B-4E9CA3F4215C}"/>
                </a:ext>
              </a:extLst>
            </p:cNvPr>
            <p:cNvSpPr txBox="1"/>
            <p:nvPr/>
          </p:nvSpPr>
          <p:spPr>
            <a:xfrm>
              <a:off x="2705674" y="5668858"/>
              <a:ext cx="711866" cy="369332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marL="0" marR="0" lvl="1" algn="ctr" fontAlgn="auto">
                <a:lnSpc>
                  <a:spcPct val="100000"/>
                </a:lnSpc>
                <a:spcBef>
                  <a:spcPts val="100"/>
                </a:spcBef>
                <a:spcAft>
                  <a:spcPts val="200"/>
                </a:spcAft>
                <a:buClrTx/>
                <a:buSzTx/>
                <a:buFontTx/>
                <a:buNone/>
                <a:tabLst>
                  <a:tab pos="225425" algn="l"/>
                </a:tabLst>
                <a:defRPr/>
              </a:pPr>
              <a:r>
                <a:rPr lang="en-US" sz="950"/>
                <a:t>Assessment</a:t>
              </a:r>
            </a:p>
          </p:txBody>
        </p:sp>
        <p:sp>
          <p:nvSpPr>
            <p:cNvPr id="288" name="Rectangle 17">
              <a:extLst>
                <a:ext uri="{FF2B5EF4-FFF2-40B4-BE49-F238E27FC236}">
                  <a16:creationId xmlns:a16="http://schemas.microsoft.com/office/drawing/2014/main" id="{8108A2C6-82CF-4468-8B87-7CD33A06BE9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76669" y="4339107"/>
              <a:ext cx="776096" cy="574084"/>
            </a:xfrm>
            <a:prstGeom prst="rect">
              <a:avLst/>
            </a:prstGeom>
            <a:noFill/>
            <a:ln>
              <a:noFill/>
            </a:ln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1" algn="ctr" fontAlgn="auto">
                <a:lnSpc>
                  <a:spcPct val="100000"/>
                </a:lnSpc>
                <a:spcBef>
                  <a:spcPts val="100"/>
                </a:spcBef>
                <a:spcAft>
                  <a:spcPts val="200"/>
                </a:spcAft>
                <a:buClrTx/>
                <a:buSzTx/>
                <a:buFontTx/>
                <a:buNone/>
                <a:tabLst>
                  <a:tab pos="225425" algn="l"/>
                </a:tabLst>
                <a:defRPr/>
              </a:pPr>
              <a:r>
                <a:rPr lang="en-US" sz="950"/>
                <a:t>Pilot applications and VM identification</a:t>
              </a:r>
            </a:p>
          </p:txBody>
        </p:sp>
        <p:sp>
          <p:nvSpPr>
            <p:cNvPr id="289" name="Rectangle 18">
              <a:extLst>
                <a:ext uri="{FF2B5EF4-FFF2-40B4-BE49-F238E27FC236}">
                  <a16:creationId xmlns:a16="http://schemas.microsoft.com/office/drawing/2014/main" id="{BF8EB612-D0B7-42AA-A1F4-A6C062EBB23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77767" y="5005298"/>
              <a:ext cx="769114" cy="435505"/>
            </a:xfrm>
            <a:prstGeom prst="rect">
              <a:avLst/>
            </a:prstGeom>
            <a:noFill/>
            <a:ln>
              <a:noFill/>
            </a:ln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1" algn="ctr" fontAlgn="auto">
                <a:lnSpc>
                  <a:spcPct val="100000"/>
                </a:lnSpc>
                <a:spcBef>
                  <a:spcPts val="100"/>
                </a:spcBef>
                <a:spcAft>
                  <a:spcPts val="200"/>
                </a:spcAft>
                <a:buClrTx/>
                <a:buSzTx/>
                <a:buFontTx/>
                <a:buNone/>
                <a:tabLst>
                  <a:tab pos="225425" algn="l"/>
                </a:tabLst>
                <a:defRPr/>
              </a:pPr>
              <a:r>
                <a:rPr lang="en-US" sz="950"/>
                <a:t>Migration targeted scope</a:t>
              </a:r>
            </a:p>
          </p:txBody>
        </p:sp>
        <p:sp>
          <p:nvSpPr>
            <p:cNvPr id="295" name="Rectangle 294">
              <a:extLst>
                <a:ext uri="{FF2B5EF4-FFF2-40B4-BE49-F238E27FC236}">
                  <a16:creationId xmlns:a16="http://schemas.microsoft.com/office/drawing/2014/main" id="{FEA16CD2-DB21-4698-94DD-B780015F3164}"/>
                </a:ext>
              </a:extLst>
            </p:cNvPr>
            <p:cNvSpPr/>
            <p:nvPr/>
          </p:nvSpPr>
          <p:spPr>
            <a:xfrm>
              <a:off x="3476668" y="2916277"/>
              <a:ext cx="776096" cy="469526"/>
            </a:xfrm>
            <a:prstGeom prst="rect">
              <a:avLst/>
            </a:prstGeom>
            <a:solidFill>
              <a:schemeClr val="accent3"/>
            </a:solidFill>
          </p:spPr>
          <p:txBody>
            <a:bodyPr wrap="square" lIns="0" tIns="0" rIns="0" bIns="0" anchor="ctr">
              <a:noAutofit/>
            </a:bodyPr>
            <a:lstStyle/>
            <a:p>
              <a:pPr marL="0" lvl="1" algn="ctr">
                <a:spcBef>
                  <a:spcPts val="100"/>
                </a:spcBef>
                <a:spcAft>
                  <a:spcPts val="200"/>
                </a:spcAft>
                <a:tabLst>
                  <a:tab pos="225425" algn="l"/>
                </a:tabLst>
              </a:pPr>
              <a:r>
                <a:rPr lang="en-US" sz="950"/>
                <a:t>Project management resources</a:t>
              </a:r>
            </a:p>
          </p:txBody>
        </p:sp>
        <p:sp>
          <p:nvSpPr>
            <p:cNvPr id="296" name="Rectangle 295">
              <a:extLst>
                <a:ext uri="{FF2B5EF4-FFF2-40B4-BE49-F238E27FC236}">
                  <a16:creationId xmlns:a16="http://schemas.microsoft.com/office/drawing/2014/main" id="{BBC45C29-5EA5-4130-998D-A9662FC686C8}"/>
                </a:ext>
              </a:extLst>
            </p:cNvPr>
            <p:cNvSpPr/>
            <p:nvPr/>
          </p:nvSpPr>
          <p:spPr>
            <a:xfrm>
              <a:off x="3476669" y="2543478"/>
              <a:ext cx="776096" cy="369332"/>
            </a:xfrm>
            <a:prstGeom prst="rect">
              <a:avLst/>
            </a:prstGeom>
          </p:spPr>
          <p:txBody>
            <a:bodyPr wrap="square" lIns="0" tIns="0" rIns="0" bIns="0" anchor="ctr">
              <a:noAutofit/>
            </a:bodyPr>
            <a:lstStyle/>
            <a:p>
              <a:pPr marL="0" lvl="1" algn="ctr">
                <a:spcBef>
                  <a:spcPts val="100"/>
                </a:spcBef>
                <a:spcAft>
                  <a:spcPts val="200"/>
                </a:spcAft>
                <a:tabLst>
                  <a:tab pos="225425" algn="l"/>
                </a:tabLst>
              </a:pPr>
              <a:r>
                <a:rPr lang="en-US" sz="950"/>
                <a:t>Technical resources</a:t>
              </a:r>
            </a:p>
          </p:txBody>
        </p:sp>
        <p:sp>
          <p:nvSpPr>
            <p:cNvPr id="297" name="Rectangle 296">
              <a:extLst>
                <a:ext uri="{FF2B5EF4-FFF2-40B4-BE49-F238E27FC236}">
                  <a16:creationId xmlns:a16="http://schemas.microsoft.com/office/drawing/2014/main" id="{0593FBB1-9D1D-4EE9-995D-E6C48F5F85AC}"/>
                </a:ext>
              </a:extLst>
            </p:cNvPr>
            <p:cNvSpPr/>
            <p:nvPr/>
          </p:nvSpPr>
          <p:spPr>
            <a:xfrm>
              <a:off x="3476669" y="2248819"/>
              <a:ext cx="776096" cy="291765"/>
            </a:xfrm>
            <a:prstGeom prst="rect">
              <a:avLst/>
            </a:prstGeom>
          </p:spPr>
          <p:txBody>
            <a:bodyPr wrap="square" lIns="0" tIns="0" rIns="0" bIns="0" anchor="ctr">
              <a:noAutofit/>
            </a:bodyPr>
            <a:lstStyle/>
            <a:p>
              <a:pPr marL="0" lvl="1" algn="ctr">
                <a:spcBef>
                  <a:spcPts val="100"/>
                </a:spcBef>
                <a:spcAft>
                  <a:spcPts val="200"/>
                </a:spcAft>
                <a:tabLst>
                  <a:tab pos="225425" algn="l"/>
                </a:tabLst>
              </a:pPr>
              <a:r>
                <a:rPr lang="en-US" sz="950"/>
                <a:t>Migration plan</a:t>
              </a:r>
            </a:p>
          </p:txBody>
        </p:sp>
        <p:sp>
          <p:nvSpPr>
            <p:cNvPr id="304" name="Rectangle 303">
              <a:extLst>
                <a:ext uri="{FF2B5EF4-FFF2-40B4-BE49-F238E27FC236}">
                  <a16:creationId xmlns:a16="http://schemas.microsoft.com/office/drawing/2014/main" id="{08AAD164-0429-4293-89B1-0517D6D19DE6}"/>
                </a:ext>
              </a:extLst>
            </p:cNvPr>
            <p:cNvSpPr/>
            <p:nvPr/>
          </p:nvSpPr>
          <p:spPr>
            <a:xfrm>
              <a:off x="3436241" y="1544014"/>
              <a:ext cx="857223" cy="591340"/>
            </a:xfrm>
            <a:prstGeom prst="rect">
              <a:avLst/>
            </a:prstGeom>
          </p:spPr>
          <p:txBody>
            <a:bodyPr wrap="square" lIns="0" tIns="0" rIns="0" bIns="0" anchor="ctr">
              <a:noAutofit/>
            </a:bodyPr>
            <a:lstStyle/>
            <a:p>
              <a:pPr marL="0" lvl="1" algn="ctr">
                <a:spcBef>
                  <a:spcPts val="100"/>
                </a:spcBef>
                <a:spcAft>
                  <a:spcPts val="200"/>
                </a:spcAft>
                <a:tabLst>
                  <a:tab pos="225425" algn="l"/>
                </a:tabLst>
              </a:pPr>
              <a:r>
                <a:rPr lang="en-US" sz="950" dirty="0"/>
                <a:t>Specific migration </a:t>
              </a:r>
              <a:br>
                <a:rPr lang="en-US" sz="950" dirty="0"/>
              </a:br>
              <a:r>
                <a:rPr lang="en-US" sz="950" dirty="0"/>
                <a:t>workloads committed</a:t>
              </a:r>
            </a:p>
          </p:txBody>
        </p:sp>
        <p:sp>
          <p:nvSpPr>
            <p:cNvPr id="305" name="Rectangle 304">
              <a:extLst>
                <a:ext uri="{FF2B5EF4-FFF2-40B4-BE49-F238E27FC236}">
                  <a16:creationId xmlns:a16="http://schemas.microsoft.com/office/drawing/2014/main" id="{F67A5BD9-7A0C-4820-8549-67CACE929823}"/>
                </a:ext>
              </a:extLst>
            </p:cNvPr>
            <p:cNvSpPr/>
            <p:nvPr/>
          </p:nvSpPr>
          <p:spPr>
            <a:xfrm>
              <a:off x="4335785" y="1514197"/>
              <a:ext cx="711866" cy="591340"/>
            </a:xfrm>
            <a:prstGeom prst="rect">
              <a:avLst/>
            </a:prstGeom>
          </p:spPr>
          <p:txBody>
            <a:bodyPr wrap="square" lIns="0" tIns="0" rIns="0" bIns="0" anchor="ctr">
              <a:noAutofit/>
            </a:bodyPr>
            <a:lstStyle/>
            <a:p>
              <a:pPr marL="0" lvl="1" algn="ctr">
                <a:spcBef>
                  <a:spcPts val="100"/>
                </a:spcBef>
                <a:spcAft>
                  <a:spcPts val="200"/>
                </a:spcAft>
                <a:tabLst>
                  <a:tab pos="225425" algn="l"/>
                </a:tabLst>
              </a:pPr>
              <a:r>
                <a:rPr lang="en-US" sz="950"/>
                <a:t>Azure Foundations</a:t>
              </a:r>
            </a:p>
          </p:txBody>
        </p:sp>
        <p:sp>
          <p:nvSpPr>
            <p:cNvPr id="306" name="Rectangle 305">
              <a:extLst>
                <a:ext uri="{FF2B5EF4-FFF2-40B4-BE49-F238E27FC236}">
                  <a16:creationId xmlns:a16="http://schemas.microsoft.com/office/drawing/2014/main" id="{C4326E40-C1B4-4F18-A286-1F8B2D0C6D97}"/>
                </a:ext>
              </a:extLst>
            </p:cNvPr>
            <p:cNvSpPr/>
            <p:nvPr/>
          </p:nvSpPr>
          <p:spPr>
            <a:xfrm>
              <a:off x="5097634" y="1514197"/>
              <a:ext cx="711866" cy="591340"/>
            </a:xfrm>
            <a:prstGeom prst="rect">
              <a:avLst/>
            </a:prstGeom>
          </p:spPr>
          <p:txBody>
            <a:bodyPr wrap="square" lIns="0" tIns="0" rIns="0" bIns="0" anchor="ctr">
              <a:noAutofit/>
            </a:bodyPr>
            <a:lstStyle/>
            <a:p>
              <a:pPr marL="0" lvl="1" algn="ctr">
                <a:spcBef>
                  <a:spcPts val="100"/>
                </a:spcBef>
                <a:spcAft>
                  <a:spcPts val="200"/>
                </a:spcAft>
                <a:tabLst>
                  <a:tab pos="225425" algn="l"/>
                </a:tabLst>
              </a:pPr>
              <a:r>
                <a:rPr lang="en-US" sz="950"/>
                <a:t>Migration training</a:t>
              </a:r>
            </a:p>
          </p:txBody>
        </p:sp>
        <p:sp>
          <p:nvSpPr>
            <p:cNvPr id="307" name="Rectangle 306">
              <a:extLst>
                <a:ext uri="{FF2B5EF4-FFF2-40B4-BE49-F238E27FC236}">
                  <a16:creationId xmlns:a16="http://schemas.microsoft.com/office/drawing/2014/main" id="{29563319-4C88-47EA-8556-EEA002B8456F}"/>
                </a:ext>
              </a:extLst>
            </p:cNvPr>
            <p:cNvSpPr/>
            <p:nvPr/>
          </p:nvSpPr>
          <p:spPr>
            <a:xfrm>
              <a:off x="5549701" y="2016047"/>
              <a:ext cx="786516" cy="369332"/>
            </a:xfrm>
            <a:prstGeom prst="rect">
              <a:avLst/>
            </a:prstGeom>
          </p:spPr>
          <p:txBody>
            <a:bodyPr wrap="square" lIns="0" tIns="0" rIns="0" bIns="0" anchor="ctr">
              <a:noAutofit/>
            </a:bodyPr>
            <a:lstStyle/>
            <a:p>
              <a:pPr marL="0" lvl="1" algn="ctr">
                <a:spcBef>
                  <a:spcPts val="100"/>
                </a:spcBef>
                <a:spcAft>
                  <a:spcPts val="200"/>
                </a:spcAft>
                <a:tabLst>
                  <a:tab pos="225425" algn="l"/>
                </a:tabLst>
              </a:pPr>
              <a:r>
                <a:rPr lang="en-US" sz="950" spc="-30"/>
                <a:t>Azure administration</a:t>
              </a:r>
            </a:p>
          </p:txBody>
        </p:sp>
        <p:sp>
          <p:nvSpPr>
            <p:cNvPr id="308" name="Rectangle 307">
              <a:extLst>
                <a:ext uri="{FF2B5EF4-FFF2-40B4-BE49-F238E27FC236}">
                  <a16:creationId xmlns:a16="http://schemas.microsoft.com/office/drawing/2014/main" id="{FE402A5B-9BEF-419B-97E5-03D434D66357}"/>
                </a:ext>
              </a:extLst>
            </p:cNvPr>
            <p:cNvSpPr/>
            <p:nvPr/>
          </p:nvSpPr>
          <p:spPr>
            <a:xfrm>
              <a:off x="5564980" y="2433677"/>
              <a:ext cx="776096" cy="586566"/>
            </a:xfrm>
            <a:prstGeom prst="rect">
              <a:avLst/>
            </a:prstGeom>
            <a:noFill/>
          </p:spPr>
          <p:txBody>
            <a:bodyPr wrap="square" lIns="0" tIns="0" rIns="0" bIns="0" anchor="ctr">
              <a:noAutofit/>
            </a:bodyPr>
            <a:lstStyle/>
            <a:p>
              <a:pPr marL="0" lvl="1" algn="ctr">
                <a:spcBef>
                  <a:spcPts val="100"/>
                </a:spcBef>
                <a:spcAft>
                  <a:spcPts val="200"/>
                </a:spcAft>
                <a:tabLst>
                  <a:tab pos="225425" algn="l"/>
                </a:tabLst>
              </a:pPr>
              <a:r>
                <a:rPr lang="en-US" sz="950"/>
                <a:t>Cloud Strategy</a:t>
              </a:r>
              <a:br>
                <a:rPr lang="en-US" sz="950"/>
              </a:br>
              <a:r>
                <a:rPr lang="en-US" sz="950"/>
                <a:t>Team In </a:t>
              </a:r>
              <a:br>
                <a:rPr lang="en-US" sz="950"/>
              </a:br>
              <a:r>
                <a:rPr lang="en-US" sz="950"/>
                <a:t>Place (CDE)</a:t>
              </a:r>
            </a:p>
          </p:txBody>
        </p:sp>
        <p:sp>
          <p:nvSpPr>
            <p:cNvPr id="309" name="Rectangle 308">
              <a:extLst>
                <a:ext uri="{FF2B5EF4-FFF2-40B4-BE49-F238E27FC236}">
                  <a16:creationId xmlns:a16="http://schemas.microsoft.com/office/drawing/2014/main" id="{E23ABFC0-0D2D-4BF7-B93C-C206FCF17DA7}"/>
                </a:ext>
              </a:extLst>
            </p:cNvPr>
            <p:cNvSpPr/>
            <p:nvPr/>
          </p:nvSpPr>
          <p:spPr>
            <a:xfrm>
              <a:off x="5555041" y="3060794"/>
              <a:ext cx="776096" cy="369332"/>
            </a:xfrm>
            <a:prstGeom prst="rect">
              <a:avLst/>
            </a:prstGeom>
          </p:spPr>
          <p:txBody>
            <a:bodyPr wrap="square" lIns="0" tIns="0" rIns="0" bIns="0" anchor="ctr">
              <a:noAutofit/>
            </a:bodyPr>
            <a:lstStyle/>
            <a:p>
              <a:pPr marL="0" lvl="1" algn="ctr">
                <a:spcBef>
                  <a:spcPts val="100"/>
                </a:spcBef>
                <a:spcAft>
                  <a:spcPts val="200"/>
                </a:spcAft>
                <a:tabLst>
                  <a:tab pos="225425" algn="l"/>
                </a:tabLst>
              </a:pPr>
              <a:r>
                <a:rPr lang="en-US" sz="950">
                  <a:solidFill>
                    <a:schemeClr val="bg1"/>
                  </a:solidFill>
                </a:rPr>
                <a:t>Subscription design</a:t>
              </a:r>
            </a:p>
          </p:txBody>
        </p:sp>
        <p:sp>
          <p:nvSpPr>
            <p:cNvPr id="310" name="Rectangle 309">
              <a:extLst>
                <a:ext uri="{FF2B5EF4-FFF2-40B4-BE49-F238E27FC236}">
                  <a16:creationId xmlns:a16="http://schemas.microsoft.com/office/drawing/2014/main" id="{B41F77CE-E336-46B4-AD12-E301AE99F976}"/>
                </a:ext>
              </a:extLst>
            </p:cNvPr>
            <p:cNvSpPr/>
            <p:nvPr/>
          </p:nvSpPr>
          <p:spPr>
            <a:xfrm>
              <a:off x="5555041" y="3463901"/>
              <a:ext cx="776096" cy="256136"/>
            </a:xfrm>
            <a:prstGeom prst="rect">
              <a:avLst/>
            </a:prstGeom>
          </p:spPr>
          <p:txBody>
            <a:bodyPr wrap="square" lIns="0" tIns="0" rIns="0" bIns="0" anchor="ctr">
              <a:noAutofit/>
            </a:bodyPr>
            <a:lstStyle/>
            <a:p>
              <a:pPr marL="0" lvl="1" algn="ctr">
                <a:spcBef>
                  <a:spcPts val="100"/>
                </a:spcBef>
                <a:spcAft>
                  <a:spcPts val="200"/>
                </a:spcAft>
                <a:tabLst>
                  <a:tab pos="225425" algn="l"/>
                </a:tabLst>
              </a:pPr>
              <a:r>
                <a:rPr lang="en-US" sz="950">
                  <a:solidFill>
                    <a:schemeClr val="bg1"/>
                  </a:solidFill>
                </a:rPr>
                <a:t>Governance</a:t>
              </a:r>
            </a:p>
          </p:txBody>
        </p:sp>
        <p:sp>
          <p:nvSpPr>
            <p:cNvPr id="311" name="Rectangle 310">
              <a:extLst>
                <a:ext uri="{FF2B5EF4-FFF2-40B4-BE49-F238E27FC236}">
                  <a16:creationId xmlns:a16="http://schemas.microsoft.com/office/drawing/2014/main" id="{A70905CA-64C0-433B-82A9-F6BFC6DC309D}"/>
                </a:ext>
              </a:extLst>
            </p:cNvPr>
            <p:cNvSpPr/>
            <p:nvPr/>
          </p:nvSpPr>
          <p:spPr>
            <a:xfrm>
              <a:off x="5555041" y="3762387"/>
              <a:ext cx="776096" cy="271490"/>
            </a:xfrm>
            <a:prstGeom prst="rect">
              <a:avLst/>
            </a:prstGeom>
          </p:spPr>
          <p:txBody>
            <a:bodyPr wrap="square" lIns="0" tIns="0" rIns="0" bIns="0" anchor="ctr">
              <a:noAutofit/>
            </a:bodyPr>
            <a:lstStyle/>
            <a:p>
              <a:pPr marL="0" lvl="1" algn="ctr">
                <a:spcBef>
                  <a:spcPts val="100"/>
                </a:spcBef>
                <a:spcAft>
                  <a:spcPts val="200"/>
                </a:spcAft>
                <a:tabLst>
                  <a:tab pos="225425" algn="l"/>
                </a:tabLst>
              </a:pPr>
              <a:r>
                <a:rPr lang="en-US" sz="950">
                  <a:solidFill>
                    <a:schemeClr val="bg1"/>
                  </a:solidFill>
                </a:rPr>
                <a:t>Networking</a:t>
              </a:r>
            </a:p>
          </p:txBody>
        </p:sp>
        <p:sp>
          <p:nvSpPr>
            <p:cNvPr id="312" name="Rectangle 17">
              <a:extLst>
                <a:ext uri="{FF2B5EF4-FFF2-40B4-BE49-F238E27FC236}">
                  <a16:creationId xmlns:a16="http://schemas.microsoft.com/office/drawing/2014/main" id="{A99BFD94-E4E9-4463-9F03-3B2DF6DEED0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555041" y="4090859"/>
              <a:ext cx="776096" cy="290490"/>
            </a:xfrm>
            <a:prstGeom prst="rect">
              <a:avLst/>
            </a:prstGeom>
            <a:noFill/>
            <a:ln>
              <a:noFill/>
            </a:ln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1" algn="ctr" fontAlgn="auto">
                <a:lnSpc>
                  <a:spcPct val="100000"/>
                </a:lnSpc>
                <a:spcBef>
                  <a:spcPts val="100"/>
                </a:spcBef>
                <a:spcAft>
                  <a:spcPts val="200"/>
                </a:spcAft>
                <a:buClrTx/>
                <a:buSzTx/>
                <a:buFontTx/>
                <a:buNone/>
                <a:tabLst>
                  <a:tab pos="225425" algn="l"/>
                </a:tabLst>
                <a:defRPr/>
              </a:pPr>
              <a:r>
                <a:rPr lang="en-US" sz="950">
                  <a:solidFill>
                    <a:schemeClr val="bg1"/>
                  </a:solidFill>
                </a:rPr>
                <a:t>Identity</a:t>
              </a:r>
            </a:p>
          </p:txBody>
        </p:sp>
        <p:sp>
          <p:nvSpPr>
            <p:cNvPr id="314" name="TextBox 313">
              <a:extLst>
                <a:ext uri="{FF2B5EF4-FFF2-40B4-BE49-F238E27FC236}">
                  <a16:creationId xmlns:a16="http://schemas.microsoft.com/office/drawing/2014/main" id="{894FC6EC-DD68-4208-9D5E-C9459EF6D990}"/>
                </a:ext>
              </a:extLst>
            </p:cNvPr>
            <p:cNvSpPr txBox="1"/>
            <p:nvPr/>
          </p:nvSpPr>
          <p:spPr>
            <a:xfrm>
              <a:off x="6980984" y="4821628"/>
              <a:ext cx="618941" cy="369332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marL="0" marR="0" lvl="1" algn="ctr" fontAlgn="auto">
                <a:lnSpc>
                  <a:spcPct val="100000"/>
                </a:lnSpc>
                <a:spcBef>
                  <a:spcPts val="100"/>
                </a:spcBef>
                <a:spcAft>
                  <a:spcPts val="200"/>
                </a:spcAft>
                <a:buClrTx/>
                <a:buSzTx/>
                <a:buFontTx/>
                <a:buNone/>
                <a:tabLst>
                  <a:tab pos="225425" algn="l"/>
                </a:tabLst>
                <a:defRPr/>
              </a:pPr>
              <a:r>
                <a:rPr lang="en-US" sz="950"/>
                <a:t>Migration execution</a:t>
              </a:r>
            </a:p>
          </p:txBody>
        </p:sp>
        <p:sp>
          <p:nvSpPr>
            <p:cNvPr id="315" name="Freeform 16">
              <a:extLst>
                <a:ext uri="{FF2B5EF4-FFF2-40B4-BE49-F238E27FC236}">
                  <a16:creationId xmlns:a16="http://schemas.microsoft.com/office/drawing/2014/main" id="{290F6572-8E53-4630-A670-759D6B9E3016}"/>
                </a:ext>
              </a:extLst>
            </p:cNvPr>
            <p:cNvSpPr>
              <a:spLocks/>
            </p:cNvSpPr>
            <p:nvPr/>
          </p:nvSpPr>
          <p:spPr bwMode="auto">
            <a:xfrm>
              <a:off x="6335505" y="4827204"/>
              <a:ext cx="543991" cy="369332"/>
            </a:xfrm>
            <a:custGeom>
              <a:avLst/>
              <a:gdLst>
                <a:gd name="T0" fmla="*/ 64 w 64"/>
                <a:gd name="T1" fmla="*/ 62 h 62"/>
                <a:gd name="T2" fmla="*/ 64 w 64"/>
                <a:gd name="T3" fmla="*/ 0 h 62"/>
                <a:gd name="T4" fmla="*/ 0 w 64"/>
                <a:gd name="T5" fmla="*/ 0 h 62"/>
                <a:gd name="T6" fmla="*/ 0 w 64"/>
                <a:gd name="T7" fmla="*/ 60 h 62"/>
                <a:gd name="T8" fmla="*/ 0 w 64"/>
                <a:gd name="T9" fmla="*/ 62 h 62"/>
                <a:gd name="T10" fmla="*/ 64 w 64"/>
                <a:gd name="T11" fmla="*/ 62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4" h="62">
                  <a:moveTo>
                    <a:pt x="64" y="62"/>
                  </a:moveTo>
                  <a:cubicBezTo>
                    <a:pt x="64" y="0"/>
                    <a:pt x="64" y="0"/>
                    <a:pt x="6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0" y="60"/>
                    <a:pt x="0" y="61"/>
                    <a:pt x="0" y="62"/>
                  </a:cubicBezTo>
                  <a:lnTo>
                    <a:pt x="64" y="62"/>
                  </a:lnTo>
                  <a:close/>
                </a:path>
              </a:pathLst>
            </a:custGeom>
            <a:noFill/>
            <a:ln>
              <a:noFill/>
            </a:ln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1" algn="ctr" fontAlgn="auto">
                <a:lnSpc>
                  <a:spcPct val="100000"/>
                </a:lnSpc>
                <a:spcBef>
                  <a:spcPts val="100"/>
                </a:spcBef>
                <a:spcAft>
                  <a:spcPts val="200"/>
                </a:spcAft>
                <a:buClrTx/>
                <a:buSzTx/>
                <a:buFontTx/>
                <a:buNone/>
                <a:tabLst>
                  <a:tab pos="225425" algn="l"/>
                </a:tabLst>
                <a:defRPr/>
              </a:pPr>
              <a:r>
                <a:rPr lang="en-US" sz="950"/>
                <a:t>e2e </a:t>
              </a:r>
              <a:br>
                <a:rPr lang="en-US" sz="950"/>
              </a:br>
              <a:r>
                <a:rPr lang="en-US" sz="950"/>
                <a:t>test</a:t>
              </a:r>
            </a:p>
          </p:txBody>
        </p:sp>
        <p:sp>
          <p:nvSpPr>
            <p:cNvPr id="316" name="TextBox 315">
              <a:extLst>
                <a:ext uri="{FF2B5EF4-FFF2-40B4-BE49-F238E27FC236}">
                  <a16:creationId xmlns:a16="http://schemas.microsoft.com/office/drawing/2014/main" id="{8821C4A3-D89E-4A98-A39C-71AA6507CC51}"/>
                </a:ext>
              </a:extLst>
            </p:cNvPr>
            <p:cNvSpPr txBox="1"/>
            <p:nvPr/>
          </p:nvSpPr>
          <p:spPr>
            <a:xfrm>
              <a:off x="7695863" y="4821628"/>
              <a:ext cx="672949" cy="369332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marL="0" marR="0" lvl="1" algn="ctr" fontAlgn="auto">
                <a:lnSpc>
                  <a:spcPct val="100000"/>
                </a:lnSpc>
                <a:spcBef>
                  <a:spcPts val="100"/>
                </a:spcBef>
                <a:spcAft>
                  <a:spcPts val="200"/>
                </a:spcAft>
                <a:buClrTx/>
                <a:buSzTx/>
                <a:buFontTx/>
                <a:buNone/>
                <a:tabLst>
                  <a:tab pos="225425" algn="l"/>
                </a:tabLst>
                <a:defRPr/>
              </a:pPr>
              <a:r>
                <a:rPr lang="en-US" sz="950"/>
                <a:t>Migration support</a:t>
              </a:r>
            </a:p>
          </p:txBody>
        </p:sp>
        <p:sp>
          <p:nvSpPr>
            <p:cNvPr id="321" name="TextBox 320">
              <a:extLst>
                <a:ext uri="{FF2B5EF4-FFF2-40B4-BE49-F238E27FC236}">
                  <a16:creationId xmlns:a16="http://schemas.microsoft.com/office/drawing/2014/main" id="{FBBF9499-5ED7-4027-A093-7CF1452430AF}"/>
                </a:ext>
              </a:extLst>
            </p:cNvPr>
            <p:cNvSpPr txBox="1"/>
            <p:nvPr/>
          </p:nvSpPr>
          <p:spPr>
            <a:xfrm>
              <a:off x="8136807" y="4164941"/>
              <a:ext cx="776096" cy="518159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marL="0" marR="0" lvl="1" algn="ctr" fontAlgn="auto">
                <a:lnSpc>
                  <a:spcPct val="100000"/>
                </a:lnSpc>
                <a:spcBef>
                  <a:spcPts val="100"/>
                </a:spcBef>
                <a:spcAft>
                  <a:spcPts val="200"/>
                </a:spcAft>
                <a:buClrTx/>
                <a:buSzTx/>
                <a:buFontTx/>
                <a:buNone/>
                <a:tabLst>
                  <a:tab pos="225425" algn="l"/>
                </a:tabLst>
                <a:defRPr/>
              </a:pPr>
              <a:r>
                <a:rPr lang="en-US" sz="950"/>
                <a:t>Shared responsibility </a:t>
              </a:r>
              <a:br>
                <a:rPr lang="en-US" sz="950"/>
              </a:br>
              <a:r>
                <a:rPr lang="en-US" sz="950"/>
                <a:t>model understood</a:t>
              </a:r>
            </a:p>
          </p:txBody>
        </p:sp>
        <p:sp>
          <p:nvSpPr>
            <p:cNvPr id="322" name="TextBox 321">
              <a:extLst>
                <a:ext uri="{FF2B5EF4-FFF2-40B4-BE49-F238E27FC236}">
                  <a16:creationId xmlns:a16="http://schemas.microsoft.com/office/drawing/2014/main" id="{A2977D9B-F1BE-43FA-A06D-76025860ECA3}"/>
                </a:ext>
              </a:extLst>
            </p:cNvPr>
            <p:cNvSpPr txBox="1"/>
            <p:nvPr/>
          </p:nvSpPr>
          <p:spPr>
            <a:xfrm>
              <a:off x="8138809" y="3715907"/>
              <a:ext cx="776096" cy="369332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marL="0" marR="0" lvl="1" algn="ctr" fontAlgn="auto">
                <a:lnSpc>
                  <a:spcPct val="100000"/>
                </a:lnSpc>
                <a:spcBef>
                  <a:spcPts val="100"/>
                </a:spcBef>
                <a:spcAft>
                  <a:spcPts val="200"/>
                </a:spcAft>
                <a:buClrTx/>
                <a:buSzTx/>
                <a:buFontTx/>
                <a:buNone/>
                <a:tabLst>
                  <a:tab pos="225425" algn="l"/>
                </a:tabLst>
                <a:defRPr/>
              </a:pPr>
              <a:r>
                <a:rPr lang="en-US" sz="950"/>
                <a:t>Security RACI</a:t>
              </a:r>
            </a:p>
          </p:txBody>
        </p:sp>
        <p:sp>
          <p:nvSpPr>
            <p:cNvPr id="327" name="Freeform 16">
              <a:extLst>
                <a:ext uri="{FF2B5EF4-FFF2-40B4-BE49-F238E27FC236}">
                  <a16:creationId xmlns:a16="http://schemas.microsoft.com/office/drawing/2014/main" id="{37749214-95FD-4CD4-A562-332D9BAF7A57}"/>
                </a:ext>
              </a:extLst>
            </p:cNvPr>
            <p:cNvSpPr>
              <a:spLocks/>
            </p:cNvSpPr>
            <p:nvPr/>
          </p:nvSpPr>
          <p:spPr bwMode="auto">
            <a:xfrm>
              <a:off x="8136807" y="3273167"/>
              <a:ext cx="776096" cy="369332"/>
            </a:xfrm>
            <a:custGeom>
              <a:avLst/>
              <a:gdLst>
                <a:gd name="T0" fmla="*/ 64 w 64"/>
                <a:gd name="T1" fmla="*/ 62 h 62"/>
                <a:gd name="T2" fmla="*/ 64 w 64"/>
                <a:gd name="T3" fmla="*/ 0 h 62"/>
                <a:gd name="T4" fmla="*/ 0 w 64"/>
                <a:gd name="T5" fmla="*/ 0 h 62"/>
                <a:gd name="T6" fmla="*/ 0 w 64"/>
                <a:gd name="T7" fmla="*/ 60 h 62"/>
                <a:gd name="T8" fmla="*/ 0 w 64"/>
                <a:gd name="T9" fmla="*/ 62 h 62"/>
                <a:gd name="T10" fmla="*/ 64 w 64"/>
                <a:gd name="T11" fmla="*/ 62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4" h="62">
                  <a:moveTo>
                    <a:pt x="64" y="62"/>
                  </a:moveTo>
                  <a:cubicBezTo>
                    <a:pt x="64" y="0"/>
                    <a:pt x="64" y="0"/>
                    <a:pt x="6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0" y="60"/>
                    <a:pt x="0" y="61"/>
                    <a:pt x="0" y="62"/>
                  </a:cubicBezTo>
                  <a:lnTo>
                    <a:pt x="64" y="62"/>
                  </a:lnTo>
                  <a:close/>
                </a:path>
              </a:pathLst>
            </a:custGeom>
            <a:solidFill>
              <a:srgbClr val="88CBFF"/>
            </a:solidFill>
            <a:ln>
              <a:noFill/>
            </a:ln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1" algn="ctr" fontAlgn="auto">
                <a:lnSpc>
                  <a:spcPct val="100000"/>
                </a:lnSpc>
                <a:spcBef>
                  <a:spcPts val="100"/>
                </a:spcBef>
                <a:spcAft>
                  <a:spcPts val="200"/>
                </a:spcAft>
                <a:buClrTx/>
                <a:buSzTx/>
                <a:buFontTx/>
                <a:buNone/>
                <a:tabLst>
                  <a:tab pos="225425" algn="l"/>
                </a:tabLst>
                <a:defRPr/>
              </a:pPr>
              <a:r>
                <a:rPr lang="en-US" sz="950"/>
                <a:t>Identity and access </a:t>
              </a:r>
              <a:br>
                <a:rPr lang="en-US" sz="950"/>
              </a:br>
              <a:r>
                <a:rPr lang="en-US" sz="950"/>
                <a:t>management</a:t>
              </a:r>
            </a:p>
          </p:txBody>
        </p:sp>
        <p:sp>
          <p:nvSpPr>
            <p:cNvPr id="329" name="Rectangle 18">
              <a:extLst>
                <a:ext uri="{FF2B5EF4-FFF2-40B4-BE49-F238E27FC236}">
                  <a16:creationId xmlns:a16="http://schemas.microsoft.com/office/drawing/2014/main" id="{B1AF7B99-E958-4741-BD1B-DE998CB98BD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148102" y="2827233"/>
              <a:ext cx="776096" cy="369332"/>
            </a:xfrm>
            <a:prstGeom prst="rect">
              <a:avLst/>
            </a:prstGeom>
            <a:noFill/>
            <a:ln>
              <a:noFill/>
            </a:ln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1" algn="ctr" fontAlgn="auto">
                <a:lnSpc>
                  <a:spcPct val="100000"/>
                </a:lnSpc>
                <a:spcBef>
                  <a:spcPts val="100"/>
                </a:spcBef>
                <a:spcAft>
                  <a:spcPts val="200"/>
                </a:spcAft>
                <a:buClrTx/>
                <a:buSzTx/>
                <a:buFontTx/>
                <a:buNone/>
                <a:tabLst>
                  <a:tab pos="225425" algn="l"/>
                </a:tabLst>
                <a:defRPr/>
              </a:pPr>
              <a:r>
                <a:rPr lang="en-US" sz="950" dirty="0"/>
                <a:t>Logging and monitoring</a:t>
              </a:r>
            </a:p>
          </p:txBody>
        </p:sp>
        <p:sp>
          <p:nvSpPr>
            <p:cNvPr id="367" name="Rectangle 366">
              <a:extLst>
                <a:ext uri="{FF2B5EF4-FFF2-40B4-BE49-F238E27FC236}">
                  <a16:creationId xmlns:a16="http://schemas.microsoft.com/office/drawing/2014/main" id="{8B501E7F-5C53-471A-AE50-D923CDC8B9BC}"/>
                </a:ext>
              </a:extLst>
            </p:cNvPr>
            <p:cNvSpPr/>
            <p:nvPr/>
          </p:nvSpPr>
          <p:spPr>
            <a:xfrm>
              <a:off x="8915857" y="2217699"/>
              <a:ext cx="672949" cy="369332"/>
            </a:xfrm>
            <a:prstGeom prst="rect">
              <a:avLst/>
            </a:prstGeom>
          </p:spPr>
          <p:txBody>
            <a:bodyPr wrap="square" lIns="0" tIns="0" rIns="0" bIns="0" anchor="ctr">
              <a:noAutofit/>
            </a:bodyPr>
            <a:lstStyle/>
            <a:p>
              <a:pPr marL="0" lvl="1" algn="ctr">
                <a:spcBef>
                  <a:spcPts val="100"/>
                </a:spcBef>
                <a:spcAft>
                  <a:spcPts val="200"/>
                </a:spcAft>
                <a:tabLst>
                  <a:tab pos="225425" algn="l"/>
                </a:tabLst>
              </a:pPr>
              <a:r>
                <a:rPr lang="en-US" sz="950"/>
                <a:t>Data protection</a:t>
              </a:r>
            </a:p>
          </p:txBody>
        </p:sp>
        <p:sp>
          <p:nvSpPr>
            <p:cNvPr id="369" name="Rectangle 368">
              <a:extLst>
                <a:ext uri="{FF2B5EF4-FFF2-40B4-BE49-F238E27FC236}">
                  <a16:creationId xmlns:a16="http://schemas.microsoft.com/office/drawing/2014/main" id="{6AFD71C3-ABBD-4B77-9370-960925BEFE6F}"/>
                </a:ext>
              </a:extLst>
            </p:cNvPr>
            <p:cNvSpPr/>
            <p:nvPr/>
          </p:nvSpPr>
          <p:spPr>
            <a:xfrm>
              <a:off x="9603993" y="2217699"/>
              <a:ext cx="672949" cy="369332"/>
            </a:xfrm>
            <a:prstGeom prst="rect">
              <a:avLst/>
            </a:prstGeom>
          </p:spPr>
          <p:txBody>
            <a:bodyPr wrap="square" lIns="0" tIns="0" rIns="0" bIns="0" anchor="ctr">
              <a:noAutofit/>
            </a:bodyPr>
            <a:lstStyle/>
            <a:p>
              <a:pPr marL="0" lvl="1" algn="ctr">
                <a:spcBef>
                  <a:spcPts val="100"/>
                </a:spcBef>
                <a:spcAft>
                  <a:spcPts val="200"/>
                </a:spcAft>
                <a:tabLst>
                  <a:tab pos="225425" algn="l"/>
                </a:tabLst>
              </a:pPr>
              <a:r>
                <a:rPr lang="en-US" sz="950"/>
                <a:t>Incident response</a:t>
              </a:r>
            </a:p>
          </p:txBody>
        </p:sp>
        <p:sp>
          <p:nvSpPr>
            <p:cNvPr id="374" name="Rectangle 373">
              <a:extLst>
                <a:ext uri="{FF2B5EF4-FFF2-40B4-BE49-F238E27FC236}">
                  <a16:creationId xmlns:a16="http://schemas.microsoft.com/office/drawing/2014/main" id="{D6A8D428-7104-4314-B87E-E2FCD8BEB5AC}"/>
                </a:ext>
              </a:extLst>
            </p:cNvPr>
            <p:cNvSpPr/>
            <p:nvPr/>
          </p:nvSpPr>
          <p:spPr>
            <a:xfrm>
              <a:off x="10317894" y="2858859"/>
              <a:ext cx="776096" cy="212579"/>
            </a:xfrm>
            <a:prstGeom prst="rect">
              <a:avLst/>
            </a:prstGeom>
          </p:spPr>
          <p:txBody>
            <a:bodyPr wrap="square" lIns="0" tIns="0" rIns="0" bIns="0" anchor="ctr">
              <a:noAutofit/>
            </a:bodyPr>
            <a:lstStyle/>
            <a:p>
              <a:pPr marL="0" lvl="1" algn="ctr">
                <a:spcBef>
                  <a:spcPts val="100"/>
                </a:spcBef>
                <a:spcAft>
                  <a:spcPts val="200"/>
                </a:spcAft>
                <a:tabLst>
                  <a:tab pos="225425" algn="l"/>
                </a:tabLst>
              </a:pPr>
              <a:r>
                <a:rPr lang="en-US" sz="950">
                  <a:solidFill>
                    <a:schemeClr val="bg1"/>
                  </a:solidFill>
                </a:rPr>
                <a:t>OS patching</a:t>
              </a:r>
            </a:p>
          </p:txBody>
        </p:sp>
        <p:sp>
          <p:nvSpPr>
            <p:cNvPr id="375" name="Rectangle 374">
              <a:extLst>
                <a:ext uri="{FF2B5EF4-FFF2-40B4-BE49-F238E27FC236}">
                  <a16:creationId xmlns:a16="http://schemas.microsoft.com/office/drawing/2014/main" id="{1DFBF6A3-2DF2-4F27-B983-5F119306E561}"/>
                </a:ext>
              </a:extLst>
            </p:cNvPr>
            <p:cNvSpPr/>
            <p:nvPr/>
          </p:nvSpPr>
          <p:spPr>
            <a:xfrm>
              <a:off x="10317894" y="3119477"/>
              <a:ext cx="776096" cy="240030"/>
            </a:xfrm>
            <a:prstGeom prst="rect">
              <a:avLst/>
            </a:prstGeom>
          </p:spPr>
          <p:txBody>
            <a:bodyPr wrap="square" lIns="0" tIns="0" rIns="0" bIns="0" anchor="ctr">
              <a:noAutofit/>
            </a:bodyPr>
            <a:lstStyle/>
            <a:p>
              <a:pPr marL="0" lvl="1" algn="ctr">
                <a:spcBef>
                  <a:spcPts val="100"/>
                </a:spcBef>
                <a:spcAft>
                  <a:spcPts val="200"/>
                </a:spcAft>
                <a:tabLst>
                  <a:tab pos="225425" algn="l"/>
                </a:tabLst>
              </a:pPr>
              <a:r>
                <a:rPr lang="en-US" sz="950">
                  <a:solidFill>
                    <a:schemeClr val="bg1"/>
                  </a:solidFill>
                </a:rPr>
                <a:t>Monitoring</a:t>
              </a:r>
            </a:p>
          </p:txBody>
        </p:sp>
        <p:sp>
          <p:nvSpPr>
            <p:cNvPr id="376" name="Rectangle 17">
              <a:extLst>
                <a:ext uri="{FF2B5EF4-FFF2-40B4-BE49-F238E27FC236}">
                  <a16:creationId xmlns:a16="http://schemas.microsoft.com/office/drawing/2014/main" id="{A5DA51A3-2CC7-4554-867C-F4AC90DD33C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317894" y="3399727"/>
              <a:ext cx="776096" cy="302675"/>
            </a:xfrm>
            <a:prstGeom prst="rect">
              <a:avLst/>
            </a:prstGeom>
            <a:noFill/>
            <a:ln>
              <a:noFill/>
            </a:ln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1" algn="ctr" fontAlgn="auto">
                <a:lnSpc>
                  <a:spcPct val="100000"/>
                </a:lnSpc>
                <a:spcBef>
                  <a:spcPts val="100"/>
                </a:spcBef>
                <a:spcAft>
                  <a:spcPts val="200"/>
                </a:spcAft>
                <a:buClrTx/>
                <a:buSzTx/>
                <a:buFontTx/>
                <a:buNone/>
                <a:tabLst>
                  <a:tab pos="225425" algn="l"/>
                </a:tabLst>
                <a:defRPr/>
              </a:pPr>
              <a:r>
                <a:rPr lang="en-US" sz="950">
                  <a:solidFill>
                    <a:schemeClr val="bg1"/>
                  </a:solidFill>
                </a:rPr>
                <a:t>Backup</a:t>
              </a:r>
            </a:p>
          </p:txBody>
        </p:sp>
        <p:sp>
          <p:nvSpPr>
            <p:cNvPr id="380" name="Freeform 16">
              <a:extLst>
                <a:ext uri="{FF2B5EF4-FFF2-40B4-BE49-F238E27FC236}">
                  <a16:creationId xmlns:a16="http://schemas.microsoft.com/office/drawing/2014/main" id="{D1ADF4B1-7FA9-4312-9703-3267FCF0A695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17894" y="4139894"/>
              <a:ext cx="776096" cy="417720"/>
            </a:xfrm>
            <a:custGeom>
              <a:avLst/>
              <a:gdLst>
                <a:gd name="T0" fmla="*/ 64 w 64"/>
                <a:gd name="T1" fmla="*/ 62 h 62"/>
                <a:gd name="T2" fmla="*/ 64 w 64"/>
                <a:gd name="T3" fmla="*/ 0 h 62"/>
                <a:gd name="T4" fmla="*/ 0 w 64"/>
                <a:gd name="T5" fmla="*/ 0 h 62"/>
                <a:gd name="T6" fmla="*/ 0 w 64"/>
                <a:gd name="T7" fmla="*/ 60 h 62"/>
                <a:gd name="T8" fmla="*/ 0 w 64"/>
                <a:gd name="T9" fmla="*/ 62 h 62"/>
                <a:gd name="T10" fmla="*/ 64 w 64"/>
                <a:gd name="T11" fmla="*/ 62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4" h="62">
                  <a:moveTo>
                    <a:pt x="64" y="62"/>
                  </a:moveTo>
                  <a:cubicBezTo>
                    <a:pt x="64" y="0"/>
                    <a:pt x="64" y="0"/>
                    <a:pt x="6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0" y="60"/>
                    <a:pt x="0" y="61"/>
                    <a:pt x="0" y="62"/>
                  </a:cubicBezTo>
                  <a:lnTo>
                    <a:pt x="64" y="62"/>
                  </a:lnTo>
                  <a:close/>
                </a:path>
              </a:pathLst>
            </a:custGeom>
            <a:noFill/>
            <a:ln>
              <a:noFill/>
            </a:ln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1" algn="ctr" fontAlgn="auto">
                <a:lnSpc>
                  <a:spcPct val="100000"/>
                </a:lnSpc>
                <a:spcBef>
                  <a:spcPts val="100"/>
                </a:spcBef>
                <a:spcAft>
                  <a:spcPts val="200"/>
                </a:spcAft>
                <a:buClrTx/>
                <a:buSzTx/>
                <a:buFontTx/>
                <a:buNone/>
                <a:tabLst>
                  <a:tab pos="225425" algn="l"/>
                </a:tabLst>
                <a:defRPr/>
              </a:pPr>
              <a:r>
                <a:rPr lang="en-US" sz="950">
                  <a:solidFill>
                    <a:schemeClr val="bg1"/>
                  </a:solidFill>
                </a:rPr>
                <a:t>Configuration and change management</a:t>
              </a:r>
            </a:p>
          </p:txBody>
        </p:sp>
        <p:sp>
          <p:nvSpPr>
            <p:cNvPr id="381" name="Rectangle 18">
              <a:extLst>
                <a:ext uri="{FF2B5EF4-FFF2-40B4-BE49-F238E27FC236}">
                  <a16:creationId xmlns:a16="http://schemas.microsoft.com/office/drawing/2014/main" id="{C6FD9A1A-5925-421D-B5C5-7F4698B235B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317894" y="3712272"/>
              <a:ext cx="776096" cy="369332"/>
            </a:xfrm>
            <a:prstGeom prst="rect">
              <a:avLst/>
            </a:prstGeom>
            <a:noFill/>
            <a:ln>
              <a:noFill/>
            </a:ln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1" algn="ctr" fontAlgn="auto">
                <a:lnSpc>
                  <a:spcPct val="100000"/>
                </a:lnSpc>
                <a:spcBef>
                  <a:spcPts val="100"/>
                </a:spcBef>
                <a:spcAft>
                  <a:spcPts val="200"/>
                </a:spcAft>
                <a:buClrTx/>
                <a:buSzTx/>
                <a:buFontTx/>
                <a:buNone/>
                <a:tabLst>
                  <a:tab pos="225425" algn="l"/>
                </a:tabLst>
                <a:defRPr/>
              </a:pPr>
              <a:r>
                <a:rPr lang="en-US" sz="950">
                  <a:solidFill>
                    <a:schemeClr val="bg1"/>
                  </a:solidFill>
                </a:rPr>
                <a:t>Disaster recovery</a:t>
              </a:r>
            </a:p>
          </p:txBody>
        </p:sp>
        <p:sp>
          <p:nvSpPr>
            <p:cNvPr id="383" name="TextBox 382">
              <a:extLst>
                <a:ext uri="{FF2B5EF4-FFF2-40B4-BE49-F238E27FC236}">
                  <a16:creationId xmlns:a16="http://schemas.microsoft.com/office/drawing/2014/main" id="{3799B0A2-40CF-4355-8174-D36385EAECBB}"/>
                </a:ext>
              </a:extLst>
            </p:cNvPr>
            <p:cNvSpPr txBox="1"/>
            <p:nvPr/>
          </p:nvSpPr>
          <p:spPr>
            <a:xfrm>
              <a:off x="10318161" y="4826415"/>
              <a:ext cx="776096" cy="369332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marL="0" marR="0" lvl="1" algn="ctr" fontAlgn="auto">
                <a:lnSpc>
                  <a:spcPct val="100000"/>
                </a:lnSpc>
                <a:spcBef>
                  <a:spcPts val="100"/>
                </a:spcBef>
                <a:spcAft>
                  <a:spcPts val="200"/>
                </a:spcAft>
                <a:buClrTx/>
                <a:buSzTx/>
                <a:buFontTx/>
                <a:buNone/>
                <a:tabLst>
                  <a:tab pos="225425" algn="l"/>
                </a:tabLst>
                <a:defRPr/>
              </a:pPr>
              <a:r>
                <a:rPr lang="en-US" sz="950">
                  <a:solidFill>
                    <a:schemeClr val="bg1"/>
                  </a:solidFill>
                </a:rPr>
                <a:t>DevOps and automation</a:t>
              </a:r>
            </a:p>
          </p:txBody>
        </p:sp>
        <p:sp>
          <p:nvSpPr>
            <p:cNvPr id="387" name="TextBox 386">
              <a:extLst>
                <a:ext uri="{FF2B5EF4-FFF2-40B4-BE49-F238E27FC236}">
                  <a16:creationId xmlns:a16="http://schemas.microsoft.com/office/drawing/2014/main" id="{080519B9-9C87-4D92-A7DE-CDD300A9BA5C}"/>
                </a:ext>
              </a:extLst>
            </p:cNvPr>
            <p:cNvSpPr txBox="1"/>
            <p:nvPr/>
          </p:nvSpPr>
          <p:spPr>
            <a:xfrm>
              <a:off x="11188091" y="4683101"/>
              <a:ext cx="962127" cy="628130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marL="0" marR="0" lvl="1" algn="ctr" fontAlgn="auto">
                <a:lnSpc>
                  <a:spcPct val="100000"/>
                </a:lnSpc>
                <a:spcBef>
                  <a:spcPts val="100"/>
                </a:spcBef>
                <a:spcAft>
                  <a:spcPts val="200"/>
                </a:spcAft>
                <a:buClrTx/>
                <a:buSzTx/>
                <a:buFontTx/>
                <a:buNone/>
                <a:tabLst>
                  <a:tab pos="225425" algn="l"/>
                </a:tabLst>
                <a:defRPr/>
              </a:pPr>
              <a:r>
                <a:rPr lang="en-US" sz="950">
                  <a:solidFill>
                    <a:schemeClr val="bg1"/>
                  </a:solidFill>
                </a:rPr>
                <a:t>Cloud operational processes and run books</a:t>
              </a:r>
            </a:p>
          </p:txBody>
        </p:sp>
        <p:sp>
          <p:nvSpPr>
            <p:cNvPr id="684" name="Rectangle 683">
              <a:extLst>
                <a:ext uri="{FF2B5EF4-FFF2-40B4-BE49-F238E27FC236}">
                  <a16:creationId xmlns:a16="http://schemas.microsoft.com/office/drawing/2014/main" id="{824393BB-CCE2-41C3-9372-E1EF464F8963}"/>
                </a:ext>
              </a:extLst>
            </p:cNvPr>
            <p:cNvSpPr/>
            <p:nvPr/>
          </p:nvSpPr>
          <p:spPr>
            <a:xfrm>
              <a:off x="419887" y="2228617"/>
              <a:ext cx="1593556" cy="30777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0"/>
              <a:r>
                <a:rPr lang="en-US" sz="1400" dirty="0">
                  <a:solidFill>
                    <a:srgbClr val="0078D4"/>
                  </a:solidFill>
                  <a:latin typeface="+mj-lt"/>
                </a:rPr>
                <a:t>Business strategy</a:t>
              </a:r>
              <a:endParaRPr lang="en-US" sz="1400" dirty="0">
                <a:solidFill>
                  <a:srgbClr val="0078D4"/>
                </a:solidFill>
                <a:latin typeface="+mj-lt"/>
                <a:ea typeface="Times New Roman" panose="02020603050405020304" pitchFamily="18" charset="0"/>
              </a:endParaRPr>
            </a:p>
          </p:txBody>
        </p:sp>
        <p:grpSp>
          <p:nvGrpSpPr>
            <p:cNvPr id="7" name="Group 6">
              <a:extLst>
                <a:ext uri="{FF2B5EF4-FFF2-40B4-BE49-F238E27FC236}">
                  <a16:creationId xmlns:a16="http://schemas.microsoft.com/office/drawing/2014/main" id="{C45611C0-3F50-4282-A640-9F3547F2675F}"/>
                </a:ext>
              </a:extLst>
            </p:cNvPr>
            <p:cNvGrpSpPr/>
            <p:nvPr/>
          </p:nvGrpSpPr>
          <p:grpSpPr>
            <a:xfrm>
              <a:off x="559626" y="2578189"/>
              <a:ext cx="197618" cy="453304"/>
              <a:chOff x="559625" y="2541842"/>
              <a:chExt cx="197618" cy="453304"/>
            </a:xfrm>
          </p:grpSpPr>
          <p:sp>
            <p:nvSpPr>
              <p:cNvPr id="685" name="Diamond 684">
                <a:extLst>
                  <a:ext uri="{FF2B5EF4-FFF2-40B4-BE49-F238E27FC236}">
                    <a16:creationId xmlns:a16="http://schemas.microsoft.com/office/drawing/2014/main" id="{4DE07F16-4D98-4CD8-8406-2ACBEC3B4086}"/>
                  </a:ext>
                </a:extLst>
              </p:cNvPr>
              <p:cNvSpPr/>
              <p:nvPr/>
            </p:nvSpPr>
            <p:spPr>
              <a:xfrm>
                <a:off x="559625" y="2541842"/>
                <a:ext cx="197618" cy="183974"/>
              </a:xfrm>
              <a:prstGeom prst="diamond">
                <a:avLst/>
              </a:prstGeom>
              <a:solidFill>
                <a:schemeClr val="bg1">
                  <a:lumMod val="95000"/>
                </a:schemeClr>
              </a:solidFill>
              <a:ln>
                <a:solidFill>
                  <a:srgbClr val="FFFFFF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2000">
                  <a:solidFill>
                    <a:schemeClr val="accent3"/>
                  </a:solidFill>
                  <a:latin typeface="+mj-lt"/>
                </a:endParaRPr>
              </a:p>
            </p:txBody>
          </p:sp>
          <p:cxnSp>
            <p:nvCxnSpPr>
              <p:cNvPr id="686" name="Straight Connector 685">
                <a:extLst>
                  <a:ext uri="{FF2B5EF4-FFF2-40B4-BE49-F238E27FC236}">
                    <a16:creationId xmlns:a16="http://schemas.microsoft.com/office/drawing/2014/main" id="{9DD5EB0D-0CE7-466B-966E-E78357269686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658434" y="2694682"/>
                <a:ext cx="3076" cy="300464"/>
              </a:xfrm>
              <a:prstGeom prst="line">
                <a:avLst/>
              </a:prstGeom>
              <a:ln w="19050">
                <a:solidFill>
                  <a:srgbClr val="FFFFFF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87" name="Group 686">
              <a:extLst>
                <a:ext uri="{FF2B5EF4-FFF2-40B4-BE49-F238E27FC236}">
                  <a16:creationId xmlns:a16="http://schemas.microsoft.com/office/drawing/2014/main" id="{ACF631FF-D51E-4D19-8391-0236690CCEB6}"/>
                </a:ext>
              </a:extLst>
            </p:cNvPr>
            <p:cNvGrpSpPr/>
            <p:nvPr/>
          </p:nvGrpSpPr>
          <p:grpSpPr>
            <a:xfrm rot="16200000">
              <a:off x="1153986" y="4589869"/>
              <a:ext cx="197618" cy="453304"/>
              <a:chOff x="559625" y="2541842"/>
              <a:chExt cx="197618" cy="453304"/>
            </a:xfrm>
          </p:grpSpPr>
          <p:sp>
            <p:nvSpPr>
              <p:cNvPr id="688" name="Diamond 687">
                <a:extLst>
                  <a:ext uri="{FF2B5EF4-FFF2-40B4-BE49-F238E27FC236}">
                    <a16:creationId xmlns:a16="http://schemas.microsoft.com/office/drawing/2014/main" id="{5FC2CE00-7C11-46F2-B8F1-EE479AC6CE9B}"/>
                  </a:ext>
                </a:extLst>
              </p:cNvPr>
              <p:cNvSpPr/>
              <p:nvPr/>
            </p:nvSpPr>
            <p:spPr>
              <a:xfrm>
                <a:off x="559625" y="2541842"/>
                <a:ext cx="197618" cy="183974"/>
              </a:xfrm>
              <a:prstGeom prst="diamond">
                <a:avLst/>
              </a:prstGeom>
              <a:solidFill>
                <a:srgbClr val="C9C9C9"/>
              </a:solidFill>
              <a:ln>
                <a:solidFill>
                  <a:srgbClr val="FFFFFF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2000">
                  <a:solidFill>
                    <a:schemeClr val="accent3"/>
                  </a:solidFill>
                  <a:latin typeface="+mj-lt"/>
                </a:endParaRPr>
              </a:p>
            </p:txBody>
          </p:sp>
          <p:cxnSp>
            <p:nvCxnSpPr>
              <p:cNvPr id="689" name="Straight Connector 688">
                <a:extLst>
                  <a:ext uri="{FF2B5EF4-FFF2-40B4-BE49-F238E27FC236}">
                    <a16:creationId xmlns:a16="http://schemas.microsoft.com/office/drawing/2014/main" id="{8E978AA2-5344-40E5-990A-24310D3C1661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658434" y="2694682"/>
                <a:ext cx="3076" cy="300464"/>
              </a:xfrm>
              <a:prstGeom prst="line">
                <a:avLst/>
              </a:prstGeom>
              <a:ln w="19050">
                <a:solidFill>
                  <a:srgbClr val="FFFFFF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690" name="Rectangle 689">
              <a:extLst>
                <a:ext uri="{FF2B5EF4-FFF2-40B4-BE49-F238E27FC236}">
                  <a16:creationId xmlns:a16="http://schemas.microsoft.com/office/drawing/2014/main" id="{173B50A6-B992-4DAE-99EA-8E6F11B148D1}"/>
                </a:ext>
              </a:extLst>
            </p:cNvPr>
            <p:cNvSpPr/>
            <p:nvPr/>
          </p:nvSpPr>
          <p:spPr>
            <a:xfrm>
              <a:off x="119357" y="4548227"/>
              <a:ext cx="849908" cy="530435"/>
            </a:xfrm>
            <a:prstGeom prst="rect">
              <a:avLst/>
            </a:prstGeom>
          </p:spPr>
          <p:txBody>
            <a:bodyPr vert="horz" wrap="square" anchor="ctr">
              <a:noAutofit/>
            </a:bodyPr>
            <a:lstStyle/>
            <a:p>
              <a:pPr lvl="0" algn="r"/>
              <a:r>
                <a:rPr lang="en-US" sz="1400" dirty="0">
                  <a:solidFill>
                    <a:srgbClr val="0078D4"/>
                  </a:solidFill>
                  <a:latin typeface="+mj-lt"/>
                </a:rPr>
                <a:t>Partner support</a:t>
              </a:r>
            </a:p>
          </p:txBody>
        </p:sp>
        <p:sp>
          <p:nvSpPr>
            <p:cNvPr id="691" name="Rectangle 690">
              <a:extLst>
                <a:ext uri="{FF2B5EF4-FFF2-40B4-BE49-F238E27FC236}">
                  <a16:creationId xmlns:a16="http://schemas.microsoft.com/office/drawing/2014/main" id="{53DB4ABD-1BFE-443F-8C8B-247B3D5C1205}"/>
                </a:ext>
              </a:extLst>
            </p:cNvPr>
            <p:cNvSpPr/>
            <p:nvPr/>
          </p:nvSpPr>
          <p:spPr>
            <a:xfrm>
              <a:off x="4601097" y="5709241"/>
              <a:ext cx="2485056" cy="302132"/>
            </a:xfrm>
            <a:prstGeom prst="rect">
              <a:avLst/>
            </a:prstGeom>
          </p:spPr>
          <p:txBody>
            <a:bodyPr vert="horz" wrap="square" anchor="ctr">
              <a:noAutofit/>
            </a:bodyPr>
            <a:lstStyle/>
            <a:p>
              <a:pPr lvl="0"/>
              <a:r>
                <a:rPr lang="en-US" sz="1400" dirty="0">
                  <a:solidFill>
                    <a:srgbClr val="0078D4"/>
                  </a:solidFill>
                  <a:latin typeface="+mj-lt"/>
                </a:rPr>
                <a:t>Discovery and assessment</a:t>
              </a:r>
            </a:p>
          </p:txBody>
        </p:sp>
        <p:grpSp>
          <p:nvGrpSpPr>
            <p:cNvPr id="692" name="Group 691">
              <a:extLst>
                <a:ext uri="{FF2B5EF4-FFF2-40B4-BE49-F238E27FC236}">
                  <a16:creationId xmlns:a16="http://schemas.microsoft.com/office/drawing/2014/main" id="{C2F0D470-7D8F-4603-A724-82B462F3FC67}"/>
                </a:ext>
              </a:extLst>
            </p:cNvPr>
            <p:cNvGrpSpPr/>
            <p:nvPr/>
          </p:nvGrpSpPr>
          <p:grpSpPr>
            <a:xfrm rot="16200000" flipV="1">
              <a:off x="4342297" y="5668998"/>
              <a:ext cx="197618" cy="364288"/>
              <a:chOff x="559625" y="2541842"/>
              <a:chExt cx="197618" cy="364288"/>
            </a:xfrm>
          </p:grpSpPr>
          <p:sp>
            <p:nvSpPr>
              <p:cNvPr id="693" name="Diamond 692">
                <a:extLst>
                  <a:ext uri="{FF2B5EF4-FFF2-40B4-BE49-F238E27FC236}">
                    <a16:creationId xmlns:a16="http://schemas.microsoft.com/office/drawing/2014/main" id="{459B27F9-C80E-45F0-AE6E-B9F5A45979F9}"/>
                  </a:ext>
                </a:extLst>
              </p:cNvPr>
              <p:cNvSpPr/>
              <p:nvPr/>
            </p:nvSpPr>
            <p:spPr>
              <a:xfrm>
                <a:off x="559625" y="2541842"/>
                <a:ext cx="197618" cy="183974"/>
              </a:xfrm>
              <a:prstGeom prst="diamond">
                <a:avLst/>
              </a:prstGeom>
              <a:solidFill>
                <a:schemeClr val="accent3">
                  <a:lumMod val="20000"/>
                  <a:lumOff val="80000"/>
                </a:schemeClr>
              </a:solidFill>
              <a:ln>
                <a:solidFill>
                  <a:srgbClr val="FFFFFF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2000">
                  <a:solidFill>
                    <a:schemeClr val="accent3"/>
                  </a:solidFill>
                  <a:latin typeface="+mj-lt"/>
                </a:endParaRPr>
              </a:p>
            </p:txBody>
          </p:sp>
          <p:cxnSp>
            <p:nvCxnSpPr>
              <p:cNvPr id="694" name="Straight Connector 693">
                <a:extLst>
                  <a:ext uri="{FF2B5EF4-FFF2-40B4-BE49-F238E27FC236}">
                    <a16:creationId xmlns:a16="http://schemas.microsoft.com/office/drawing/2014/main" id="{B9C7C96F-51D5-45B8-93B1-64488BA65816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658434" y="2694682"/>
                <a:ext cx="0" cy="211448"/>
              </a:xfrm>
              <a:prstGeom prst="line">
                <a:avLst/>
              </a:prstGeom>
              <a:ln w="19050">
                <a:solidFill>
                  <a:srgbClr val="FFFFFF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695" name="Rectangle 694">
              <a:extLst>
                <a:ext uri="{FF2B5EF4-FFF2-40B4-BE49-F238E27FC236}">
                  <a16:creationId xmlns:a16="http://schemas.microsoft.com/office/drawing/2014/main" id="{187A1756-A6CE-4D55-B8D9-ED299D986FBD}"/>
                </a:ext>
              </a:extLst>
            </p:cNvPr>
            <p:cNvSpPr/>
            <p:nvPr/>
          </p:nvSpPr>
          <p:spPr>
            <a:xfrm>
              <a:off x="2262907" y="3752127"/>
              <a:ext cx="1768705" cy="302132"/>
            </a:xfrm>
            <a:prstGeom prst="rect">
              <a:avLst/>
            </a:prstGeom>
          </p:spPr>
          <p:txBody>
            <a:bodyPr vert="horz" wrap="square" anchor="ctr">
              <a:noAutofit/>
            </a:bodyPr>
            <a:lstStyle/>
            <a:p>
              <a:pPr lvl="0"/>
              <a:r>
                <a:rPr lang="en-US" sz="1400" dirty="0">
                  <a:solidFill>
                    <a:srgbClr val="0078D4"/>
                  </a:solidFill>
                  <a:latin typeface="+mj-lt"/>
                </a:rPr>
                <a:t>TCO/</a:t>
              </a:r>
              <a:br>
                <a:rPr lang="en-US" sz="1400" dirty="0">
                  <a:solidFill>
                    <a:srgbClr val="0078D4"/>
                  </a:solidFill>
                  <a:latin typeface="+mj-lt"/>
                </a:rPr>
              </a:br>
              <a:r>
                <a:rPr lang="en-US" sz="1400" dirty="0">
                  <a:solidFill>
                    <a:srgbClr val="0078D4"/>
                  </a:solidFill>
                  <a:latin typeface="+mj-lt"/>
                </a:rPr>
                <a:t>business case</a:t>
              </a:r>
            </a:p>
          </p:txBody>
        </p:sp>
        <p:grpSp>
          <p:nvGrpSpPr>
            <p:cNvPr id="696" name="Group 695">
              <a:extLst>
                <a:ext uri="{FF2B5EF4-FFF2-40B4-BE49-F238E27FC236}">
                  <a16:creationId xmlns:a16="http://schemas.microsoft.com/office/drawing/2014/main" id="{C3DD1236-46E0-4116-9EFC-E6A81D8702C5}"/>
                </a:ext>
              </a:extLst>
            </p:cNvPr>
            <p:cNvGrpSpPr/>
            <p:nvPr/>
          </p:nvGrpSpPr>
          <p:grpSpPr>
            <a:xfrm rot="16200000">
              <a:off x="3140532" y="1604370"/>
              <a:ext cx="197618" cy="453304"/>
              <a:chOff x="559625" y="2541842"/>
              <a:chExt cx="197618" cy="453304"/>
            </a:xfrm>
            <a:solidFill>
              <a:schemeClr val="accent3"/>
            </a:solidFill>
          </p:grpSpPr>
          <p:sp>
            <p:nvSpPr>
              <p:cNvPr id="697" name="Diamond 696">
                <a:extLst>
                  <a:ext uri="{FF2B5EF4-FFF2-40B4-BE49-F238E27FC236}">
                    <a16:creationId xmlns:a16="http://schemas.microsoft.com/office/drawing/2014/main" id="{7CF4E6B3-0CF7-40D9-A020-C9B6933C4D1E}"/>
                  </a:ext>
                </a:extLst>
              </p:cNvPr>
              <p:cNvSpPr/>
              <p:nvPr/>
            </p:nvSpPr>
            <p:spPr>
              <a:xfrm>
                <a:off x="559625" y="2541842"/>
                <a:ext cx="197618" cy="183974"/>
              </a:xfrm>
              <a:prstGeom prst="diamond">
                <a:avLst/>
              </a:prstGeom>
              <a:grpFill/>
              <a:ln>
                <a:solidFill>
                  <a:srgbClr val="FFFFFF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2000">
                  <a:solidFill>
                    <a:schemeClr val="accent3"/>
                  </a:solidFill>
                  <a:latin typeface="+mj-lt"/>
                </a:endParaRPr>
              </a:p>
            </p:txBody>
          </p:sp>
          <p:cxnSp>
            <p:nvCxnSpPr>
              <p:cNvPr id="698" name="Straight Connector 697">
                <a:extLst>
                  <a:ext uri="{FF2B5EF4-FFF2-40B4-BE49-F238E27FC236}">
                    <a16:creationId xmlns:a16="http://schemas.microsoft.com/office/drawing/2014/main" id="{01DA950E-9E3E-4B97-9C22-ED60DDCC8FF4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658434" y="2694682"/>
                <a:ext cx="3076" cy="300464"/>
              </a:xfrm>
              <a:prstGeom prst="line">
                <a:avLst/>
              </a:prstGeom>
              <a:grpFill/>
              <a:ln w="19050">
                <a:solidFill>
                  <a:srgbClr val="FFFFFF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699" name="Rectangle 698">
              <a:extLst>
                <a:ext uri="{FF2B5EF4-FFF2-40B4-BE49-F238E27FC236}">
                  <a16:creationId xmlns:a16="http://schemas.microsoft.com/office/drawing/2014/main" id="{9E4D39A3-1BFB-422C-A5FA-DEEFBD1FD530}"/>
                </a:ext>
              </a:extLst>
            </p:cNvPr>
            <p:cNvSpPr/>
            <p:nvPr/>
          </p:nvSpPr>
          <p:spPr>
            <a:xfrm>
              <a:off x="1870763" y="1569411"/>
              <a:ext cx="1136086" cy="52322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0" algn="r"/>
              <a:r>
                <a:rPr lang="en-US" sz="1400" dirty="0">
                  <a:solidFill>
                    <a:srgbClr val="0078D4"/>
                  </a:solidFill>
                  <a:latin typeface="Segoe UI Semibold"/>
                </a:rPr>
                <a:t>Migration plan</a:t>
              </a:r>
            </a:p>
          </p:txBody>
        </p:sp>
        <p:grpSp>
          <p:nvGrpSpPr>
            <p:cNvPr id="700" name="Group 699">
              <a:extLst>
                <a:ext uri="{FF2B5EF4-FFF2-40B4-BE49-F238E27FC236}">
                  <a16:creationId xmlns:a16="http://schemas.microsoft.com/office/drawing/2014/main" id="{93D44443-FCE6-4610-92E9-52F83E61ACCA}"/>
                </a:ext>
              </a:extLst>
            </p:cNvPr>
            <p:cNvGrpSpPr/>
            <p:nvPr/>
          </p:nvGrpSpPr>
          <p:grpSpPr>
            <a:xfrm rot="5400000" flipH="1">
              <a:off x="6462852" y="1604370"/>
              <a:ext cx="197618" cy="453304"/>
              <a:chOff x="559625" y="2541842"/>
              <a:chExt cx="197618" cy="453304"/>
            </a:xfrm>
            <a:solidFill>
              <a:srgbClr val="00BEDE"/>
            </a:solidFill>
          </p:grpSpPr>
          <p:sp>
            <p:nvSpPr>
              <p:cNvPr id="701" name="Diamond 700">
                <a:extLst>
                  <a:ext uri="{FF2B5EF4-FFF2-40B4-BE49-F238E27FC236}">
                    <a16:creationId xmlns:a16="http://schemas.microsoft.com/office/drawing/2014/main" id="{8F8917B3-A3E3-4980-95E3-FD46027BF199}"/>
                  </a:ext>
                </a:extLst>
              </p:cNvPr>
              <p:cNvSpPr/>
              <p:nvPr/>
            </p:nvSpPr>
            <p:spPr>
              <a:xfrm>
                <a:off x="559625" y="2541842"/>
                <a:ext cx="197618" cy="183974"/>
              </a:xfrm>
              <a:prstGeom prst="diamond">
                <a:avLst/>
              </a:prstGeom>
              <a:grpFill/>
              <a:ln>
                <a:solidFill>
                  <a:srgbClr val="FFFFFF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2000">
                  <a:solidFill>
                    <a:schemeClr val="accent3"/>
                  </a:solidFill>
                  <a:latin typeface="+mj-lt"/>
                </a:endParaRPr>
              </a:p>
            </p:txBody>
          </p:sp>
          <p:cxnSp>
            <p:nvCxnSpPr>
              <p:cNvPr id="702" name="Straight Connector 701">
                <a:extLst>
                  <a:ext uri="{FF2B5EF4-FFF2-40B4-BE49-F238E27FC236}">
                    <a16:creationId xmlns:a16="http://schemas.microsoft.com/office/drawing/2014/main" id="{936CBD5B-6A9A-4D64-B667-B247C5E1D8A6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658434" y="2694682"/>
                <a:ext cx="3076" cy="300464"/>
              </a:xfrm>
              <a:prstGeom prst="line">
                <a:avLst/>
              </a:prstGeom>
              <a:grpFill/>
              <a:ln w="19050">
                <a:solidFill>
                  <a:srgbClr val="FFFFFF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704" name="Rectangle 703">
              <a:extLst>
                <a:ext uri="{FF2B5EF4-FFF2-40B4-BE49-F238E27FC236}">
                  <a16:creationId xmlns:a16="http://schemas.microsoft.com/office/drawing/2014/main" id="{AFD143F8-8A0E-475E-ABC7-D19C1B4D724E}"/>
                </a:ext>
              </a:extLst>
            </p:cNvPr>
            <p:cNvSpPr/>
            <p:nvPr/>
          </p:nvSpPr>
          <p:spPr>
            <a:xfrm>
              <a:off x="6828843" y="1569411"/>
              <a:ext cx="1136086" cy="52322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0"/>
              <a:r>
                <a:rPr lang="en-US" sz="1400" dirty="0">
                  <a:solidFill>
                    <a:srgbClr val="0078D4"/>
                  </a:solidFill>
                  <a:latin typeface="Segoe UI Semibold"/>
                </a:rPr>
                <a:t>Technical skilling</a:t>
              </a:r>
            </a:p>
          </p:txBody>
        </p:sp>
        <p:sp>
          <p:nvSpPr>
            <p:cNvPr id="716" name="Rectangle 715">
              <a:extLst>
                <a:ext uri="{FF2B5EF4-FFF2-40B4-BE49-F238E27FC236}">
                  <a16:creationId xmlns:a16="http://schemas.microsoft.com/office/drawing/2014/main" id="{98CF7545-E5DC-41FE-97E4-DBB3705C5C78}"/>
                </a:ext>
              </a:extLst>
            </p:cNvPr>
            <p:cNvSpPr/>
            <p:nvPr/>
          </p:nvSpPr>
          <p:spPr>
            <a:xfrm>
              <a:off x="6563886" y="3578982"/>
              <a:ext cx="1364082" cy="52322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0" algn="ctr"/>
              <a:r>
                <a:rPr lang="en-US" sz="1400" dirty="0">
                  <a:solidFill>
                    <a:srgbClr val="0078D4"/>
                  </a:solidFill>
                  <a:latin typeface="+mj-lt"/>
                </a:rPr>
                <a:t>Migration execution</a:t>
              </a:r>
            </a:p>
          </p:txBody>
        </p:sp>
        <p:grpSp>
          <p:nvGrpSpPr>
            <p:cNvPr id="717" name="Group 716">
              <a:extLst>
                <a:ext uri="{FF2B5EF4-FFF2-40B4-BE49-F238E27FC236}">
                  <a16:creationId xmlns:a16="http://schemas.microsoft.com/office/drawing/2014/main" id="{15F747A0-7C55-4C80-B8D9-2B5A1F7BFA95}"/>
                </a:ext>
              </a:extLst>
            </p:cNvPr>
            <p:cNvGrpSpPr/>
            <p:nvPr/>
          </p:nvGrpSpPr>
          <p:grpSpPr>
            <a:xfrm>
              <a:off x="7145916" y="4162457"/>
              <a:ext cx="197618" cy="453304"/>
              <a:chOff x="559625" y="2541842"/>
              <a:chExt cx="197618" cy="453304"/>
            </a:xfrm>
            <a:solidFill>
              <a:schemeClr val="accent1">
                <a:lumMod val="20000"/>
                <a:lumOff val="80000"/>
              </a:schemeClr>
            </a:solidFill>
          </p:grpSpPr>
          <p:sp>
            <p:nvSpPr>
              <p:cNvPr id="718" name="Diamond 717">
                <a:extLst>
                  <a:ext uri="{FF2B5EF4-FFF2-40B4-BE49-F238E27FC236}">
                    <a16:creationId xmlns:a16="http://schemas.microsoft.com/office/drawing/2014/main" id="{18406F18-9EB6-4FFC-A896-4C307200A5A6}"/>
                  </a:ext>
                </a:extLst>
              </p:cNvPr>
              <p:cNvSpPr/>
              <p:nvPr/>
            </p:nvSpPr>
            <p:spPr>
              <a:xfrm>
                <a:off x="559625" y="2541842"/>
                <a:ext cx="197618" cy="183974"/>
              </a:xfrm>
              <a:prstGeom prst="diamond">
                <a:avLst/>
              </a:prstGeom>
              <a:grpFill/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2000">
                  <a:solidFill>
                    <a:schemeClr val="accent3"/>
                  </a:solidFill>
                  <a:latin typeface="+mj-lt"/>
                </a:endParaRPr>
              </a:p>
            </p:txBody>
          </p:sp>
          <p:cxnSp>
            <p:nvCxnSpPr>
              <p:cNvPr id="719" name="Straight Connector 718">
                <a:extLst>
                  <a:ext uri="{FF2B5EF4-FFF2-40B4-BE49-F238E27FC236}">
                    <a16:creationId xmlns:a16="http://schemas.microsoft.com/office/drawing/2014/main" id="{EDCF10A8-9CD3-4300-8862-32BE991774AF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668825" y="2694682"/>
                <a:ext cx="3076" cy="300464"/>
              </a:xfrm>
              <a:prstGeom prst="line">
                <a:avLst/>
              </a:prstGeom>
              <a:grpFill/>
              <a:ln w="19050">
                <a:solidFill>
                  <a:schemeClr val="bg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722" name="Rectangle 721">
              <a:extLst>
                <a:ext uri="{FF2B5EF4-FFF2-40B4-BE49-F238E27FC236}">
                  <a16:creationId xmlns:a16="http://schemas.microsoft.com/office/drawing/2014/main" id="{EB4C245D-82D9-4CC0-B1EE-57BA543B870B}"/>
                </a:ext>
              </a:extLst>
            </p:cNvPr>
            <p:cNvSpPr/>
            <p:nvPr/>
          </p:nvSpPr>
          <p:spPr>
            <a:xfrm>
              <a:off x="8096742" y="1221852"/>
              <a:ext cx="2598165" cy="30777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0"/>
              <a:r>
                <a:rPr lang="en-US" sz="1400" dirty="0">
                  <a:solidFill>
                    <a:srgbClr val="0078D4"/>
                  </a:solidFill>
                  <a:latin typeface="+mj-lt"/>
                </a:rPr>
                <a:t>Security and compliance</a:t>
              </a:r>
            </a:p>
          </p:txBody>
        </p:sp>
        <p:grpSp>
          <p:nvGrpSpPr>
            <p:cNvPr id="723" name="Group 722">
              <a:extLst>
                <a:ext uri="{FF2B5EF4-FFF2-40B4-BE49-F238E27FC236}">
                  <a16:creationId xmlns:a16="http://schemas.microsoft.com/office/drawing/2014/main" id="{CF3F6B04-A377-4765-9EE3-A702B4550389}"/>
                </a:ext>
              </a:extLst>
            </p:cNvPr>
            <p:cNvGrpSpPr/>
            <p:nvPr/>
          </p:nvGrpSpPr>
          <p:grpSpPr>
            <a:xfrm>
              <a:off x="9046082" y="1571424"/>
              <a:ext cx="197618" cy="453304"/>
              <a:chOff x="559625" y="2541842"/>
              <a:chExt cx="197618" cy="453304"/>
            </a:xfrm>
          </p:grpSpPr>
          <p:sp>
            <p:nvSpPr>
              <p:cNvPr id="724" name="Diamond 723">
                <a:extLst>
                  <a:ext uri="{FF2B5EF4-FFF2-40B4-BE49-F238E27FC236}">
                    <a16:creationId xmlns:a16="http://schemas.microsoft.com/office/drawing/2014/main" id="{CDABE6F7-2C88-452E-B783-FBEE1672E7A4}"/>
                  </a:ext>
                </a:extLst>
              </p:cNvPr>
              <p:cNvSpPr/>
              <p:nvPr/>
            </p:nvSpPr>
            <p:spPr>
              <a:xfrm>
                <a:off x="559625" y="2541842"/>
                <a:ext cx="197618" cy="183974"/>
              </a:xfrm>
              <a:prstGeom prst="diamond">
                <a:avLst/>
              </a:prstGeom>
              <a:solidFill>
                <a:schemeClr val="accent1">
                  <a:lumMod val="40000"/>
                  <a:lumOff val="60000"/>
                </a:schemeClr>
              </a:solidFill>
              <a:ln>
                <a:solidFill>
                  <a:srgbClr val="FFFFFF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2000">
                  <a:solidFill>
                    <a:schemeClr val="accent3"/>
                  </a:solidFill>
                  <a:latin typeface="+mj-lt"/>
                </a:endParaRPr>
              </a:p>
            </p:txBody>
          </p:sp>
          <p:cxnSp>
            <p:nvCxnSpPr>
              <p:cNvPr id="725" name="Straight Connector 724">
                <a:extLst>
                  <a:ext uri="{FF2B5EF4-FFF2-40B4-BE49-F238E27FC236}">
                    <a16:creationId xmlns:a16="http://schemas.microsoft.com/office/drawing/2014/main" id="{1ABF3A2F-A8A9-4A41-B007-E6A7BA6F6801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668825" y="2694682"/>
                <a:ext cx="3076" cy="300464"/>
              </a:xfrm>
              <a:prstGeom prst="line">
                <a:avLst/>
              </a:prstGeom>
              <a:ln w="19050">
                <a:solidFill>
                  <a:srgbClr val="FFFFFF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726" name="Group 725">
              <a:extLst>
                <a:ext uri="{FF2B5EF4-FFF2-40B4-BE49-F238E27FC236}">
                  <a16:creationId xmlns:a16="http://schemas.microsoft.com/office/drawing/2014/main" id="{E4660DB1-B0F7-42B3-B1D1-978D14D851A5}"/>
                </a:ext>
              </a:extLst>
            </p:cNvPr>
            <p:cNvGrpSpPr/>
            <p:nvPr/>
          </p:nvGrpSpPr>
          <p:grpSpPr>
            <a:xfrm rot="16200000">
              <a:off x="9986259" y="3695359"/>
              <a:ext cx="197618" cy="453304"/>
              <a:chOff x="559625" y="2541842"/>
              <a:chExt cx="197618" cy="453304"/>
            </a:xfrm>
          </p:grpSpPr>
          <p:sp>
            <p:nvSpPr>
              <p:cNvPr id="727" name="Diamond 726">
                <a:extLst>
                  <a:ext uri="{FF2B5EF4-FFF2-40B4-BE49-F238E27FC236}">
                    <a16:creationId xmlns:a16="http://schemas.microsoft.com/office/drawing/2014/main" id="{4A670FFC-E354-41AA-95E9-67316F567253}"/>
                  </a:ext>
                </a:extLst>
              </p:cNvPr>
              <p:cNvSpPr/>
              <p:nvPr/>
            </p:nvSpPr>
            <p:spPr>
              <a:xfrm>
                <a:off x="559625" y="2541842"/>
                <a:ext cx="197618" cy="183974"/>
              </a:xfrm>
              <a:prstGeom prst="diamond">
                <a:avLst/>
              </a:prstGeom>
              <a:solidFill>
                <a:schemeClr val="accent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2000">
                  <a:solidFill>
                    <a:schemeClr val="accent3"/>
                  </a:solidFill>
                  <a:latin typeface="+mj-lt"/>
                </a:endParaRPr>
              </a:p>
            </p:txBody>
          </p:sp>
          <p:cxnSp>
            <p:nvCxnSpPr>
              <p:cNvPr id="728" name="Straight Connector 727">
                <a:extLst>
                  <a:ext uri="{FF2B5EF4-FFF2-40B4-BE49-F238E27FC236}">
                    <a16:creationId xmlns:a16="http://schemas.microsoft.com/office/drawing/2014/main" id="{35A83658-0737-4160-83F0-9F7B86DAF4C5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658434" y="2694682"/>
                <a:ext cx="3076" cy="300464"/>
              </a:xfrm>
              <a:prstGeom prst="line">
                <a:avLst/>
              </a:prstGeom>
              <a:ln w="19050">
                <a:solidFill>
                  <a:srgbClr val="FFFFFF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729" name="Rectangle 728">
              <a:extLst>
                <a:ext uri="{FF2B5EF4-FFF2-40B4-BE49-F238E27FC236}">
                  <a16:creationId xmlns:a16="http://schemas.microsoft.com/office/drawing/2014/main" id="{1929A828-F719-4A30-89D9-5C4D0D6DDD70}"/>
                </a:ext>
              </a:extLst>
            </p:cNvPr>
            <p:cNvSpPr/>
            <p:nvPr/>
          </p:nvSpPr>
          <p:spPr>
            <a:xfrm>
              <a:off x="9096834" y="4091918"/>
              <a:ext cx="1064654" cy="530435"/>
            </a:xfrm>
            <a:prstGeom prst="rect">
              <a:avLst/>
            </a:prstGeom>
          </p:spPr>
          <p:txBody>
            <a:bodyPr vert="horz" wrap="square" anchor="ctr">
              <a:noAutofit/>
            </a:bodyPr>
            <a:lstStyle/>
            <a:p>
              <a:pPr lvl="0" algn="r"/>
              <a:r>
                <a:rPr lang="en-US" sz="1400" dirty="0">
                  <a:solidFill>
                    <a:srgbClr val="0078D4"/>
                  </a:solidFill>
                  <a:latin typeface="+mj-lt"/>
                </a:rPr>
                <a:t>Cloud operations</a:t>
              </a:r>
            </a:p>
          </p:txBody>
        </p:sp>
        <p:grpSp>
          <p:nvGrpSpPr>
            <p:cNvPr id="730" name="Group 729">
              <a:extLst>
                <a:ext uri="{FF2B5EF4-FFF2-40B4-BE49-F238E27FC236}">
                  <a16:creationId xmlns:a16="http://schemas.microsoft.com/office/drawing/2014/main" id="{2A55A2EE-CBA0-4FD0-933D-2661BDF81AE3}"/>
                </a:ext>
              </a:extLst>
            </p:cNvPr>
            <p:cNvGrpSpPr/>
            <p:nvPr/>
          </p:nvGrpSpPr>
          <p:grpSpPr>
            <a:xfrm rot="16200000">
              <a:off x="5213632" y="3691005"/>
              <a:ext cx="197618" cy="462013"/>
              <a:chOff x="559625" y="2533133"/>
              <a:chExt cx="197618" cy="462013"/>
            </a:xfrm>
            <a:solidFill>
              <a:schemeClr val="accent3">
                <a:lumMod val="50000"/>
              </a:schemeClr>
            </a:solidFill>
          </p:grpSpPr>
          <p:sp>
            <p:nvSpPr>
              <p:cNvPr id="731" name="Diamond 730">
                <a:extLst>
                  <a:ext uri="{FF2B5EF4-FFF2-40B4-BE49-F238E27FC236}">
                    <a16:creationId xmlns:a16="http://schemas.microsoft.com/office/drawing/2014/main" id="{C6603EBA-3973-49BB-87E1-FF19BADB4128}"/>
                  </a:ext>
                </a:extLst>
              </p:cNvPr>
              <p:cNvSpPr/>
              <p:nvPr/>
            </p:nvSpPr>
            <p:spPr>
              <a:xfrm>
                <a:off x="559625" y="2533133"/>
                <a:ext cx="197618" cy="183974"/>
              </a:xfrm>
              <a:prstGeom prst="diamond">
                <a:avLst/>
              </a:prstGeom>
              <a:grpFill/>
              <a:ln>
                <a:solidFill>
                  <a:srgbClr val="FFFFFF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2000">
                  <a:solidFill>
                    <a:schemeClr val="accent3"/>
                  </a:solidFill>
                  <a:latin typeface="+mj-lt"/>
                </a:endParaRPr>
              </a:p>
            </p:txBody>
          </p:sp>
          <p:cxnSp>
            <p:nvCxnSpPr>
              <p:cNvPr id="732" name="Straight Connector 731">
                <a:extLst>
                  <a:ext uri="{FF2B5EF4-FFF2-40B4-BE49-F238E27FC236}">
                    <a16:creationId xmlns:a16="http://schemas.microsoft.com/office/drawing/2014/main" id="{81B7819E-C168-49FF-BBA2-0DF82FDDC098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658434" y="2694682"/>
                <a:ext cx="3076" cy="300464"/>
              </a:xfrm>
              <a:prstGeom prst="line">
                <a:avLst/>
              </a:prstGeom>
              <a:grpFill/>
              <a:ln w="19050">
                <a:solidFill>
                  <a:srgbClr val="FFFFFF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733" name="Rectangle 732">
              <a:extLst>
                <a:ext uri="{FF2B5EF4-FFF2-40B4-BE49-F238E27FC236}">
                  <a16:creationId xmlns:a16="http://schemas.microsoft.com/office/drawing/2014/main" id="{6E7A410C-861F-4087-8B97-58822C15268A}"/>
                </a:ext>
              </a:extLst>
            </p:cNvPr>
            <p:cNvSpPr/>
            <p:nvPr/>
          </p:nvSpPr>
          <p:spPr>
            <a:xfrm>
              <a:off x="4242453" y="3642573"/>
              <a:ext cx="849908" cy="530435"/>
            </a:xfrm>
            <a:prstGeom prst="rect">
              <a:avLst/>
            </a:prstGeom>
          </p:spPr>
          <p:txBody>
            <a:bodyPr vert="horz" wrap="square" anchor="ctr">
              <a:noAutofit/>
            </a:bodyPr>
            <a:lstStyle/>
            <a:p>
              <a:pPr lvl="0" algn="r"/>
              <a:r>
                <a:rPr lang="en-US" sz="1400" dirty="0">
                  <a:solidFill>
                    <a:srgbClr val="0078D4"/>
                  </a:solidFill>
                  <a:latin typeface="+mj-lt"/>
                </a:rPr>
                <a:t>Landing zone</a:t>
              </a:r>
            </a:p>
          </p:txBody>
        </p:sp>
        <p:sp>
          <p:nvSpPr>
            <p:cNvPr id="254" name="Freeform: Shape 253">
              <a:extLst>
                <a:ext uri="{FF2B5EF4-FFF2-40B4-BE49-F238E27FC236}">
                  <a16:creationId xmlns:a16="http://schemas.microsoft.com/office/drawing/2014/main" id="{DA737712-9C16-4956-AC47-9A2A2D0FAD31}"/>
                </a:ext>
              </a:extLst>
            </p:cNvPr>
            <p:cNvSpPr/>
            <p:nvPr/>
          </p:nvSpPr>
          <p:spPr>
            <a:xfrm rot="10800000" flipV="1">
              <a:off x="3463605" y="5514981"/>
              <a:ext cx="790344" cy="772722"/>
            </a:xfrm>
            <a:custGeom>
              <a:avLst/>
              <a:gdLst>
                <a:gd name="connsiteX0" fmla="*/ 632947 w 875635"/>
                <a:gd name="connsiteY0" fmla="*/ 906431 h 906431"/>
                <a:gd name="connsiteX1" fmla="*/ 389660 w 875635"/>
                <a:gd name="connsiteY1" fmla="*/ 906431 h 906431"/>
                <a:gd name="connsiteX2" fmla="*/ 0 w 875635"/>
                <a:gd name="connsiteY2" fmla="*/ 516771 h 906431"/>
                <a:gd name="connsiteX3" fmla="*/ 2 w 875635"/>
                <a:gd name="connsiteY3" fmla="*/ 516771 h 906431"/>
                <a:gd name="connsiteX4" fmla="*/ 3684 w 875635"/>
                <a:gd name="connsiteY4" fmla="*/ 498528 h 906431"/>
                <a:gd name="connsiteX5" fmla="*/ 2 w 875635"/>
                <a:gd name="connsiteY5" fmla="*/ 480288 h 906431"/>
                <a:gd name="connsiteX6" fmla="*/ 2 w 875635"/>
                <a:gd name="connsiteY6" fmla="*/ 242688 h 906431"/>
                <a:gd name="connsiteX7" fmla="*/ 779321 w 875635"/>
                <a:gd name="connsiteY7" fmla="*/ 0 h 906431"/>
                <a:gd name="connsiteX8" fmla="*/ 779321 w 875635"/>
                <a:gd name="connsiteY8" fmla="*/ 127111 h 906431"/>
                <a:gd name="connsiteX9" fmla="*/ 875635 w 875635"/>
                <a:gd name="connsiteY9" fmla="*/ 127111 h 906431"/>
                <a:gd name="connsiteX10" fmla="*/ 632947 w 875635"/>
                <a:gd name="connsiteY10" fmla="*/ 906431 h 906431"/>
                <a:gd name="connsiteX0" fmla="*/ 738884 w 875635"/>
                <a:gd name="connsiteY0" fmla="*/ 906431 h 906431"/>
                <a:gd name="connsiteX1" fmla="*/ 389660 w 875635"/>
                <a:gd name="connsiteY1" fmla="*/ 906431 h 906431"/>
                <a:gd name="connsiteX2" fmla="*/ 0 w 875635"/>
                <a:gd name="connsiteY2" fmla="*/ 516771 h 906431"/>
                <a:gd name="connsiteX3" fmla="*/ 2 w 875635"/>
                <a:gd name="connsiteY3" fmla="*/ 516771 h 906431"/>
                <a:gd name="connsiteX4" fmla="*/ 3684 w 875635"/>
                <a:gd name="connsiteY4" fmla="*/ 498528 h 906431"/>
                <a:gd name="connsiteX5" fmla="*/ 2 w 875635"/>
                <a:gd name="connsiteY5" fmla="*/ 480288 h 906431"/>
                <a:gd name="connsiteX6" fmla="*/ 2 w 875635"/>
                <a:gd name="connsiteY6" fmla="*/ 242688 h 906431"/>
                <a:gd name="connsiteX7" fmla="*/ 779321 w 875635"/>
                <a:gd name="connsiteY7" fmla="*/ 0 h 906431"/>
                <a:gd name="connsiteX8" fmla="*/ 779321 w 875635"/>
                <a:gd name="connsiteY8" fmla="*/ 127111 h 906431"/>
                <a:gd name="connsiteX9" fmla="*/ 875635 w 875635"/>
                <a:gd name="connsiteY9" fmla="*/ 127111 h 906431"/>
                <a:gd name="connsiteX10" fmla="*/ 738884 w 875635"/>
                <a:gd name="connsiteY10" fmla="*/ 906431 h 906431"/>
                <a:gd name="connsiteX0" fmla="*/ 738884 w 779321"/>
                <a:gd name="connsiteY0" fmla="*/ 906431 h 906431"/>
                <a:gd name="connsiteX1" fmla="*/ 389660 w 779321"/>
                <a:gd name="connsiteY1" fmla="*/ 906431 h 906431"/>
                <a:gd name="connsiteX2" fmla="*/ 0 w 779321"/>
                <a:gd name="connsiteY2" fmla="*/ 516771 h 906431"/>
                <a:gd name="connsiteX3" fmla="*/ 2 w 779321"/>
                <a:gd name="connsiteY3" fmla="*/ 516771 h 906431"/>
                <a:gd name="connsiteX4" fmla="*/ 3684 w 779321"/>
                <a:gd name="connsiteY4" fmla="*/ 498528 h 906431"/>
                <a:gd name="connsiteX5" fmla="*/ 2 w 779321"/>
                <a:gd name="connsiteY5" fmla="*/ 480288 h 906431"/>
                <a:gd name="connsiteX6" fmla="*/ 2 w 779321"/>
                <a:gd name="connsiteY6" fmla="*/ 242688 h 906431"/>
                <a:gd name="connsiteX7" fmla="*/ 779321 w 779321"/>
                <a:gd name="connsiteY7" fmla="*/ 0 h 906431"/>
                <a:gd name="connsiteX8" fmla="*/ 779321 w 779321"/>
                <a:gd name="connsiteY8" fmla="*/ 127111 h 906431"/>
                <a:gd name="connsiteX9" fmla="*/ 738884 w 779321"/>
                <a:gd name="connsiteY9" fmla="*/ 906431 h 906431"/>
                <a:gd name="connsiteX0" fmla="*/ 738884 w 779321"/>
                <a:gd name="connsiteY0" fmla="*/ 779320 h 779320"/>
                <a:gd name="connsiteX1" fmla="*/ 389660 w 779321"/>
                <a:gd name="connsiteY1" fmla="*/ 779320 h 779320"/>
                <a:gd name="connsiteX2" fmla="*/ 0 w 779321"/>
                <a:gd name="connsiteY2" fmla="*/ 389660 h 779320"/>
                <a:gd name="connsiteX3" fmla="*/ 2 w 779321"/>
                <a:gd name="connsiteY3" fmla="*/ 389660 h 779320"/>
                <a:gd name="connsiteX4" fmla="*/ 3684 w 779321"/>
                <a:gd name="connsiteY4" fmla="*/ 371417 h 779320"/>
                <a:gd name="connsiteX5" fmla="*/ 2 w 779321"/>
                <a:gd name="connsiteY5" fmla="*/ 353177 h 779320"/>
                <a:gd name="connsiteX6" fmla="*/ 2 w 779321"/>
                <a:gd name="connsiteY6" fmla="*/ 115577 h 779320"/>
                <a:gd name="connsiteX7" fmla="*/ 779321 w 779321"/>
                <a:gd name="connsiteY7" fmla="*/ 0 h 779320"/>
                <a:gd name="connsiteX8" fmla="*/ 738884 w 779321"/>
                <a:gd name="connsiteY8" fmla="*/ 779320 h 779320"/>
                <a:gd name="connsiteX0" fmla="*/ 738884 w 779321"/>
                <a:gd name="connsiteY0" fmla="*/ 779320 h 779320"/>
                <a:gd name="connsiteX1" fmla="*/ 389660 w 779321"/>
                <a:gd name="connsiteY1" fmla="*/ 779320 h 779320"/>
                <a:gd name="connsiteX2" fmla="*/ 0 w 779321"/>
                <a:gd name="connsiteY2" fmla="*/ 389660 h 779320"/>
                <a:gd name="connsiteX3" fmla="*/ 2 w 779321"/>
                <a:gd name="connsiteY3" fmla="*/ 389660 h 779320"/>
                <a:gd name="connsiteX4" fmla="*/ 3684 w 779321"/>
                <a:gd name="connsiteY4" fmla="*/ 371417 h 779320"/>
                <a:gd name="connsiteX5" fmla="*/ 2 w 779321"/>
                <a:gd name="connsiteY5" fmla="*/ 353177 h 779320"/>
                <a:gd name="connsiteX6" fmla="*/ 2 w 779321"/>
                <a:gd name="connsiteY6" fmla="*/ 37518 h 779320"/>
                <a:gd name="connsiteX7" fmla="*/ 779321 w 779321"/>
                <a:gd name="connsiteY7" fmla="*/ 0 h 779320"/>
                <a:gd name="connsiteX8" fmla="*/ 738884 w 779321"/>
                <a:gd name="connsiteY8" fmla="*/ 779320 h 779320"/>
                <a:gd name="connsiteX0" fmla="*/ 738884 w 779321"/>
                <a:gd name="connsiteY0" fmla="*/ 779320 h 779320"/>
                <a:gd name="connsiteX1" fmla="*/ 389660 w 779321"/>
                <a:gd name="connsiteY1" fmla="*/ 779320 h 779320"/>
                <a:gd name="connsiteX2" fmla="*/ 0 w 779321"/>
                <a:gd name="connsiteY2" fmla="*/ 389660 h 779320"/>
                <a:gd name="connsiteX3" fmla="*/ 2 w 779321"/>
                <a:gd name="connsiteY3" fmla="*/ 389660 h 779320"/>
                <a:gd name="connsiteX4" fmla="*/ 3684 w 779321"/>
                <a:gd name="connsiteY4" fmla="*/ 371417 h 779320"/>
                <a:gd name="connsiteX5" fmla="*/ 2 w 779321"/>
                <a:gd name="connsiteY5" fmla="*/ 353177 h 779320"/>
                <a:gd name="connsiteX6" fmla="*/ 2 w 779321"/>
                <a:gd name="connsiteY6" fmla="*/ 20791 h 779320"/>
                <a:gd name="connsiteX7" fmla="*/ 779321 w 779321"/>
                <a:gd name="connsiteY7" fmla="*/ 0 h 779320"/>
                <a:gd name="connsiteX8" fmla="*/ 738884 w 779321"/>
                <a:gd name="connsiteY8" fmla="*/ 779320 h 779320"/>
                <a:gd name="connsiteX0" fmla="*/ 738884 w 757019"/>
                <a:gd name="connsiteY0" fmla="*/ 779320 h 779320"/>
                <a:gd name="connsiteX1" fmla="*/ 389660 w 757019"/>
                <a:gd name="connsiteY1" fmla="*/ 779320 h 779320"/>
                <a:gd name="connsiteX2" fmla="*/ 0 w 757019"/>
                <a:gd name="connsiteY2" fmla="*/ 389660 h 779320"/>
                <a:gd name="connsiteX3" fmla="*/ 2 w 757019"/>
                <a:gd name="connsiteY3" fmla="*/ 389660 h 779320"/>
                <a:gd name="connsiteX4" fmla="*/ 3684 w 757019"/>
                <a:gd name="connsiteY4" fmla="*/ 371417 h 779320"/>
                <a:gd name="connsiteX5" fmla="*/ 2 w 757019"/>
                <a:gd name="connsiteY5" fmla="*/ 353177 h 779320"/>
                <a:gd name="connsiteX6" fmla="*/ 2 w 757019"/>
                <a:gd name="connsiteY6" fmla="*/ 20791 h 779320"/>
                <a:gd name="connsiteX7" fmla="*/ 757019 w 757019"/>
                <a:gd name="connsiteY7" fmla="*/ 0 h 779320"/>
                <a:gd name="connsiteX8" fmla="*/ 738884 w 757019"/>
                <a:gd name="connsiteY8" fmla="*/ 779320 h 779320"/>
                <a:gd name="connsiteX0" fmla="*/ 738884 w 751443"/>
                <a:gd name="connsiteY0" fmla="*/ 779320 h 779320"/>
                <a:gd name="connsiteX1" fmla="*/ 389660 w 751443"/>
                <a:gd name="connsiteY1" fmla="*/ 779320 h 779320"/>
                <a:gd name="connsiteX2" fmla="*/ 0 w 751443"/>
                <a:gd name="connsiteY2" fmla="*/ 389660 h 779320"/>
                <a:gd name="connsiteX3" fmla="*/ 2 w 751443"/>
                <a:gd name="connsiteY3" fmla="*/ 389660 h 779320"/>
                <a:gd name="connsiteX4" fmla="*/ 3684 w 751443"/>
                <a:gd name="connsiteY4" fmla="*/ 371417 h 779320"/>
                <a:gd name="connsiteX5" fmla="*/ 2 w 751443"/>
                <a:gd name="connsiteY5" fmla="*/ 353177 h 779320"/>
                <a:gd name="connsiteX6" fmla="*/ 2 w 751443"/>
                <a:gd name="connsiteY6" fmla="*/ 20791 h 779320"/>
                <a:gd name="connsiteX7" fmla="*/ 751443 w 751443"/>
                <a:gd name="connsiteY7" fmla="*/ 0 h 779320"/>
                <a:gd name="connsiteX8" fmla="*/ 738884 w 751443"/>
                <a:gd name="connsiteY8" fmla="*/ 779320 h 779320"/>
                <a:gd name="connsiteX0" fmla="*/ 738884 w 745974"/>
                <a:gd name="connsiteY0" fmla="*/ 768169 h 768169"/>
                <a:gd name="connsiteX1" fmla="*/ 389660 w 745974"/>
                <a:gd name="connsiteY1" fmla="*/ 768169 h 768169"/>
                <a:gd name="connsiteX2" fmla="*/ 0 w 745974"/>
                <a:gd name="connsiteY2" fmla="*/ 378509 h 768169"/>
                <a:gd name="connsiteX3" fmla="*/ 2 w 745974"/>
                <a:gd name="connsiteY3" fmla="*/ 378509 h 768169"/>
                <a:gd name="connsiteX4" fmla="*/ 3684 w 745974"/>
                <a:gd name="connsiteY4" fmla="*/ 360266 h 768169"/>
                <a:gd name="connsiteX5" fmla="*/ 2 w 745974"/>
                <a:gd name="connsiteY5" fmla="*/ 342026 h 768169"/>
                <a:gd name="connsiteX6" fmla="*/ 2 w 745974"/>
                <a:gd name="connsiteY6" fmla="*/ 9640 h 768169"/>
                <a:gd name="connsiteX7" fmla="*/ 745974 w 745974"/>
                <a:gd name="connsiteY7" fmla="*/ 0 h 768169"/>
                <a:gd name="connsiteX8" fmla="*/ 738884 w 745974"/>
                <a:gd name="connsiteY8" fmla="*/ 768169 h 768169"/>
                <a:gd name="connsiteX0" fmla="*/ 738884 w 745974"/>
                <a:gd name="connsiteY0" fmla="*/ 769680 h 769680"/>
                <a:gd name="connsiteX1" fmla="*/ 389660 w 745974"/>
                <a:gd name="connsiteY1" fmla="*/ 769680 h 769680"/>
                <a:gd name="connsiteX2" fmla="*/ 0 w 745974"/>
                <a:gd name="connsiteY2" fmla="*/ 380020 h 769680"/>
                <a:gd name="connsiteX3" fmla="*/ 2 w 745974"/>
                <a:gd name="connsiteY3" fmla="*/ 380020 h 769680"/>
                <a:gd name="connsiteX4" fmla="*/ 3684 w 745974"/>
                <a:gd name="connsiteY4" fmla="*/ 361777 h 769680"/>
                <a:gd name="connsiteX5" fmla="*/ 2 w 745974"/>
                <a:gd name="connsiteY5" fmla="*/ 343537 h 769680"/>
                <a:gd name="connsiteX6" fmla="*/ 2 w 745974"/>
                <a:gd name="connsiteY6" fmla="*/ 0 h 769680"/>
                <a:gd name="connsiteX7" fmla="*/ 745974 w 745974"/>
                <a:gd name="connsiteY7" fmla="*/ 1511 h 769680"/>
                <a:gd name="connsiteX8" fmla="*/ 738884 w 745974"/>
                <a:gd name="connsiteY8" fmla="*/ 769680 h 7696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45974" h="769680">
                  <a:moveTo>
                    <a:pt x="738884" y="769680"/>
                  </a:moveTo>
                  <a:lnTo>
                    <a:pt x="389660" y="769680"/>
                  </a:lnTo>
                  <a:cubicBezTo>
                    <a:pt x="174457" y="769680"/>
                    <a:pt x="0" y="595223"/>
                    <a:pt x="0" y="380020"/>
                  </a:cubicBezTo>
                  <a:lnTo>
                    <a:pt x="2" y="380020"/>
                  </a:lnTo>
                  <a:lnTo>
                    <a:pt x="3684" y="361777"/>
                  </a:lnTo>
                  <a:lnTo>
                    <a:pt x="2" y="343537"/>
                  </a:lnTo>
                  <a:lnTo>
                    <a:pt x="2" y="0"/>
                  </a:lnTo>
                  <a:lnTo>
                    <a:pt x="745974" y="1511"/>
                  </a:lnTo>
                  <a:cubicBezTo>
                    <a:pt x="743611" y="257567"/>
                    <a:pt x="741247" y="513624"/>
                    <a:pt x="738884" y="769680"/>
                  </a:cubicBezTo>
                  <a:close/>
                </a:path>
              </a:pathLst>
            </a:custGeom>
            <a:solidFill>
              <a:schemeClr val="accent3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IN"/>
            </a:p>
          </p:txBody>
        </p:sp>
        <p:sp>
          <p:nvSpPr>
            <p:cNvPr id="287" name="Freeform 16">
              <a:extLst>
                <a:ext uri="{FF2B5EF4-FFF2-40B4-BE49-F238E27FC236}">
                  <a16:creationId xmlns:a16="http://schemas.microsoft.com/office/drawing/2014/main" id="{27BAFC92-3540-4344-ADB9-166CAFB09531}"/>
                </a:ext>
              </a:extLst>
            </p:cNvPr>
            <p:cNvSpPr>
              <a:spLocks/>
            </p:cNvSpPr>
            <p:nvPr/>
          </p:nvSpPr>
          <p:spPr bwMode="auto">
            <a:xfrm>
              <a:off x="3477767" y="5532907"/>
              <a:ext cx="769114" cy="641234"/>
            </a:xfrm>
            <a:custGeom>
              <a:avLst/>
              <a:gdLst>
                <a:gd name="T0" fmla="*/ 64 w 64"/>
                <a:gd name="T1" fmla="*/ 62 h 62"/>
                <a:gd name="T2" fmla="*/ 64 w 64"/>
                <a:gd name="T3" fmla="*/ 0 h 62"/>
                <a:gd name="T4" fmla="*/ 0 w 64"/>
                <a:gd name="T5" fmla="*/ 0 h 62"/>
                <a:gd name="T6" fmla="*/ 0 w 64"/>
                <a:gd name="T7" fmla="*/ 60 h 62"/>
                <a:gd name="T8" fmla="*/ 0 w 64"/>
                <a:gd name="T9" fmla="*/ 62 h 62"/>
                <a:gd name="T10" fmla="*/ 64 w 64"/>
                <a:gd name="T11" fmla="*/ 62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4" h="62">
                  <a:moveTo>
                    <a:pt x="64" y="62"/>
                  </a:moveTo>
                  <a:cubicBezTo>
                    <a:pt x="64" y="0"/>
                    <a:pt x="64" y="0"/>
                    <a:pt x="6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0" y="60"/>
                    <a:pt x="0" y="61"/>
                    <a:pt x="0" y="62"/>
                  </a:cubicBezTo>
                  <a:lnTo>
                    <a:pt x="64" y="62"/>
                  </a:lnTo>
                  <a:close/>
                </a:path>
              </a:pathLst>
            </a:custGeom>
            <a:noFill/>
            <a:ln>
              <a:noFill/>
            </a:ln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1" algn="ctr" fontAlgn="auto">
                <a:lnSpc>
                  <a:spcPct val="100000"/>
                </a:lnSpc>
                <a:spcBef>
                  <a:spcPts val="100"/>
                </a:spcBef>
                <a:spcAft>
                  <a:spcPts val="200"/>
                </a:spcAft>
                <a:buClrTx/>
                <a:buSzTx/>
                <a:buFontTx/>
                <a:buNone/>
                <a:tabLst>
                  <a:tab pos="225425" algn="l"/>
                </a:tabLst>
                <a:defRPr/>
              </a:pPr>
              <a:r>
                <a:rPr lang="en-US" sz="950"/>
                <a:t>Workload owner</a:t>
              </a:r>
              <a:br>
                <a:rPr lang="en-US" sz="950"/>
              </a:br>
              <a:r>
                <a:rPr lang="en-US" sz="950"/>
                <a:t>buy-in or alignment</a:t>
              </a:r>
            </a:p>
          </p:txBody>
        </p:sp>
        <p:sp>
          <p:nvSpPr>
            <p:cNvPr id="255" name="Freeform: Shape 254">
              <a:extLst>
                <a:ext uri="{FF2B5EF4-FFF2-40B4-BE49-F238E27FC236}">
                  <a16:creationId xmlns:a16="http://schemas.microsoft.com/office/drawing/2014/main" id="{D9E11929-F9F4-43FD-A38D-883013AB6343}"/>
                </a:ext>
              </a:extLst>
            </p:cNvPr>
            <p:cNvSpPr/>
            <p:nvPr/>
          </p:nvSpPr>
          <p:spPr>
            <a:xfrm rot="10800000" flipH="1" flipV="1">
              <a:off x="5554699" y="4438330"/>
              <a:ext cx="783276" cy="952893"/>
            </a:xfrm>
            <a:custGeom>
              <a:avLst/>
              <a:gdLst>
                <a:gd name="connsiteX0" fmla="*/ 632947 w 875635"/>
                <a:gd name="connsiteY0" fmla="*/ 906431 h 906431"/>
                <a:gd name="connsiteX1" fmla="*/ 389660 w 875635"/>
                <a:gd name="connsiteY1" fmla="*/ 906431 h 906431"/>
                <a:gd name="connsiteX2" fmla="*/ 0 w 875635"/>
                <a:gd name="connsiteY2" fmla="*/ 516771 h 906431"/>
                <a:gd name="connsiteX3" fmla="*/ 2 w 875635"/>
                <a:gd name="connsiteY3" fmla="*/ 516771 h 906431"/>
                <a:gd name="connsiteX4" fmla="*/ 3684 w 875635"/>
                <a:gd name="connsiteY4" fmla="*/ 498528 h 906431"/>
                <a:gd name="connsiteX5" fmla="*/ 2 w 875635"/>
                <a:gd name="connsiteY5" fmla="*/ 480288 h 906431"/>
                <a:gd name="connsiteX6" fmla="*/ 2 w 875635"/>
                <a:gd name="connsiteY6" fmla="*/ 242688 h 906431"/>
                <a:gd name="connsiteX7" fmla="*/ 779321 w 875635"/>
                <a:gd name="connsiteY7" fmla="*/ 0 h 906431"/>
                <a:gd name="connsiteX8" fmla="*/ 779321 w 875635"/>
                <a:gd name="connsiteY8" fmla="*/ 127111 h 906431"/>
                <a:gd name="connsiteX9" fmla="*/ 875635 w 875635"/>
                <a:gd name="connsiteY9" fmla="*/ 127111 h 906431"/>
                <a:gd name="connsiteX10" fmla="*/ 632947 w 875635"/>
                <a:gd name="connsiteY10" fmla="*/ 906431 h 906431"/>
                <a:gd name="connsiteX0" fmla="*/ 738884 w 875635"/>
                <a:gd name="connsiteY0" fmla="*/ 906431 h 906431"/>
                <a:gd name="connsiteX1" fmla="*/ 389660 w 875635"/>
                <a:gd name="connsiteY1" fmla="*/ 906431 h 906431"/>
                <a:gd name="connsiteX2" fmla="*/ 0 w 875635"/>
                <a:gd name="connsiteY2" fmla="*/ 516771 h 906431"/>
                <a:gd name="connsiteX3" fmla="*/ 2 w 875635"/>
                <a:gd name="connsiteY3" fmla="*/ 516771 h 906431"/>
                <a:gd name="connsiteX4" fmla="*/ 3684 w 875635"/>
                <a:gd name="connsiteY4" fmla="*/ 498528 h 906431"/>
                <a:gd name="connsiteX5" fmla="*/ 2 w 875635"/>
                <a:gd name="connsiteY5" fmla="*/ 480288 h 906431"/>
                <a:gd name="connsiteX6" fmla="*/ 2 w 875635"/>
                <a:gd name="connsiteY6" fmla="*/ 242688 h 906431"/>
                <a:gd name="connsiteX7" fmla="*/ 779321 w 875635"/>
                <a:gd name="connsiteY7" fmla="*/ 0 h 906431"/>
                <a:gd name="connsiteX8" fmla="*/ 779321 w 875635"/>
                <a:gd name="connsiteY8" fmla="*/ 127111 h 906431"/>
                <a:gd name="connsiteX9" fmla="*/ 875635 w 875635"/>
                <a:gd name="connsiteY9" fmla="*/ 127111 h 906431"/>
                <a:gd name="connsiteX10" fmla="*/ 738884 w 875635"/>
                <a:gd name="connsiteY10" fmla="*/ 906431 h 906431"/>
                <a:gd name="connsiteX0" fmla="*/ 738884 w 779321"/>
                <a:gd name="connsiteY0" fmla="*/ 906431 h 906431"/>
                <a:gd name="connsiteX1" fmla="*/ 389660 w 779321"/>
                <a:gd name="connsiteY1" fmla="*/ 906431 h 906431"/>
                <a:gd name="connsiteX2" fmla="*/ 0 w 779321"/>
                <a:gd name="connsiteY2" fmla="*/ 516771 h 906431"/>
                <a:gd name="connsiteX3" fmla="*/ 2 w 779321"/>
                <a:gd name="connsiteY3" fmla="*/ 516771 h 906431"/>
                <a:gd name="connsiteX4" fmla="*/ 3684 w 779321"/>
                <a:gd name="connsiteY4" fmla="*/ 498528 h 906431"/>
                <a:gd name="connsiteX5" fmla="*/ 2 w 779321"/>
                <a:gd name="connsiteY5" fmla="*/ 480288 h 906431"/>
                <a:gd name="connsiteX6" fmla="*/ 2 w 779321"/>
                <a:gd name="connsiteY6" fmla="*/ 242688 h 906431"/>
                <a:gd name="connsiteX7" fmla="*/ 779321 w 779321"/>
                <a:gd name="connsiteY7" fmla="*/ 0 h 906431"/>
                <a:gd name="connsiteX8" fmla="*/ 779321 w 779321"/>
                <a:gd name="connsiteY8" fmla="*/ 127111 h 906431"/>
                <a:gd name="connsiteX9" fmla="*/ 738884 w 779321"/>
                <a:gd name="connsiteY9" fmla="*/ 906431 h 906431"/>
                <a:gd name="connsiteX0" fmla="*/ 738884 w 779321"/>
                <a:gd name="connsiteY0" fmla="*/ 779320 h 779320"/>
                <a:gd name="connsiteX1" fmla="*/ 389660 w 779321"/>
                <a:gd name="connsiteY1" fmla="*/ 779320 h 779320"/>
                <a:gd name="connsiteX2" fmla="*/ 0 w 779321"/>
                <a:gd name="connsiteY2" fmla="*/ 389660 h 779320"/>
                <a:gd name="connsiteX3" fmla="*/ 2 w 779321"/>
                <a:gd name="connsiteY3" fmla="*/ 389660 h 779320"/>
                <a:gd name="connsiteX4" fmla="*/ 3684 w 779321"/>
                <a:gd name="connsiteY4" fmla="*/ 371417 h 779320"/>
                <a:gd name="connsiteX5" fmla="*/ 2 w 779321"/>
                <a:gd name="connsiteY5" fmla="*/ 353177 h 779320"/>
                <a:gd name="connsiteX6" fmla="*/ 2 w 779321"/>
                <a:gd name="connsiteY6" fmla="*/ 115577 h 779320"/>
                <a:gd name="connsiteX7" fmla="*/ 779321 w 779321"/>
                <a:gd name="connsiteY7" fmla="*/ 0 h 779320"/>
                <a:gd name="connsiteX8" fmla="*/ 738884 w 779321"/>
                <a:gd name="connsiteY8" fmla="*/ 779320 h 779320"/>
                <a:gd name="connsiteX0" fmla="*/ 738884 w 779321"/>
                <a:gd name="connsiteY0" fmla="*/ 779320 h 779320"/>
                <a:gd name="connsiteX1" fmla="*/ 389660 w 779321"/>
                <a:gd name="connsiteY1" fmla="*/ 779320 h 779320"/>
                <a:gd name="connsiteX2" fmla="*/ 0 w 779321"/>
                <a:gd name="connsiteY2" fmla="*/ 389660 h 779320"/>
                <a:gd name="connsiteX3" fmla="*/ 2 w 779321"/>
                <a:gd name="connsiteY3" fmla="*/ 389660 h 779320"/>
                <a:gd name="connsiteX4" fmla="*/ 3684 w 779321"/>
                <a:gd name="connsiteY4" fmla="*/ 371417 h 779320"/>
                <a:gd name="connsiteX5" fmla="*/ 2 w 779321"/>
                <a:gd name="connsiteY5" fmla="*/ 353177 h 779320"/>
                <a:gd name="connsiteX6" fmla="*/ 2 w 779321"/>
                <a:gd name="connsiteY6" fmla="*/ 37518 h 779320"/>
                <a:gd name="connsiteX7" fmla="*/ 779321 w 779321"/>
                <a:gd name="connsiteY7" fmla="*/ 0 h 779320"/>
                <a:gd name="connsiteX8" fmla="*/ 738884 w 779321"/>
                <a:gd name="connsiteY8" fmla="*/ 779320 h 779320"/>
                <a:gd name="connsiteX0" fmla="*/ 738884 w 779321"/>
                <a:gd name="connsiteY0" fmla="*/ 779320 h 779320"/>
                <a:gd name="connsiteX1" fmla="*/ 389660 w 779321"/>
                <a:gd name="connsiteY1" fmla="*/ 779320 h 779320"/>
                <a:gd name="connsiteX2" fmla="*/ 0 w 779321"/>
                <a:gd name="connsiteY2" fmla="*/ 389660 h 779320"/>
                <a:gd name="connsiteX3" fmla="*/ 2 w 779321"/>
                <a:gd name="connsiteY3" fmla="*/ 389660 h 779320"/>
                <a:gd name="connsiteX4" fmla="*/ 3684 w 779321"/>
                <a:gd name="connsiteY4" fmla="*/ 371417 h 779320"/>
                <a:gd name="connsiteX5" fmla="*/ 2 w 779321"/>
                <a:gd name="connsiteY5" fmla="*/ 353177 h 779320"/>
                <a:gd name="connsiteX6" fmla="*/ 2 w 779321"/>
                <a:gd name="connsiteY6" fmla="*/ 20791 h 779320"/>
                <a:gd name="connsiteX7" fmla="*/ 779321 w 779321"/>
                <a:gd name="connsiteY7" fmla="*/ 0 h 779320"/>
                <a:gd name="connsiteX8" fmla="*/ 738884 w 779321"/>
                <a:gd name="connsiteY8" fmla="*/ 779320 h 779320"/>
                <a:gd name="connsiteX0" fmla="*/ 738884 w 757019"/>
                <a:gd name="connsiteY0" fmla="*/ 779320 h 779320"/>
                <a:gd name="connsiteX1" fmla="*/ 389660 w 757019"/>
                <a:gd name="connsiteY1" fmla="*/ 779320 h 779320"/>
                <a:gd name="connsiteX2" fmla="*/ 0 w 757019"/>
                <a:gd name="connsiteY2" fmla="*/ 389660 h 779320"/>
                <a:gd name="connsiteX3" fmla="*/ 2 w 757019"/>
                <a:gd name="connsiteY3" fmla="*/ 389660 h 779320"/>
                <a:gd name="connsiteX4" fmla="*/ 3684 w 757019"/>
                <a:gd name="connsiteY4" fmla="*/ 371417 h 779320"/>
                <a:gd name="connsiteX5" fmla="*/ 2 w 757019"/>
                <a:gd name="connsiteY5" fmla="*/ 353177 h 779320"/>
                <a:gd name="connsiteX6" fmla="*/ 2 w 757019"/>
                <a:gd name="connsiteY6" fmla="*/ 20791 h 779320"/>
                <a:gd name="connsiteX7" fmla="*/ 757019 w 757019"/>
                <a:gd name="connsiteY7" fmla="*/ 0 h 779320"/>
                <a:gd name="connsiteX8" fmla="*/ 738884 w 757019"/>
                <a:gd name="connsiteY8" fmla="*/ 779320 h 779320"/>
                <a:gd name="connsiteX0" fmla="*/ 738884 w 751443"/>
                <a:gd name="connsiteY0" fmla="*/ 779320 h 779320"/>
                <a:gd name="connsiteX1" fmla="*/ 389660 w 751443"/>
                <a:gd name="connsiteY1" fmla="*/ 779320 h 779320"/>
                <a:gd name="connsiteX2" fmla="*/ 0 w 751443"/>
                <a:gd name="connsiteY2" fmla="*/ 389660 h 779320"/>
                <a:gd name="connsiteX3" fmla="*/ 2 w 751443"/>
                <a:gd name="connsiteY3" fmla="*/ 389660 h 779320"/>
                <a:gd name="connsiteX4" fmla="*/ 3684 w 751443"/>
                <a:gd name="connsiteY4" fmla="*/ 371417 h 779320"/>
                <a:gd name="connsiteX5" fmla="*/ 2 w 751443"/>
                <a:gd name="connsiteY5" fmla="*/ 353177 h 779320"/>
                <a:gd name="connsiteX6" fmla="*/ 2 w 751443"/>
                <a:gd name="connsiteY6" fmla="*/ 20791 h 779320"/>
                <a:gd name="connsiteX7" fmla="*/ 751443 w 751443"/>
                <a:gd name="connsiteY7" fmla="*/ 0 h 779320"/>
                <a:gd name="connsiteX8" fmla="*/ 738884 w 751443"/>
                <a:gd name="connsiteY8" fmla="*/ 779320 h 779320"/>
                <a:gd name="connsiteX0" fmla="*/ 738884 w 745974"/>
                <a:gd name="connsiteY0" fmla="*/ 768169 h 768169"/>
                <a:gd name="connsiteX1" fmla="*/ 389660 w 745974"/>
                <a:gd name="connsiteY1" fmla="*/ 768169 h 768169"/>
                <a:gd name="connsiteX2" fmla="*/ 0 w 745974"/>
                <a:gd name="connsiteY2" fmla="*/ 378509 h 768169"/>
                <a:gd name="connsiteX3" fmla="*/ 2 w 745974"/>
                <a:gd name="connsiteY3" fmla="*/ 378509 h 768169"/>
                <a:gd name="connsiteX4" fmla="*/ 3684 w 745974"/>
                <a:gd name="connsiteY4" fmla="*/ 360266 h 768169"/>
                <a:gd name="connsiteX5" fmla="*/ 2 w 745974"/>
                <a:gd name="connsiteY5" fmla="*/ 342026 h 768169"/>
                <a:gd name="connsiteX6" fmla="*/ 2 w 745974"/>
                <a:gd name="connsiteY6" fmla="*/ 9640 h 768169"/>
                <a:gd name="connsiteX7" fmla="*/ 745974 w 745974"/>
                <a:gd name="connsiteY7" fmla="*/ 0 h 768169"/>
                <a:gd name="connsiteX8" fmla="*/ 738884 w 745974"/>
                <a:gd name="connsiteY8" fmla="*/ 768169 h 768169"/>
                <a:gd name="connsiteX0" fmla="*/ 738884 w 745974"/>
                <a:gd name="connsiteY0" fmla="*/ 769680 h 769680"/>
                <a:gd name="connsiteX1" fmla="*/ 389660 w 745974"/>
                <a:gd name="connsiteY1" fmla="*/ 769680 h 769680"/>
                <a:gd name="connsiteX2" fmla="*/ 0 w 745974"/>
                <a:gd name="connsiteY2" fmla="*/ 380020 h 769680"/>
                <a:gd name="connsiteX3" fmla="*/ 2 w 745974"/>
                <a:gd name="connsiteY3" fmla="*/ 380020 h 769680"/>
                <a:gd name="connsiteX4" fmla="*/ 3684 w 745974"/>
                <a:gd name="connsiteY4" fmla="*/ 361777 h 769680"/>
                <a:gd name="connsiteX5" fmla="*/ 2 w 745974"/>
                <a:gd name="connsiteY5" fmla="*/ 343537 h 769680"/>
                <a:gd name="connsiteX6" fmla="*/ 2 w 745974"/>
                <a:gd name="connsiteY6" fmla="*/ 0 h 769680"/>
                <a:gd name="connsiteX7" fmla="*/ 745974 w 745974"/>
                <a:gd name="connsiteY7" fmla="*/ 1511 h 769680"/>
                <a:gd name="connsiteX8" fmla="*/ 738884 w 745974"/>
                <a:gd name="connsiteY8" fmla="*/ 769680 h 7696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45974" h="769680">
                  <a:moveTo>
                    <a:pt x="738884" y="769680"/>
                  </a:moveTo>
                  <a:lnTo>
                    <a:pt x="389660" y="769680"/>
                  </a:lnTo>
                  <a:cubicBezTo>
                    <a:pt x="174457" y="769680"/>
                    <a:pt x="0" y="595223"/>
                    <a:pt x="0" y="380020"/>
                  </a:cubicBezTo>
                  <a:lnTo>
                    <a:pt x="2" y="380020"/>
                  </a:lnTo>
                  <a:lnTo>
                    <a:pt x="3684" y="361777"/>
                  </a:lnTo>
                  <a:lnTo>
                    <a:pt x="2" y="343537"/>
                  </a:lnTo>
                  <a:lnTo>
                    <a:pt x="2" y="0"/>
                  </a:lnTo>
                  <a:lnTo>
                    <a:pt x="745974" y="1511"/>
                  </a:lnTo>
                  <a:cubicBezTo>
                    <a:pt x="743611" y="257567"/>
                    <a:pt x="741247" y="513624"/>
                    <a:pt x="738884" y="769680"/>
                  </a:cubicBezTo>
                  <a:close/>
                </a:path>
              </a:pathLst>
            </a:custGeom>
            <a:solidFill>
              <a:schemeClr val="accent3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IN"/>
            </a:p>
          </p:txBody>
        </p:sp>
        <p:sp>
          <p:nvSpPr>
            <p:cNvPr id="313" name="Rectangle 18">
              <a:extLst>
                <a:ext uri="{FF2B5EF4-FFF2-40B4-BE49-F238E27FC236}">
                  <a16:creationId xmlns:a16="http://schemas.microsoft.com/office/drawing/2014/main" id="{6C795D14-AF47-4C90-B59D-22325C22432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573021" y="4610889"/>
              <a:ext cx="776096" cy="369332"/>
            </a:xfrm>
            <a:prstGeom prst="rect">
              <a:avLst/>
            </a:prstGeom>
            <a:noFill/>
            <a:ln>
              <a:noFill/>
            </a:ln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1" algn="ctr" fontAlgn="auto">
                <a:lnSpc>
                  <a:spcPct val="100000"/>
                </a:lnSpc>
                <a:spcBef>
                  <a:spcPts val="100"/>
                </a:spcBef>
                <a:spcAft>
                  <a:spcPts val="200"/>
                </a:spcAft>
                <a:buClrTx/>
                <a:buSzTx/>
                <a:buFontTx/>
                <a:buNone/>
                <a:tabLst>
                  <a:tab pos="225425" algn="l"/>
                </a:tabLst>
                <a:defRPr/>
              </a:pPr>
              <a:r>
                <a:rPr lang="en-US" sz="950">
                  <a:solidFill>
                    <a:schemeClr val="bg1"/>
                  </a:solidFill>
                </a:rPr>
                <a:t>Cost management</a:t>
              </a:r>
            </a:p>
          </p:txBody>
        </p:sp>
        <p:sp>
          <p:nvSpPr>
            <p:cNvPr id="259" name="Freeform: Shape 258">
              <a:extLst>
                <a:ext uri="{FF2B5EF4-FFF2-40B4-BE49-F238E27FC236}">
                  <a16:creationId xmlns:a16="http://schemas.microsoft.com/office/drawing/2014/main" id="{FAB4AE8E-60C0-4969-8093-BAC95953EFE2}"/>
                </a:ext>
              </a:extLst>
            </p:cNvPr>
            <p:cNvSpPr/>
            <p:nvPr/>
          </p:nvSpPr>
          <p:spPr>
            <a:xfrm rot="10800000" flipH="1">
              <a:off x="8133138" y="2011807"/>
              <a:ext cx="783276" cy="770768"/>
            </a:xfrm>
            <a:custGeom>
              <a:avLst/>
              <a:gdLst>
                <a:gd name="connsiteX0" fmla="*/ 632947 w 875635"/>
                <a:gd name="connsiteY0" fmla="*/ 906431 h 906431"/>
                <a:gd name="connsiteX1" fmla="*/ 389660 w 875635"/>
                <a:gd name="connsiteY1" fmla="*/ 906431 h 906431"/>
                <a:gd name="connsiteX2" fmla="*/ 0 w 875635"/>
                <a:gd name="connsiteY2" fmla="*/ 516771 h 906431"/>
                <a:gd name="connsiteX3" fmla="*/ 2 w 875635"/>
                <a:gd name="connsiteY3" fmla="*/ 516771 h 906431"/>
                <a:gd name="connsiteX4" fmla="*/ 3684 w 875635"/>
                <a:gd name="connsiteY4" fmla="*/ 498528 h 906431"/>
                <a:gd name="connsiteX5" fmla="*/ 2 w 875635"/>
                <a:gd name="connsiteY5" fmla="*/ 480288 h 906431"/>
                <a:gd name="connsiteX6" fmla="*/ 2 w 875635"/>
                <a:gd name="connsiteY6" fmla="*/ 242688 h 906431"/>
                <a:gd name="connsiteX7" fmla="*/ 779321 w 875635"/>
                <a:gd name="connsiteY7" fmla="*/ 0 h 906431"/>
                <a:gd name="connsiteX8" fmla="*/ 779321 w 875635"/>
                <a:gd name="connsiteY8" fmla="*/ 127111 h 906431"/>
                <a:gd name="connsiteX9" fmla="*/ 875635 w 875635"/>
                <a:gd name="connsiteY9" fmla="*/ 127111 h 906431"/>
                <a:gd name="connsiteX10" fmla="*/ 632947 w 875635"/>
                <a:gd name="connsiteY10" fmla="*/ 906431 h 906431"/>
                <a:gd name="connsiteX0" fmla="*/ 738884 w 875635"/>
                <a:gd name="connsiteY0" fmla="*/ 906431 h 906431"/>
                <a:gd name="connsiteX1" fmla="*/ 389660 w 875635"/>
                <a:gd name="connsiteY1" fmla="*/ 906431 h 906431"/>
                <a:gd name="connsiteX2" fmla="*/ 0 w 875635"/>
                <a:gd name="connsiteY2" fmla="*/ 516771 h 906431"/>
                <a:gd name="connsiteX3" fmla="*/ 2 w 875635"/>
                <a:gd name="connsiteY3" fmla="*/ 516771 h 906431"/>
                <a:gd name="connsiteX4" fmla="*/ 3684 w 875635"/>
                <a:gd name="connsiteY4" fmla="*/ 498528 h 906431"/>
                <a:gd name="connsiteX5" fmla="*/ 2 w 875635"/>
                <a:gd name="connsiteY5" fmla="*/ 480288 h 906431"/>
                <a:gd name="connsiteX6" fmla="*/ 2 w 875635"/>
                <a:gd name="connsiteY6" fmla="*/ 242688 h 906431"/>
                <a:gd name="connsiteX7" fmla="*/ 779321 w 875635"/>
                <a:gd name="connsiteY7" fmla="*/ 0 h 906431"/>
                <a:gd name="connsiteX8" fmla="*/ 779321 w 875635"/>
                <a:gd name="connsiteY8" fmla="*/ 127111 h 906431"/>
                <a:gd name="connsiteX9" fmla="*/ 875635 w 875635"/>
                <a:gd name="connsiteY9" fmla="*/ 127111 h 906431"/>
                <a:gd name="connsiteX10" fmla="*/ 738884 w 875635"/>
                <a:gd name="connsiteY10" fmla="*/ 906431 h 906431"/>
                <a:gd name="connsiteX0" fmla="*/ 738884 w 779321"/>
                <a:gd name="connsiteY0" fmla="*/ 906431 h 906431"/>
                <a:gd name="connsiteX1" fmla="*/ 389660 w 779321"/>
                <a:gd name="connsiteY1" fmla="*/ 906431 h 906431"/>
                <a:gd name="connsiteX2" fmla="*/ 0 w 779321"/>
                <a:gd name="connsiteY2" fmla="*/ 516771 h 906431"/>
                <a:gd name="connsiteX3" fmla="*/ 2 w 779321"/>
                <a:gd name="connsiteY3" fmla="*/ 516771 h 906431"/>
                <a:gd name="connsiteX4" fmla="*/ 3684 w 779321"/>
                <a:gd name="connsiteY4" fmla="*/ 498528 h 906431"/>
                <a:gd name="connsiteX5" fmla="*/ 2 w 779321"/>
                <a:gd name="connsiteY5" fmla="*/ 480288 h 906431"/>
                <a:gd name="connsiteX6" fmla="*/ 2 w 779321"/>
                <a:gd name="connsiteY6" fmla="*/ 242688 h 906431"/>
                <a:gd name="connsiteX7" fmla="*/ 779321 w 779321"/>
                <a:gd name="connsiteY7" fmla="*/ 0 h 906431"/>
                <a:gd name="connsiteX8" fmla="*/ 779321 w 779321"/>
                <a:gd name="connsiteY8" fmla="*/ 127111 h 906431"/>
                <a:gd name="connsiteX9" fmla="*/ 738884 w 779321"/>
                <a:gd name="connsiteY9" fmla="*/ 906431 h 906431"/>
                <a:gd name="connsiteX0" fmla="*/ 738884 w 779321"/>
                <a:gd name="connsiteY0" fmla="*/ 779320 h 779320"/>
                <a:gd name="connsiteX1" fmla="*/ 389660 w 779321"/>
                <a:gd name="connsiteY1" fmla="*/ 779320 h 779320"/>
                <a:gd name="connsiteX2" fmla="*/ 0 w 779321"/>
                <a:gd name="connsiteY2" fmla="*/ 389660 h 779320"/>
                <a:gd name="connsiteX3" fmla="*/ 2 w 779321"/>
                <a:gd name="connsiteY3" fmla="*/ 389660 h 779320"/>
                <a:gd name="connsiteX4" fmla="*/ 3684 w 779321"/>
                <a:gd name="connsiteY4" fmla="*/ 371417 h 779320"/>
                <a:gd name="connsiteX5" fmla="*/ 2 w 779321"/>
                <a:gd name="connsiteY5" fmla="*/ 353177 h 779320"/>
                <a:gd name="connsiteX6" fmla="*/ 2 w 779321"/>
                <a:gd name="connsiteY6" fmla="*/ 115577 h 779320"/>
                <a:gd name="connsiteX7" fmla="*/ 779321 w 779321"/>
                <a:gd name="connsiteY7" fmla="*/ 0 h 779320"/>
                <a:gd name="connsiteX8" fmla="*/ 738884 w 779321"/>
                <a:gd name="connsiteY8" fmla="*/ 779320 h 779320"/>
                <a:gd name="connsiteX0" fmla="*/ 738884 w 779321"/>
                <a:gd name="connsiteY0" fmla="*/ 779320 h 779320"/>
                <a:gd name="connsiteX1" fmla="*/ 389660 w 779321"/>
                <a:gd name="connsiteY1" fmla="*/ 779320 h 779320"/>
                <a:gd name="connsiteX2" fmla="*/ 0 w 779321"/>
                <a:gd name="connsiteY2" fmla="*/ 389660 h 779320"/>
                <a:gd name="connsiteX3" fmla="*/ 2 w 779321"/>
                <a:gd name="connsiteY3" fmla="*/ 389660 h 779320"/>
                <a:gd name="connsiteX4" fmla="*/ 3684 w 779321"/>
                <a:gd name="connsiteY4" fmla="*/ 371417 h 779320"/>
                <a:gd name="connsiteX5" fmla="*/ 2 w 779321"/>
                <a:gd name="connsiteY5" fmla="*/ 353177 h 779320"/>
                <a:gd name="connsiteX6" fmla="*/ 2 w 779321"/>
                <a:gd name="connsiteY6" fmla="*/ 37518 h 779320"/>
                <a:gd name="connsiteX7" fmla="*/ 779321 w 779321"/>
                <a:gd name="connsiteY7" fmla="*/ 0 h 779320"/>
                <a:gd name="connsiteX8" fmla="*/ 738884 w 779321"/>
                <a:gd name="connsiteY8" fmla="*/ 779320 h 779320"/>
                <a:gd name="connsiteX0" fmla="*/ 738884 w 779321"/>
                <a:gd name="connsiteY0" fmla="*/ 779320 h 779320"/>
                <a:gd name="connsiteX1" fmla="*/ 389660 w 779321"/>
                <a:gd name="connsiteY1" fmla="*/ 779320 h 779320"/>
                <a:gd name="connsiteX2" fmla="*/ 0 w 779321"/>
                <a:gd name="connsiteY2" fmla="*/ 389660 h 779320"/>
                <a:gd name="connsiteX3" fmla="*/ 2 w 779321"/>
                <a:gd name="connsiteY3" fmla="*/ 389660 h 779320"/>
                <a:gd name="connsiteX4" fmla="*/ 3684 w 779321"/>
                <a:gd name="connsiteY4" fmla="*/ 371417 h 779320"/>
                <a:gd name="connsiteX5" fmla="*/ 2 w 779321"/>
                <a:gd name="connsiteY5" fmla="*/ 353177 h 779320"/>
                <a:gd name="connsiteX6" fmla="*/ 2 w 779321"/>
                <a:gd name="connsiteY6" fmla="*/ 20791 h 779320"/>
                <a:gd name="connsiteX7" fmla="*/ 779321 w 779321"/>
                <a:gd name="connsiteY7" fmla="*/ 0 h 779320"/>
                <a:gd name="connsiteX8" fmla="*/ 738884 w 779321"/>
                <a:gd name="connsiteY8" fmla="*/ 779320 h 779320"/>
                <a:gd name="connsiteX0" fmla="*/ 738884 w 757019"/>
                <a:gd name="connsiteY0" fmla="*/ 779320 h 779320"/>
                <a:gd name="connsiteX1" fmla="*/ 389660 w 757019"/>
                <a:gd name="connsiteY1" fmla="*/ 779320 h 779320"/>
                <a:gd name="connsiteX2" fmla="*/ 0 w 757019"/>
                <a:gd name="connsiteY2" fmla="*/ 389660 h 779320"/>
                <a:gd name="connsiteX3" fmla="*/ 2 w 757019"/>
                <a:gd name="connsiteY3" fmla="*/ 389660 h 779320"/>
                <a:gd name="connsiteX4" fmla="*/ 3684 w 757019"/>
                <a:gd name="connsiteY4" fmla="*/ 371417 h 779320"/>
                <a:gd name="connsiteX5" fmla="*/ 2 w 757019"/>
                <a:gd name="connsiteY5" fmla="*/ 353177 h 779320"/>
                <a:gd name="connsiteX6" fmla="*/ 2 w 757019"/>
                <a:gd name="connsiteY6" fmla="*/ 20791 h 779320"/>
                <a:gd name="connsiteX7" fmla="*/ 757019 w 757019"/>
                <a:gd name="connsiteY7" fmla="*/ 0 h 779320"/>
                <a:gd name="connsiteX8" fmla="*/ 738884 w 757019"/>
                <a:gd name="connsiteY8" fmla="*/ 779320 h 779320"/>
                <a:gd name="connsiteX0" fmla="*/ 738884 w 751443"/>
                <a:gd name="connsiteY0" fmla="*/ 779320 h 779320"/>
                <a:gd name="connsiteX1" fmla="*/ 389660 w 751443"/>
                <a:gd name="connsiteY1" fmla="*/ 779320 h 779320"/>
                <a:gd name="connsiteX2" fmla="*/ 0 w 751443"/>
                <a:gd name="connsiteY2" fmla="*/ 389660 h 779320"/>
                <a:gd name="connsiteX3" fmla="*/ 2 w 751443"/>
                <a:gd name="connsiteY3" fmla="*/ 389660 h 779320"/>
                <a:gd name="connsiteX4" fmla="*/ 3684 w 751443"/>
                <a:gd name="connsiteY4" fmla="*/ 371417 h 779320"/>
                <a:gd name="connsiteX5" fmla="*/ 2 w 751443"/>
                <a:gd name="connsiteY5" fmla="*/ 353177 h 779320"/>
                <a:gd name="connsiteX6" fmla="*/ 2 w 751443"/>
                <a:gd name="connsiteY6" fmla="*/ 20791 h 779320"/>
                <a:gd name="connsiteX7" fmla="*/ 751443 w 751443"/>
                <a:gd name="connsiteY7" fmla="*/ 0 h 779320"/>
                <a:gd name="connsiteX8" fmla="*/ 738884 w 751443"/>
                <a:gd name="connsiteY8" fmla="*/ 779320 h 779320"/>
                <a:gd name="connsiteX0" fmla="*/ 738884 w 745974"/>
                <a:gd name="connsiteY0" fmla="*/ 768169 h 768169"/>
                <a:gd name="connsiteX1" fmla="*/ 389660 w 745974"/>
                <a:gd name="connsiteY1" fmla="*/ 768169 h 768169"/>
                <a:gd name="connsiteX2" fmla="*/ 0 w 745974"/>
                <a:gd name="connsiteY2" fmla="*/ 378509 h 768169"/>
                <a:gd name="connsiteX3" fmla="*/ 2 w 745974"/>
                <a:gd name="connsiteY3" fmla="*/ 378509 h 768169"/>
                <a:gd name="connsiteX4" fmla="*/ 3684 w 745974"/>
                <a:gd name="connsiteY4" fmla="*/ 360266 h 768169"/>
                <a:gd name="connsiteX5" fmla="*/ 2 w 745974"/>
                <a:gd name="connsiteY5" fmla="*/ 342026 h 768169"/>
                <a:gd name="connsiteX6" fmla="*/ 2 w 745974"/>
                <a:gd name="connsiteY6" fmla="*/ 9640 h 768169"/>
                <a:gd name="connsiteX7" fmla="*/ 745974 w 745974"/>
                <a:gd name="connsiteY7" fmla="*/ 0 h 768169"/>
                <a:gd name="connsiteX8" fmla="*/ 738884 w 745974"/>
                <a:gd name="connsiteY8" fmla="*/ 768169 h 768169"/>
                <a:gd name="connsiteX0" fmla="*/ 738884 w 745974"/>
                <a:gd name="connsiteY0" fmla="*/ 769680 h 769680"/>
                <a:gd name="connsiteX1" fmla="*/ 389660 w 745974"/>
                <a:gd name="connsiteY1" fmla="*/ 769680 h 769680"/>
                <a:gd name="connsiteX2" fmla="*/ 0 w 745974"/>
                <a:gd name="connsiteY2" fmla="*/ 380020 h 769680"/>
                <a:gd name="connsiteX3" fmla="*/ 2 w 745974"/>
                <a:gd name="connsiteY3" fmla="*/ 380020 h 769680"/>
                <a:gd name="connsiteX4" fmla="*/ 3684 w 745974"/>
                <a:gd name="connsiteY4" fmla="*/ 361777 h 769680"/>
                <a:gd name="connsiteX5" fmla="*/ 2 w 745974"/>
                <a:gd name="connsiteY5" fmla="*/ 343537 h 769680"/>
                <a:gd name="connsiteX6" fmla="*/ 2 w 745974"/>
                <a:gd name="connsiteY6" fmla="*/ 0 h 769680"/>
                <a:gd name="connsiteX7" fmla="*/ 745974 w 745974"/>
                <a:gd name="connsiteY7" fmla="*/ 1511 h 769680"/>
                <a:gd name="connsiteX8" fmla="*/ 738884 w 745974"/>
                <a:gd name="connsiteY8" fmla="*/ 769680 h 7696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45974" h="769680">
                  <a:moveTo>
                    <a:pt x="738884" y="769680"/>
                  </a:moveTo>
                  <a:lnTo>
                    <a:pt x="389660" y="769680"/>
                  </a:lnTo>
                  <a:cubicBezTo>
                    <a:pt x="174457" y="769680"/>
                    <a:pt x="0" y="595223"/>
                    <a:pt x="0" y="380020"/>
                  </a:cubicBezTo>
                  <a:lnTo>
                    <a:pt x="2" y="380020"/>
                  </a:lnTo>
                  <a:lnTo>
                    <a:pt x="3684" y="361777"/>
                  </a:lnTo>
                  <a:lnTo>
                    <a:pt x="2" y="343537"/>
                  </a:lnTo>
                  <a:lnTo>
                    <a:pt x="2" y="0"/>
                  </a:lnTo>
                  <a:lnTo>
                    <a:pt x="745974" y="1511"/>
                  </a:lnTo>
                  <a:cubicBezTo>
                    <a:pt x="743611" y="257567"/>
                    <a:pt x="741247" y="513624"/>
                    <a:pt x="738884" y="769680"/>
                  </a:cubicBezTo>
                  <a:close/>
                </a:path>
              </a:pathLst>
            </a:custGeom>
            <a:solidFill>
              <a:srgbClr val="88CB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IN"/>
            </a:p>
          </p:txBody>
        </p:sp>
        <p:sp>
          <p:nvSpPr>
            <p:cNvPr id="328" name="Rectangle 17">
              <a:extLst>
                <a:ext uri="{FF2B5EF4-FFF2-40B4-BE49-F238E27FC236}">
                  <a16:creationId xmlns:a16="http://schemas.microsoft.com/office/drawing/2014/main" id="{1F057244-6745-47FB-8AD4-D0A8B31C2E4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118698" y="2220094"/>
              <a:ext cx="793712" cy="369332"/>
            </a:xfrm>
            <a:prstGeom prst="rect">
              <a:avLst/>
            </a:prstGeom>
            <a:noFill/>
            <a:ln>
              <a:noFill/>
            </a:ln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1" algn="ctr" fontAlgn="auto">
                <a:lnSpc>
                  <a:spcPct val="100000"/>
                </a:lnSpc>
                <a:spcBef>
                  <a:spcPts val="100"/>
                </a:spcBef>
                <a:spcAft>
                  <a:spcPts val="200"/>
                </a:spcAft>
                <a:buClrTx/>
                <a:buSzTx/>
                <a:buFontTx/>
                <a:buNone/>
                <a:tabLst>
                  <a:tab pos="225425" algn="l"/>
                </a:tabLst>
                <a:defRPr/>
              </a:pPr>
              <a:r>
                <a:rPr lang="en-US" sz="950"/>
                <a:t>Infrastructure security</a:t>
              </a:r>
            </a:p>
          </p:txBody>
        </p:sp>
        <p:sp>
          <p:nvSpPr>
            <p:cNvPr id="260" name="Freeform: Shape 259">
              <a:extLst>
                <a:ext uri="{FF2B5EF4-FFF2-40B4-BE49-F238E27FC236}">
                  <a16:creationId xmlns:a16="http://schemas.microsoft.com/office/drawing/2014/main" id="{DF209FF7-21CD-4F41-8F8C-A08CEABE8E18}"/>
                </a:ext>
              </a:extLst>
            </p:cNvPr>
            <p:cNvSpPr/>
            <p:nvPr/>
          </p:nvSpPr>
          <p:spPr>
            <a:xfrm rot="10800000">
              <a:off x="10321266" y="2011808"/>
              <a:ext cx="783276" cy="786146"/>
            </a:xfrm>
            <a:custGeom>
              <a:avLst/>
              <a:gdLst>
                <a:gd name="connsiteX0" fmla="*/ 632947 w 875635"/>
                <a:gd name="connsiteY0" fmla="*/ 906431 h 906431"/>
                <a:gd name="connsiteX1" fmla="*/ 389660 w 875635"/>
                <a:gd name="connsiteY1" fmla="*/ 906431 h 906431"/>
                <a:gd name="connsiteX2" fmla="*/ 0 w 875635"/>
                <a:gd name="connsiteY2" fmla="*/ 516771 h 906431"/>
                <a:gd name="connsiteX3" fmla="*/ 2 w 875635"/>
                <a:gd name="connsiteY3" fmla="*/ 516771 h 906431"/>
                <a:gd name="connsiteX4" fmla="*/ 3684 w 875635"/>
                <a:gd name="connsiteY4" fmla="*/ 498528 h 906431"/>
                <a:gd name="connsiteX5" fmla="*/ 2 w 875635"/>
                <a:gd name="connsiteY5" fmla="*/ 480288 h 906431"/>
                <a:gd name="connsiteX6" fmla="*/ 2 w 875635"/>
                <a:gd name="connsiteY6" fmla="*/ 242688 h 906431"/>
                <a:gd name="connsiteX7" fmla="*/ 779321 w 875635"/>
                <a:gd name="connsiteY7" fmla="*/ 0 h 906431"/>
                <a:gd name="connsiteX8" fmla="*/ 779321 w 875635"/>
                <a:gd name="connsiteY8" fmla="*/ 127111 h 906431"/>
                <a:gd name="connsiteX9" fmla="*/ 875635 w 875635"/>
                <a:gd name="connsiteY9" fmla="*/ 127111 h 906431"/>
                <a:gd name="connsiteX10" fmla="*/ 632947 w 875635"/>
                <a:gd name="connsiteY10" fmla="*/ 906431 h 906431"/>
                <a:gd name="connsiteX0" fmla="*/ 738884 w 875635"/>
                <a:gd name="connsiteY0" fmla="*/ 906431 h 906431"/>
                <a:gd name="connsiteX1" fmla="*/ 389660 w 875635"/>
                <a:gd name="connsiteY1" fmla="*/ 906431 h 906431"/>
                <a:gd name="connsiteX2" fmla="*/ 0 w 875635"/>
                <a:gd name="connsiteY2" fmla="*/ 516771 h 906431"/>
                <a:gd name="connsiteX3" fmla="*/ 2 w 875635"/>
                <a:gd name="connsiteY3" fmla="*/ 516771 h 906431"/>
                <a:gd name="connsiteX4" fmla="*/ 3684 w 875635"/>
                <a:gd name="connsiteY4" fmla="*/ 498528 h 906431"/>
                <a:gd name="connsiteX5" fmla="*/ 2 w 875635"/>
                <a:gd name="connsiteY5" fmla="*/ 480288 h 906431"/>
                <a:gd name="connsiteX6" fmla="*/ 2 w 875635"/>
                <a:gd name="connsiteY6" fmla="*/ 242688 h 906431"/>
                <a:gd name="connsiteX7" fmla="*/ 779321 w 875635"/>
                <a:gd name="connsiteY7" fmla="*/ 0 h 906431"/>
                <a:gd name="connsiteX8" fmla="*/ 779321 w 875635"/>
                <a:gd name="connsiteY8" fmla="*/ 127111 h 906431"/>
                <a:gd name="connsiteX9" fmla="*/ 875635 w 875635"/>
                <a:gd name="connsiteY9" fmla="*/ 127111 h 906431"/>
                <a:gd name="connsiteX10" fmla="*/ 738884 w 875635"/>
                <a:gd name="connsiteY10" fmla="*/ 906431 h 906431"/>
                <a:gd name="connsiteX0" fmla="*/ 738884 w 779321"/>
                <a:gd name="connsiteY0" fmla="*/ 906431 h 906431"/>
                <a:gd name="connsiteX1" fmla="*/ 389660 w 779321"/>
                <a:gd name="connsiteY1" fmla="*/ 906431 h 906431"/>
                <a:gd name="connsiteX2" fmla="*/ 0 w 779321"/>
                <a:gd name="connsiteY2" fmla="*/ 516771 h 906431"/>
                <a:gd name="connsiteX3" fmla="*/ 2 w 779321"/>
                <a:gd name="connsiteY3" fmla="*/ 516771 h 906431"/>
                <a:gd name="connsiteX4" fmla="*/ 3684 w 779321"/>
                <a:gd name="connsiteY4" fmla="*/ 498528 h 906431"/>
                <a:gd name="connsiteX5" fmla="*/ 2 w 779321"/>
                <a:gd name="connsiteY5" fmla="*/ 480288 h 906431"/>
                <a:gd name="connsiteX6" fmla="*/ 2 w 779321"/>
                <a:gd name="connsiteY6" fmla="*/ 242688 h 906431"/>
                <a:gd name="connsiteX7" fmla="*/ 779321 w 779321"/>
                <a:gd name="connsiteY7" fmla="*/ 0 h 906431"/>
                <a:gd name="connsiteX8" fmla="*/ 779321 w 779321"/>
                <a:gd name="connsiteY8" fmla="*/ 127111 h 906431"/>
                <a:gd name="connsiteX9" fmla="*/ 738884 w 779321"/>
                <a:gd name="connsiteY9" fmla="*/ 906431 h 906431"/>
                <a:gd name="connsiteX0" fmla="*/ 738884 w 779321"/>
                <a:gd name="connsiteY0" fmla="*/ 779320 h 779320"/>
                <a:gd name="connsiteX1" fmla="*/ 389660 w 779321"/>
                <a:gd name="connsiteY1" fmla="*/ 779320 h 779320"/>
                <a:gd name="connsiteX2" fmla="*/ 0 w 779321"/>
                <a:gd name="connsiteY2" fmla="*/ 389660 h 779320"/>
                <a:gd name="connsiteX3" fmla="*/ 2 w 779321"/>
                <a:gd name="connsiteY3" fmla="*/ 389660 h 779320"/>
                <a:gd name="connsiteX4" fmla="*/ 3684 w 779321"/>
                <a:gd name="connsiteY4" fmla="*/ 371417 h 779320"/>
                <a:gd name="connsiteX5" fmla="*/ 2 w 779321"/>
                <a:gd name="connsiteY5" fmla="*/ 353177 h 779320"/>
                <a:gd name="connsiteX6" fmla="*/ 2 w 779321"/>
                <a:gd name="connsiteY6" fmla="*/ 115577 h 779320"/>
                <a:gd name="connsiteX7" fmla="*/ 779321 w 779321"/>
                <a:gd name="connsiteY7" fmla="*/ 0 h 779320"/>
                <a:gd name="connsiteX8" fmla="*/ 738884 w 779321"/>
                <a:gd name="connsiteY8" fmla="*/ 779320 h 779320"/>
                <a:gd name="connsiteX0" fmla="*/ 738884 w 779321"/>
                <a:gd name="connsiteY0" fmla="*/ 779320 h 779320"/>
                <a:gd name="connsiteX1" fmla="*/ 389660 w 779321"/>
                <a:gd name="connsiteY1" fmla="*/ 779320 h 779320"/>
                <a:gd name="connsiteX2" fmla="*/ 0 w 779321"/>
                <a:gd name="connsiteY2" fmla="*/ 389660 h 779320"/>
                <a:gd name="connsiteX3" fmla="*/ 2 w 779321"/>
                <a:gd name="connsiteY3" fmla="*/ 389660 h 779320"/>
                <a:gd name="connsiteX4" fmla="*/ 3684 w 779321"/>
                <a:gd name="connsiteY4" fmla="*/ 371417 h 779320"/>
                <a:gd name="connsiteX5" fmla="*/ 2 w 779321"/>
                <a:gd name="connsiteY5" fmla="*/ 353177 h 779320"/>
                <a:gd name="connsiteX6" fmla="*/ 2 w 779321"/>
                <a:gd name="connsiteY6" fmla="*/ 37518 h 779320"/>
                <a:gd name="connsiteX7" fmla="*/ 779321 w 779321"/>
                <a:gd name="connsiteY7" fmla="*/ 0 h 779320"/>
                <a:gd name="connsiteX8" fmla="*/ 738884 w 779321"/>
                <a:gd name="connsiteY8" fmla="*/ 779320 h 779320"/>
                <a:gd name="connsiteX0" fmla="*/ 738884 w 779321"/>
                <a:gd name="connsiteY0" fmla="*/ 779320 h 779320"/>
                <a:gd name="connsiteX1" fmla="*/ 389660 w 779321"/>
                <a:gd name="connsiteY1" fmla="*/ 779320 h 779320"/>
                <a:gd name="connsiteX2" fmla="*/ 0 w 779321"/>
                <a:gd name="connsiteY2" fmla="*/ 389660 h 779320"/>
                <a:gd name="connsiteX3" fmla="*/ 2 w 779321"/>
                <a:gd name="connsiteY3" fmla="*/ 389660 h 779320"/>
                <a:gd name="connsiteX4" fmla="*/ 3684 w 779321"/>
                <a:gd name="connsiteY4" fmla="*/ 371417 h 779320"/>
                <a:gd name="connsiteX5" fmla="*/ 2 w 779321"/>
                <a:gd name="connsiteY5" fmla="*/ 353177 h 779320"/>
                <a:gd name="connsiteX6" fmla="*/ 2 w 779321"/>
                <a:gd name="connsiteY6" fmla="*/ 20791 h 779320"/>
                <a:gd name="connsiteX7" fmla="*/ 779321 w 779321"/>
                <a:gd name="connsiteY7" fmla="*/ 0 h 779320"/>
                <a:gd name="connsiteX8" fmla="*/ 738884 w 779321"/>
                <a:gd name="connsiteY8" fmla="*/ 779320 h 779320"/>
                <a:gd name="connsiteX0" fmla="*/ 738884 w 757019"/>
                <a:gd name="connsiteY0" fmla="*/ 779320 h 779320"/>
                <a:gd name="connsiteX1" fmla="*/ 389660 w 757019"/>
                <a:gd name="connsiteY1" fmla="*/ 779320 h 779320"/>
                <a:gd name="connsiteX2" fmla="*/ 0 w 757019"/>
                <a:gd name="connsiteY2" fmla="*/ 389660 h 779320"/>
                <a:gd name="connsiteX3" fmla="*/ 2 w 757019"/>
                <a:gd name="connsiteY3" fmla="*/ 389660 h 779320"/>
                <a:gd name="connsiteX4" fmla="*/ 3684 w 757019"/>
                <a:gd name="connsiteY4" fmla="*/ 371417 h 779320"/>
                <a:gd name="connsiteX5" fmla="*/ 2 w 757019"/>
                <a:gd name="connsiteY5" fmla="*/ 353177 h 779320"/>
                <a:gd name="connsiteX6" fmla="*/ 2 w 757019"/>
                <a:gd name="connsiteY6" fmla="*/ 20791 h 779320"/>
                <a:gd name="connsiteX7" fmla="*/ 757019 w 757019"/>
                <a:gd name="connsiteY7" fmla="*/ 0 h 779320"/>
                <a:gd name="connsiteX8" fmla="*/ 738884 w 757019"/>
                <a:gd name="connsiteY8" fmla="*/ 779320 h 779320"/>
                <a:gd name="connsiteX0" fmla="*/ 738884 w 751443"/>
                <a:gd name="connsiteY0" fmla="*/ 779320 h 779320"/>
                <a:gd name="connsiteX1" fmla="*/ 389660 w 751443"/>
                <a:gd name="connsiteY1" fmla="*/ 779320 h 779320"/>
                <a:gd name="connsiteX2" fmla="*/ 0 w 751443"/>
                <a:gd name="connsiteY2" fmla="*/ 389660 h 779320"/>
                <a:gd name="connsiteX3" fmla="*/ 2 w 751443"/>
                <a:gd name="connsiteY3" fmla="*/ 389660 h 779320"/>
                <a:gd name="connsiteX4" fmla="*/ 3684 w 751443"/>
                <a:gd name="connsiteY4" fmla="*/ 371417 h 779320"/>
                <a:gd name="connsiteX5" fmla="*/ 2 w 751443"/>
                <a:gd name="connsiteY5" fmla="*/ 353177 h 779320"/>
                <a:gd name="connsiteX6" fmla="*/ 2 w 751443"/>
                <a:gd name="connsiteY6" fmla="*/ 20791 h 779320"/>
                <a:gd name="connsiteX7" fmla="*/ 751443 w 751443"/>
                <a:gd name="connsiteY7" fmla="*/ 0 h 779320"/>
                <a:gd name="connsiteX8" fmla="*/ 738884 w 751443"/>
                <a:gd name="connsiteY8" fmla="*/ 779320 h 779320"/>
                <a:gd name="connsiteX0" fmla="*/ 738884 w 745974"/>
                <a:gd name="connsiteY0" fmla="*/ 768169 h 768169"/>
                <a:gd name="connsiteX1" fmla="*/ 389660 w 745974"/>
                <a:gd name="connsiteY1" fmla="*/ 768169 h 768169"/>
                <a:gd name="connsiteX2" fmla="*/ 0 w 745974"/>
                <a:gd name="connsiteY2" fmla="*/ 378509 h 768169"/>
                <a:gd name="connsiteX3" fmla="*/ 2 w 745974"/>
                <a:gd name="connsiteY3" fmla="*/ 378509 h 768169"/>
                <a:gd name="connsiteX4" fmla="*/ 3684 w 745974"/>
                <a:gd name="connsiteY4" fmla="*/ 360266 h 768169"/>
                <a:gd name="connsiteX5" fmla="*/ 2 w 745974"/>
                <a:gd name="connsiteY5" fmla="*/ 342026 h 768169"/>
                <a:gd name="connsiteX6" fmla="*/ 2 w 745974"/>
                <a:gd name="connsiteY6" fmla="*/ 9640 h 768169"/>
                <a:gd name="connsiteX7" fmla="*/ 745974 w 745974"/>
                <a:gd name="connsiteY7" fmla="*/ 0 h 768169"/>
                <a:gd name="connsiteX8" fmla="*/ 738884 w 745974"/>
                <a:gd name="connsiteY8" fmla="*/ 768169 h 768169"/>
                <a:gd name="connsiteX0" fmla="*/ 738884 w 745974"/>
                <a:gd name="connsiteY0" fmla="*/ 769680 h 769680"/>
                <a:gd name="connsiteX1" fmla="*/ 389660 w 745974"/>
                <a:gd name="connsiteY1" fmla="*/ 769680 h 769680"/>
                <a:gd name="connsiteX2" fmla="*/ 0 w 745974"/>
                <a:gd name="connsiteY2" fmla="*/ 380020 h 769680"/>
                <a:gd name="connsiteX3" fmla="*/ 2 w 745974"/>
                <a:gd name="connsiteY3" fmla="*/ 380020 h 769680"/>
                <a:gd name="connsiteX4" fmla="*/ 3684 w 745974"/>
                <a:gd name="connsiteY4" fmla="*/ 361777 h 769680"/>
                <a:gd name="connsiteX5" fmla="*/ 2 w 745974"/>
                <a:gd name="connsiteY5" fmla="*/ 343537 h 769680"/>
                <a:gd name="connsiteX6" fmla="*/ 2 w 745974"/>
                <a:gd name="connsiteY6" fmla="*/ 0 h 769680"/>
                <a:gd name="connsiteX7" fmla="*/ 745974 w 745974"/>
                <a:gd name="connsiteY7" fmla="*/ 1511 h 769680"/>
                <a:gd name="connsiteX8" fmla="*/ 738884 w 745974"/>
                <a:gd name="connsiteY8" fmla="*/ 769680 h 7696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45974" h="769680">
                  <a:moveTo>
                    <a:pt x="738884" y="769680"/>
                  </a:moveTo>
                  <a:lnTo>
                    <a:pt x="389660" y="769680"/>
                  </a:lnTo>
                  <a:cubicBezTo>
                    <a:pt x="174457" y="769680"/>
                    <a:pt x="0" y="595223"/>
                    <a:pt x="0" y="380020"/>
                  </a:cubicBezTo>
                  <a:lnTo>
                    <a:pt x="2" y="380020"/>
                  </a:lnTo>
                  <a:lnTo>
                    <a:pt x="3684" y="361777"/>
                  </a:lnTo>
                  <a:lnTo>
                    <a:pt x="2" y="343537"/>
                  </a:lnTo>
                  <a:lnTo>
                    <a:pt x="2" y="0"/>
                  </a:lnTo>
                  <a:lnTo>
                    <a:pt x="745974" y="1511"/>
                  </a:lnTo>
                  <a:cubicBezTo>
                    <a:pt x="743611" y="257567"/>
                    <a:pt x="741247" y="513624"/>
                    <a:pt x="738884" y="76968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IN"/>
            </a:p>
          </p:txBody>
        </p:sp>
        <p:sp>
          <p:nvSpPr>
            <p:cNvPr id="370" name="Rectangle 369">
              <a:extLst>
                <a:ext uri="{FF2B5EF4-FFF2-40B4-BE49-F238E27FC236}">
                  <a16:creationId xmlns:a16="http://schemas.microsoft.com/office/drawing/2014/main" id="{82F62DEB-3E50-4AFB-BE9F-986B284DF814}"/>
                </a:ext>
              </a:extLst>
            </p:cNvPr>
            <p:cNvSpPr/>
            <p:nvPr/>
          </p:nvSpPr>
          <p:spPr>
            <a:xfrm>
              <a:off x="10341557" y="2217699"/>
              <a:ext cx="672949" cy="369332"/>
            </a:xfrm>
            <a:prstGeom prst="rect">
              <a:avLst/>
            </a:prstGeom>
          </p:spPr>
          <p:txBody>
            <a:bodyPr wrap="square" lIns="0" tIns="0" rIns="0" bIns="0" anchor="ctr">
              <a:noAutofit/>
            </a:bodyPr>
            <a:lstStyle/>
            <a:p>
              <a:pPr marL="0" lvl="1" algn="ctr">
                <a:spcBef>
                  <a:spcPts val="100"/>
                </a:spcBef>
                <a:spcAft>
                  <a:spcPts val="200"/>
                </a:spcAft>
                <a:tabLst>
                  <a:tab pos="225425" algn="l"/>
                </a:tabLst>
              </a:pPr>
              <a:r>
                <a:rPr lang="en-US" sz="950">
                  <a:solidFill>
                    <a:schemeClr val="bg1"/>
                  </a:solidFill>
                </a:rPr>
                <a:t>Operations model</a:t>
              </a:r>
            </a:p>
          </p:txBody>
        </p:sp>
        <p:sp>
          <p:nvSpPr>
            <p:cNvPr id="264" name="Freeform: Shape 263">
              <a:extLst>
                <a:ext uri="{FF2B5EF4-FFF2-40B4-BE49-F238E27FC236}">
                  <a16:creationId xmlns:a16="http://schemas.microsoft.com/office/drawing/2014/main" id="{49AD1B9D-DE79-43C9-B456-44F7A8D8F964}"/>
                </a:ext>
              </a:extLst>
            </p:cNvPr>
            <p:cNvSpPr/>
            <p:nvPr/>
          </p:nvSpPr>
          <p:spPr>
            <a:xfrm rot="10800000">
              <a:off x="3465251" y="3426694"/>
              <a:ext cx="779319" cy="328168"/>
            </a:xfrm>
            <a:custGeom>
              <a:avLst/>
              <a:gdLst>
                <a:gd name="connsiteX0" fmla="*/ 779318 w 779319"/>
                <a:gd name="connsiteY0" fmla="*/ 328168 h 328168"/>
                <a:gd name="connsiteX1" fmla="*/ 0 w 779319"/>
                <a:gd name="connsiteY1" fmla="*/ 328168 h 328168"/>
                <a:gd name="connsiteX2" fmla="*/ 0 w 779319"/>
                <a:gd name="connsiteY2" fmla="*/ 0 h 328168"/>
                <a:gd name="connsiteX3" fmla="*/ 779319 w 779319"/>
                <a:gd name="connsiteY3" fmla="*/ 0 h 328168"/>
                <a:gd name="connsiteX4" fmla="*/ 779318 w 779319"/>
                <a:gd name="connsiteY4" fmla="*/ 328168 h 3281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79319" h="328168">
                  <a:moveTo>
                    <a:pt x="779318" y="328168"/>
                  </a:moveTo>
                  <a:lnTo>
                    <a:pt x="0" y="328168"/>
                  </a:lnTo>
                  <a:lnTo>
                    <a:pt x="0" y="0"/>
                  </a:lnTo>
                  <a:lnTo>
                    <a:pt x="779319" y="0"/>
                  </a:lnTo>
                  <a:lnTo>
                    <a:pt x="779318" y="328168"/>
                  </a:lnTo>
                  <a:close/>
                </a:path>
              </a:pathLst>
            </a:custGeom>
            <a:solidFill>
              <a:schemeClr val="accent3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IN"/>
            </a:p>
          </p:txBody>
        </p:sp>
        <p:sp>
          <p:nvSpPr>
            <p:cNvPr id="265" name="Rectangle 264">
              <a:extLst>
                <a:ext uri="{FF2B5EF4-FFF2-40B4-BE49-F238E27FC236}">
                  <a16:creationId xmlns:a16="http://schemas.microsoft.com/office/drawing/2014/main" id="{6A8A53DA-00FE-4A47-8D44-F714797A54DA}"/>
                </a:ext>
              </a:extLst>
            </p:cNvPr>
            <p:cNvSpPr/>
            <p:nvPr/>
          </p:nvSpPr>
          <p:spPr>
            <a:xfrm>
              <a:off x="3471355" y="3413179"/>
              <a:ext cx="785769" cy="396399"/>
            </a:xfrm>
            <a:prstGeom prst="rect">
              <a:avLst/>
            </a:prstGeom>
            <a:solidFill>
              <a:srgbClr val="9BFAFF"/>
            </a:solidFill>
          </p:spPr>
          <p:txBody>
            <a:bodyPr wrap="square" lIns="0" tIns="0" rIns="0" bIns="0" anchor="ctr">
              <a:noAutofit/>
            </a:bodyPr>
            <a:lstStyle/>
            <a:p>
              <a:pPr marL="0" lvl="1" algn="ctr">
                <a:spcBef>
                  <a:spcPts val="100"/>
                </a:spcBef>
                <a:spcAft>
                  <a:spcPts val="200"/>
                </a:spcAft>
                <a:tabLst>
                  <a:tab pos="225425" algn="l"/>
                </a:tabLst>
              </a:pPr>
              <a:r>
                <a:rPr lang="en-US" sz="950"/>
                <a:t>Financial analysis</a:t>
              </a:r>
            </a:p>
          </p:txBody>
        </p:sp>
        <p:sp>
          <p:nvSpPr>
            <p:cNvPr id="266" name="Freeform: Shape 265">
              <a:extLst>
                <a:ext uri="{FF2B5EF4-FFF2-40B4-BE49-F238E27FC236}">
                  <a16:creationId xmlns:a16="http://schemas.microsoft.com/office/drawing/2014/main" id="{AEB77987-37C0-407D-ADF1-F4BD32D8C64F}"/>
                </a:ext>
              </a:extLst>
            </p:cNvPr>
            <p:cNvSpPr/>
            <p:nvPr/>
          </p:nvSpPr>
          <p:spPr>
            <a:xfrm rot="10800000">
              <a:off x="3464925" y="3955100"/>
              <a:ext cx="779319" cy="328168"/>
            </a:xfrm>
            <a:custGeom>
              <a:avLst/>
              <a:gdLst>
                <a:gd name="connsiteX0" fmla="*/ 779318 w 779319"/>
                <a:gd name="connsiteY0" fmla="*/ 328168 h 328168"/>
                <a:gd name="connsiteX1" fmla="*/ 0 w 779319"/>
                <a:gd name="connsiteY1" fmla="*/ 328168 h 328168"/>
                <a:gd name="connsiteX2" fmla="*/ 0 w 779319"/>
                <a:gd name="connsiteY2" fmla="*/ 0 h 328168"/>
                <a:gd name="connsiteX3" fmla="*/ 779319 w 779319"/>
                <a:gd name="connsiteY3" fmla="*/ 0 h 328168"/>
                <a:gd name="connsiteX4" fmla="*/ 779318 w 779319"/>
                <a:gd name="connsiteY4" fmla="*/ 328168 h 3281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79319" h="328168">
                  <a:moveTo>
                    <a:pt x="779318" y="328168"/>
                  </a:moveTo>
                  <a:lnTo>
                    <a:pt x="0" y="328168"/>
                  </a:lnTo>
                  <a:lnTo>
                    <a:pt x="0" y="0"/>
                  </a:lnTo>
                  <a:lnTo>
                    <a:pt x="779319" y="0"/>
                  </a:lnTo>
                  <a:lnTo>
                    <a:pt x="779318" y="328168"/>
                  </a:lnTo>
                  <a:close/>
                </a:path>
              </a:pathLst>
            </a:custGeom>
            <a:solidFill>
              <a:srgbClr val="B3F4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IN"/>
            </a:p>
          </p:txBody>
        </p:sp>
        <p:sp>
          <p:nvSpPr>
            <p:cNvPr id="267" name="Rectangle 266">
              <a:extLst>
                <a:ext uri="{FF2B5EF4-FFF2-40B4-BE49-F238E27FC236}">
                  <a16:creationId xmlns:a16="http://schemas.microsoft.com/office/drawing/2014/main" id="{E0039288-B235-4294-AE95-67CF93FA1816}"/>
                </a:ext>
              </a:extLst>
            </p:cNvPr>
            <p:cNvSpPr/>
            <p:nvPr/>
          </p:nvSpPr>
          <p:spPr>
            <a:xfrm>
              <a:off x="3471028" y="3840579"/>
              <a:ext cx="782921" cy="438813"/>
            </a:xfrm>
            <a:prstGeom prst="rect">
              <a:avLst/>
            </a:prstGeom>
            <a:solidFill>
              <a:srgbClr val="9BFAFF"/>
            </a:solidFill>
          </p:spPr>
          <p:txBody>
            <a:bodyPr wrap="square" lIns="0" tIns="0" rIns="0" bIns="0" anchor="ctr">
              <a:noAutofit/>
            </a:bodyPr>
            <a:lstStyle/>
            <a:p>
              <a:pPr marL="0" lvl="1" algn="ctr">
                <a:spcBef>
                  <a:spcPts val="100"/>
                </a:spcBef>
                <a:spcAft>
                  <a:spcPts val="200"/>
                </a:spcAft>
                <a:tabLst>
                  <a:tab pos="225425" algn="l"/>
                </a:tabLst>
              </a:pPr>
              <a:r>
                <a:rPr lang="en-US" sz="950"/>
                <a:t>Migration strategy</a:t>
              </a:r>
            </a:p>
          </p:txBody>
        </p:sp>
        <p:grpSp>
          <p:nvGrpSpPr>
            <p:cNvPr id="268" name="Group 267">
              <a:extLst>
                <a:ext uri="{FF2B5EF4-FFF2-40B4-BE49-F238E27FC236}">
                  <a16:creationId xmlns:a16="http://schemas.microsoft.com/office/drawing/2014/main" id="{70506AD1-063A-4D9F-A01D-08014DD2FF5B}"/>
                </a:ext>
              </a:extLst>
            </p:cNvPr>
            <p:cNvGrpSpPr/>
            <p:nvPr/>
          </p:nvGrpSpPr>
          <p:grpSpPr>
            <a:xfrm rot="16200000">
              <a:off x="3123897" y="3555116"/>
              <a:ext cx="197618" cy="453304"/>
              <a:chOff x="559625" y="2541842"/>
              <a:chExt cx="197618" cy="453304"/>
            </a:xfrm>
            <a:solidFill>
              <a:srgbClr val="9BFAFF"/>
            </a:solidFill>
          </p:grpSpPr>
          <p:sp>
            <p:nvSpPr>
              <p:cNvPr id="269" name="Diamond 268">
                <a:extLst>
                  <a:ext uri="{FF2B5EF4-FFF2-40B4-BE49-F238E27FC236}">
                    <a16:creationId xmlns:a16="http://schemas.microsoft.com/office/drawing/2014/main" id="{CAB82B11-7032-4F51-A137-E689799A945E}"/>
                  </a:ext>
                </a:extLst>
              </p:cNvPr>
              <p:cNvSpPr/>
              <p:nvPr/>
            </p:nvSpPr>
            <p:spPr>
              <a:xfrm>
                <a:off x="559625" y="2541842"/>
                <a:ext cx="197618" cy="183974"/>
              </a:xfrm>
              <a:prstGeom prst="diamond">
                <a:avLst/>
              </a:prstGeom>
              <a:grpFill/>
              <a:ln>
                <a:solidFill>
                  <a:srgbClr val="FFFFFF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2000">
                  <a:solidFill>
                    <a:schemeClr val="accent3"/>
                  </a:solidFill>
                  <a:latin typeface="+mj-lt"/>
                </a:endParaRPr>
              </a:p>
            </p:txBody>
          </p:sp>
          <p:cxnSp>
            <p:nvCxnSpPr>
              <p:cNvPr id="270" name="Straight Connector 269">
                <a:extLst>
                  <a:ext uri="{FF2B5EF4-FFF2-40B4-BE49-F238E27FC236}">
                    <a16:creationId xmlns:a16="http://schemas.microsoft.com/office/drawing/2014/main" id="{B9675568-FD5E-4BDF-B3C7-27975DDB7188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658434" y="2694682"/>
                <a:ext cx="3076" cy="300464"/>
              </a:xfrm>
              <a:prstGeom prst="line">
                <a:avLst/>
              </a:prstGeom>
              <a:grpFill/>
              <a:ln w="19050">
                <a:solidFill>
                  <a:srgbClr val="FFFFFF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2" name="TextBox 1">
              <a:extLst>
                <a:ext uri="{FF2B5EF4-FFF2-40B4-BE49-F238E27FC236}">
                  <a16:creationId xmlns:a16="http://schemas.microsoft.com/office/drawing/2014/main" id="{ACC55C08-B173-4F64-8314-1B2CBC6E4584}"/>
                </a:ext>
              </a:extLst>
            </p:cNvPr>
            <p:cNvSpPr txBox="1"/>
            <p:nvPr/>
          </p:nvSpPr>
          <p:spPr>
            <a:xfrm>
              <a:off x="8464596" y="6128076"/>
              <a:ext cx="4366953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400" dirty="0">
                  <a:solidFill>
                    <a:srgbClr val="0078D4"/>
                  </a:solidFill>
                  <a:latin typeface="Segoe UI Light (Headings)"/>
                  <a:ea typeface="+mn-ea"/>
                  <a:cs typeface="+mn-cs"/>
                </a:rPr>
                <a:t>Drawn from 100s of engagements by FastTrack </a:t>
              </a:r>
              <a:r>
                <a:rPr lang="en-US" sz="1400" dirty="0">
                  <a:solidFill>
                    <a:srgbClr val="FFFFFF"/>
                  </a:solidFill>
                  <a:latin typeface="Segoe UI Light (Headings)"/>
                  <a:ea typeface="+mn-ea"/>
                  <a:cs typeface="+mn-cs"/>
                </a:rPr>
                <a:t>for</a:t>
              </a:r>
              <a:endParaRPr lang="en-GB" sz="1400" dirty="0"/>
            </a:p>
          </p:txBody>
        </p:sp>
      </p:grpSp>
    </p:spTree>
    <p:extLst>
      <p:ext uri="{BB962C8B-B14F-4D97-AF65-F5344CB8AC3E}">
        <p14:creationId xmlns:p14="http://schemas.microsoft.com/office/powerpoint/2010/main" val="33172758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>
            <a:extLst>
              <a:ext uri="{FF2B5EF4-FFF2-40B4-BE49-F238E27FC236}">
                <a16:creationId xmlns:a16="http://schemas.microsoft.com/office/drawing/2014/main" id="{FAF112B7-B80B-4733-B59A-A289EE010B7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9489" y="370450"/>
            <a:ext cx="10010775" cy="554038"/>
          </a:xfrm>
        </p:spPr>
        <p:txBody>
          <a:bodyPr lIns="91440"/>
          <a:lstStyle/>
          <a:p>
            <a:r>
              <a:rPr lang="en-US" sz="4000" dirty="0">
                <a:latin typeface="Segoe UI Light (Headings)"/>
              </a:rPr>
              <a:t>Key Learnings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CBC4BC3E-C6C8-4734-9465-EBB8F6F55329}"/>
              </a:ext>
            </a:extLst>
          </p:cNvPr>
          <p:cNvGrpSpPr/>
          <p:nvPr/>
        </p:nvGrpSpPr>
        <p:grpSpPr>
          <a:xfrm>
            <a:off x="5724631" y="1171100"/>
            <a:ext cx="747738" cy="718966"/>
            <a:chOff x="465446" y="1309646"/>
            <a:chExt cx="978658" cy="978656"/>
          </a:xfrm>
        </p:grpSpPr>
        <p:sp>
          <p:nvSpPr>
            <p:cNvPr id="120" name="Flowchart: Connector 119">
              <a:extLst>
                <a:ext uri="{FF2B5EF4-FFF2-40B4-BE49-F238E27FC236}">
                  <a16:creationId xmlns:a16="http://schemas.microsoft.com/office/drawing/2014/main" id="{6AA85389-9B44-46E7-81AD-36C89884FA71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465446" y="1309646"/>
              <a:ext cx="978658" cy="978656"/>
            </a:xfrm>
            <a:prstGeom prst="flowChartConnector">
              <a:avLst/>
            </a:prstGeom>
            <a:solidFill>
              <a:srgbClr val="243A5E"/>
            </a:solidFill>
            <a:ln w="10795" cap="flat" cmpd="sng" algn="ctr">
              <a:noFill/>
              <a:prstDash val="soli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0" tIns="46630" rIns="0" bIns="4663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32390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100" kern="0">
                <a:gradFill>
                  <a:gsLst>
                    <a:gs pos="8850">
                      <a:srgbClr val="1A1A1A"/>
                    </a:gs>
                    <a:gs pos="25000">
                      <a:srgbClr val="1A1A1A"/>
                    </a:gs>
                  </a:gsLst>
                  <a:lin ang="5400000" scaled="0"/>
                </a:gradFill>
                <a:latin typeface="Segoe UI Semibold"/>
              </a:endParaRPr>
            </a:p>
          </p:txBody>
        </p:sp>
        <p:grpSp>
          <p:nvGrpSpPr>
            <p:cNvPr id="122" name="Group 121">
              <a:extLst>
                <a:ext uri="{FF2B5EF4-FFF2-40B4-BE49-F238E27FC236}">
                  <a16:creationId xmlns:a16="http://schemas.microsoft.com/office/drawing/2014/main" id="{389F0DA1-637F-4B9E-B05B-75379C1E5BE7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558638" y="1402598"/>
              <a:ext cx="792266" cy="792748"/>
              <a:chOff x="7031508" y="6183938"/>
              <a:chExt cx="899321" cy="899315"/>
            </a:xfrm>
          </p:grpSpPr>
          <p:sp>
            <p:nvSpPr>
              <p:cNvPr id="123" name="Arc 122">
                <a:extLst>
                  <a:ext uri="{FF2B5EF4-FFF2-40B4-BE49-F238E27FC236}">
                    <a16:creationId xmlns:a16="http://schemas.microsoft.com/office/drawing/2014/main" id="{20C9AADD-2878-4B0E-9054-1C6622EE02E7}"/>
                  </a:ex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SpPr/>
              <p:nvPr/>
            </p:nvSpPr>
            <p:spPr>
              <a:xfrm>
                <a:off x="7031514" y="6183938"/>
                <a:ext cx="899315" cy="899315"/>
              </a:xfrm>
              <a:prstGeom prst="arc">
                <a:avLst>
                  <a:gd name="adj1" fmla="val 16200000"/>
                  <a:gd name="adj2" fmla="val 4971885"/>
                </a:avLst>
              </a:prstGeom>
              <a:ln w="19050">
                <a:solidFill>
                  <a:schemeClr val="bg1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marL="0" marR="0" lvl="0" indent="0" algn="ctr" defTabSz="91432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765" b="0" i="0" u="none" strike="noStrike" kern="0" cap="none" spc="0" normalizeH="0" baseline="0" noProof="0">
                  <a:ln>
                    <a:noFill/>
                  </a:ln>
                  <a:solidFill>
                    <a:srgbClr val="1A1A1A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24" name="Arc 123">
                <a:extLst>
                  <a:ext uri="{FF2B5EF4-FFF2-40B4-BE49-F238E27FC236}">
                    <a16:creationId xmlns:a16="http://schemas.microsoft.com/office/drawing/2014/main" id="{70AEFB27-E798-4B7C-A038-EA3690D3DD09}"/>
                  </a:ex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SpPr/>
              <p:nvPr/>
            </p:nvSpPr>
            <p:spPr>
              <a:xfrm flipH="1" flipV="1">
                <a:off x="7031508" y="6183938"/>
                <a:ext cx="899315" cy="899315"/>
              </a:xfrm>
              <a:prstGeom prst="arc">
                <a:avLst>
                  <a:gd name="adj1" fmla="val 16200000"/>
                  <a:gd name="adj2" fmla="val 4971885"/>
                </a:avLst>
              </a:prstGeom>
              <a:ln w="19050">
                <a:solidFill>
                  <a:schemeClr val="bg1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marL="0" marR="0" lvl="0" indent="0" algn="ctr" defTabSz="91432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765" b="0" i="0" u="none" strike="noStrike" kern="0" cap="none" spc="0" normalizeH="0" baseline="0" noProof="0">
                  <a:ln>
                    <a:noFill/>
                  </a:ln>
                  <a:solidFill>
                    <a:srgbClr val="1A1A1A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</p:grpSp>
      </p:grpSp>
      <p:sp>
        <p:nvSpPr>
          <p:cNvPr id="128" name="Rectangle 127">
            <a:extLst>
              <a:ext uri="{FF2B5EF4-FFF2-40B4-BE49-F238E27FC236}">
                <a16:creationId xmlns:a16="http://schemas.microsoft.com/office/drawing/2014/main" id="{9294DBD9-303A-4689-8C03-1B56A2424FF8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>
            <a:spLocks noChangeAspect="1"/>
          </p:cNvSpPr>
          <p:nvPr/>
        </p:nvSpPr>
        <p:spPr>
          <a:xfrm>
            <a:off x="6720952" y="1370556"/>
            <a:ext cx="4883049" cy="307777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lvl="0">
              <a:buSzPct val="90000"/>
              <a:defRPr/>
            </a:pPr>
            <a:r>
              <a:rPr lang="en-US" sz="2000" dirty="0">
                <a:ln w="3175">
                  <a:noFill/>
                </a:ln>
                <a:cs typeface="Segoe UI" pitchFamily="34" charset="0"/>
              </a:rPr>
              <a:t>What does success look like?</a:t>
            </a: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FDAD8025-CB6F-4D9C-99CF-38DF9F75351C}"/>
              </a:ext>
            </a:extLst>
          </p:cNvPr>
          <p:cNvGrpSpPr/>
          <p:nvPr/>
        </p:nvGrpSpPr>
        <p:grpSpPr>
          <a:xfrm>
            <a:off x="5724631" y="2217380"/>
            <a:ext cx="747738" cy="718966"/>
            <a:chOff x="465446" y="2355926"/>
            <a:chExt cx="978658" cy="978656"/>
          </a:xfrm>
        </p:grpSpPr>
        <p:sp>
          <p:nvSpPr>
            <p:cNvPr id="129" name="Flowchart: Connector 128">
              <a:extLst>
                <a:ext uri="{FF2B5EF4-FFF2-40B4-BE49-F238E27FC236}">
                  <a16:creationId xmlns:a16="http://schemas.microsoft.com/office/drawing/2014/main" id="{A4A084C4-F2FF-40B7-9F4D-34E0A21768CD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ChangeAspect="1"/>
            </p:cNvSpPr>
            <p:nvPr/>
          </p:nvSpPr>
          <p:spPr bwMode="auto">
            <a:xfrm flipV="1">
              <a:off x="465446" y="2355926"/>
              <a:ext cx="978658" cy="978656"/>
            </a:xfrm>
            <a:prstGeom prst="flowChartConnector">
              <a:avLst/>
            </a:prstGeom>
            <a:solidFill>
              <a:srgbClr val="243A5E"/>
            </a:solidFill>
            <a:ln w="10795" cap="flat" cmpd="sng" algn="ctr">
              <a:noFill/>
              <a:prstDash val="soli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0" tIns="46630" rIns="0" bIns="4663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32390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100" kern="0">
                <a:gradFill>
                  <a:gsLst>
                    <a:gs pos="8850">
                      <a:srgbClr val="1A1A1A"/>
                    </a:gs>
                    <a:gs pos="25000">
                      <a:srgbClr val="1A1A1A"/>
                    </a:gs>
                  </a:gsLst>
                  <a:lin ang="5400000" scaled="0"/>
                </a:gradFill>
                <a:latin typeface="Segoe UI Semibold"/>
              </a:endParaRPr>
            </a:p>
          </p:txBody>
        </p:sp>
        <p:grpSp>
          <p:nvGrpSpPr>
            <p:cNvPr id="130" name="Group 129">
              <a:extLst>
                <a:ext uri="{FF2B5EF4-FFF2-40B4-BE49-F238E27FC236}">
                  <a16:creationId xmlns:a16="http://schemas.microsoft.com/office/drawing/2014/main" id="{6ACE5A71-2F32-44F8-8B88-E55A9A123E89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558645" y="2448880"/>
              <a:ext cx="792260" cy="792748"/>
              <a:chOff x="7031510" y="6183940"/>
              <a:chExt cx="899315" cy="899315"/>
            </a:xfrm>
          </p:grpSpPr>
          <p:sp>
            <p:nvSpPr>
              <p:cNvPr id="131" name="Arc 130">
                <a:extLst>
                  <a:ext uri="{FF2B5EF4-FFF2-40B4-BE49-F238E27FC236}">
                    <a16:creationId xmlns:a16="http://schemas.microsoft.com/office/drawing/2014/main" id="{DC4DAF2C-A165-4877-9AD0-5C3EB4326B37}"/>
                  </a:ex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SpPr/>
              <p:nvPr/>
            </p:nvSpPr>
            <p:spPr>
              <a:xfrm>
                <a:off x="7031510" y="6183940"/>
                <a:ext cx="899315" cy="899315"/>
              </a:xfrm>
              <a:prstGeom prst="arc">
                <a:avLst>
                  <a:gd name="adj1" fmla="val 16200000"/>
                  <a:gd name="adj2" fmla="val 4971885"/>
                </a:avLst>
              </a:prstGeom>
              <a:ln w="19050">
                <a:solidFill>
                  <a:schemeClr val="bg1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marL="0" marR="0" lvl="0" indent="0" algn="ctr" defTabSz="91432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765" b="0" i="0" u="none" strike="noStrike" kern="0" cap="none" spc="0" normalizeH="0" baseline="0" noProof="0">
                  <a:ln>
                    <a:noFill/>
                  </a:ln>
                  <a:solidFill>
                    <a:srgbClr val="1A1A1A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32" name="Arc 131">
                <a:extLst>
                  <a:ext uri="{FF2B5EF4-FFF2-40B4-BE49-F238E27FC236}">
                    <a16:creationId xmlns:a16="http://schemas.microsoft.com/office/drawing/2014/main" id="{24E652EB-A5EA-4CD7-B741-B36FC1786677}"/>
                  </a:ex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SpPr/>
              <p:nvPr/>
            </p:nvSpPr>
            <p:spPr>
              <a:xfrm flipH="1" flipV="1">
                <a:off x="7031510" y="6183940"/>
                <a:ext cx="899315" cy="899315"/>
              </a:xfrm>
              <a:prstGeom prst="arc">
                <a:avLst>
                  <a:gd name="adj1" fmla="val 16200000"/>
                  <a:gd name="adj2" fmla="val 4971885"/>
                </a:avLst>
              </a:prstGeom>
              <a:ln w="19050">
                <a:solidFill>
                  <a:schemeClr val="bg1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marL="0" marR="0" lvl="0" indent="0" algn="ctr" defTabSz="91432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765" b="0" i="0" u="none" strike="noStrike" kern="0" cap="none" spc="0" normalizeH="0" baseline="0" noProof="0">
                  <a:ln>
                    <a:noFill/>
                  </a:ln>
                  <a:solidFill>
                    <a:srgbClr val="1A1A1A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</p:grpSp>
      </p:grpSp>
      <p:sp>
        <p:nvSpPr>
          <p:cNvPr id="135" name="Rectangle 134">
            <a:extLst>
              <a:ext uri="{FF2B5EF4-FFF2-40B4-BE49-F238E27FC236}">
                <a16:creationId xmlns:a16="http://schemas.microsoft.com/office/drawing/2014/main" id="{60082430-2362-4C13-B767-4D7F6AEB716E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>
            <a:spLocks noChangeAspect="1"/>
          </p:cNvSpPr>
          <p:nvPr/>
        </p:nvSpPr>
        <p:spPr>
          <a:xfrm>
            <a:off x="6720952" y="2431940"/>
            <a:ext cx="6883557" cy="307777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>
              <a:buSzPct val="90000"/>
              <a:defRPr/>
            </a:pPr>
            <a:r>
              <a:rPr lang="en-US" sz="2000" dirty="0">
                <a:ln w="3175">
                  <a:noFill/>
                </a:ln>
                <a:cs typeface="Segoe UI" pitchFamily="34" charset="0"/>
              </a:rPr>
              <a:t>Involve the Business at every step</a:t>
            </a: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713C20FD-8B74-480C-A2C5-F2F5BC3BF1A7}"/>
              </a:ext>
            </a:extLst>
          </p:cNvPr>
          <p:cNvGrpSpPr/>
          <p:nvPr/>
        </p:nvGrpSpPr>
        <p:grpSpPr>
          <a:xfrm>
            <a:off x="5724631" y="3263660"/>
            <a:ext cx="747738" cy="718966"/>
            <a:chOff x="465446" y="3402206"/>
            <a:chExt cx="978658" cy="978656"/>
          </a:xfrm>
        </p:grpSpPr>
        <p:sp>
          <p:nvSpPr>
            <p:cNvPr id="136" name="Flowchart: Connector 135">
              <a:extLst>
                <a:ext uri="{FF2B5EF4-FFF2-40B4-BE49-F238E27FC236}">
                  <a16:creationId xmlns:a16="http://schemas.microsoft.com/office/drawing/2014/main" id="{CFCF2AAD-CA7F-44A6-BD00-A0871B8D92B4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ChangeAspect="1"/>
            </p:cNvSpPr>
            <p:nvPr/>
          </p:nvSpPr>
          <p:spPr bwMode="auto">
            <a:xfrm flipV="1">
              <a:off x="465446" y="3402206"/>
              <a:ext cx="978658" cy="978656"/>
            </a:xfrm>
            <a:prstGeom prst="flowChartConnector">
              <a:avLst/>
            </a:prstGeom>
            <a:solidFill>
              <a:srgbClr val="243A5E"/>
            </a:solidFill>
            <a:ln w="10795" cap="flat" cmpd="sng" algn="ctr">
              <a:noFill/>
              <a:prstDash val="soli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0" tIns="46630" rIns="0" bIns="4663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32390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100" kern="0">
                <a:gradFill>
                  <a:gsLst>
                    <a:gs pos="8850">
                      <a:srgbClr val="1A1A1A"/>
                    </a:gs>
                    <a:gs pos="25000">
                      <a:srgbClr val="1A1A1A"/>
                    </a:gs>
                  </a:gsLst>
                  <a:lin ang="5400000" scaled="0"/>
                </a:gradFill>
                <a:latin typeface="Segoe UI Semibold"/>
              </a:endParaRPr>
            </a:p>
          </p:txBody>
        </p:sp>
        <p:grpSp>
          <p:nvGrpSpPr>
            <p:cNvPr id="137" name="Group 136">
              <a:extLst>
                <a:ext uri="{FF2B5EF4-FFF2-40B4-BE49-F238E27FC236}">
                  <a16:creationId xmlns:a16="http://schemas.microsoft.com/office/drawing/2014/main" id="{9A516BBD-C5D8-4DF9-8BF9-A83BEC05E8FC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558645" y="3495160"/>
              <a:ext cx="792260" cy="792748"/>
              <a:chOff x="7031510" y="6183940"/>
              <a:chExt cx="899315" cy="899315"/>
            </a:xfrm>
          </p:grpSpPr>
          <p:sp>
            <p:nvSpPr>
              <p:cNvPr id="138" name="Arc 137">
                <a:extLst>
                  <a:ext uri="{FF2B5EF4-FFF2-40B4-BE49-F238E27FC236}">
                    <a16:creationId xmlns:a16="http://schemas.microsoft.com/office/drawing/2014/main" id="{B93AC441-AD0F-4037-A18A-208042DAE9EC}"/>
                  </a:ex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SpPr/>
              <p:nvPr/>
            </p:nvSpPr>
            <p:spPr>
              <a:xfrm>
                <a:off x="7031510" y="6183940"/>
                <a:ext cx="899315" cy="899315"/>
              </a:xfrm>
              <a:prstGeom prst="arc">
                <a:avLst>
                  <a:gd name="adj1" fmla="val 16200000"/>
                  <a:gd name="adj2" fmla="val 4971885"/>
                </a:avLst>
              </a:prstGeom>
              <a:ln w="19050">
                <a:solidFill>
                  <a:schemeClr val="bg1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marL="0" marR="0" lvl="0" indent="0" algn="ctr" defTabSz="91432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765" b="0" i="0" u="none" strike="noStrike" kern="0" cap="none" spc="0" normalizeH="0" baseline="0" noProof="0">
                  <a:ln>
                    <a:noFill/>
                  </a:ln>
                  <a:solidFill>
                    <a:srgbClr val="1A1A1A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39" name="Arc 138">
                <a:extLst>
                  <a:ext uri="{FF2B5EF4-FFF2-40B4-BE49-F238E27FC236}">
                    <a16:creationId xmlns:a16="http://schemas.microsoft.com/office/drawing/2014/main" id="{0F2C2A87-C4D0-4C5B-B5B3-CEBE71E5B79D}"/>
                  </a:ex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SpPr/>
              <p:nvPr/>
            </p:nvSpPr>
            <p:spPr>
              <a:xfrm flipH="1" flipV="1">
                <a:off x="7031510" y="6183940"/>
                <a:ext cx="899315" cy="899315"/>
              </a:xfrm>
              <a:prstGeom prst="arc">
                <a:avLst>
                  <a:gd name="adj1" fmla="val 16200000"/>
                  <a:gd name="adj2" fmla="val 4971885"/>
                </a:avLst>
              </a:prstGeom>
              <a:ln w="19050">
                <a:solidFill>
                  <a:schemeClr val="bg1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marL="0" marR="0" lvl="0" indent="0" algn="ctr" defTabSz="91432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765" b="0" i="0" u="none" strike="noStrike" kern="0" cap="none" spc="0" normalizeH="0" baseline="0" noProof="0">
                  <a:ln>
                    <a:noFill/>
                  </a:ln>
                  <a:solidFill>
                    <a:srgbClr val="1A1A1A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</p:grpSp>
      </p:grpSp>
      <p:sp>
        <p:nvSpPr>
          <p:cNvPr id="141" name="Rectangle 140">
            <a:extLst>
              <a:ext uri="{FF2B5EF4-FFF2-40B4-BE49-F238E27FC236}">
                <a16:creationId xmlns:a16="http://schemas.microsoft.com/office/drawing/2014/main" id="{532FB821-05BB-41A8-9753-A5120F09D853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>
            <a:spLocks noChangeAspect="1"/>
          </p:cNvSpPr>
          <p:nvPr/>
        </p:nvSpPr>
        <p:spPr>
          <a:xfrm>
            <a:off x="6720952" y="3455405"/>
            <a:ext cx="6829950" cy="307777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lvl="0">
              <a:buSzPct val="90000"/>
              <a:defRPr/>
            </a:pPr>
            <a:r>
              <a:rPr lang="en-US" sz="2000" dirty="0">
                <a:ln w="3175">
                  <a:noFill/>
                </a:ln>
                <a:cs typeface="Segoe UI" pitchFamily="34" charset="0"/>
              </a:rPr>
              <a:t>Script and Automate where you can</a:t>
            </a:r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218F21DD-9116-4415-8B26-E5A0A7DA895C}"/>
              </a:ext>
            </a:extLst>
          </p:cNvPr>
          <p:cNvGrpSpPr/>
          <p:nvPr/>
        </p:nvGrpSpPr>
        <p:grpSpPr>
          <a:xfrm>
            <a:off x="5724631" y="4309940"/>
            <a:ext cx="747738" cy="718966"/>
            <a:chOff x="465446" y="4448486"/>
            <a:chExt cx="978658" cy="978656"/>
          </a:xfrm>
        </p:grpSpPr>
        <p:sp>
          <p:nvSpPr>
            <p:cNvPr id="142" name="Flowchart: Connector 141">
              <a:extLst>
                <a:ext uri="{FF2B5EF4-FFF2-40B4-BE49-F238E27FC236}">
                  <a16:creationId xmlns:a16="http://schemas.microsoft.com/office/drawing/2014/main" id="{ACDA114B-AA27-48B0-A44B-DCBD5FCC35B0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465446" y="4448486"/>
              <a:ext cx="978658" cy="978656"/>
            </a:xfrm>
            <a:prstGeom prst="flowChartConnector">
              <a:avLst/>
            </a:prstGeom>
            <a:solidFill>
              <a:srgbClr val="243A5E"/>
            </a:solidFill>
            <a:ln w="10795" cap="flat" cmpd="sng" algn="ctr">
              <a:noFill/>
              <a:prstDash val="soli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0" tIns="46630" rIns="0" bIns="4663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32390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100" kern="0">
                <a:gradFill>
                  <a:gsLst>
                    <a:gs pos="8850">
                      <a:srgbClr val="1A1A1A"/>
                    </a:gs>
                    <a:gs pos="25000">
                      <a:srgbClr val="1A1A1A"/>
                    </a:gs>
                  </a:gsLst>
                  <a:lin ang="5400000" scaled="0"/>
                </a:gradFill>
                <a:latin typeface="Segoe UI Semibold"/>
              </a:endParaRPr>
            </a:p>
          </p:txBody>
        </p:sp>
        <p:grpSp>
          <p:nvGrpSpPr>
            <p:cNvPr id="143" name="Group 142">
              <a:extLst>
                <a:ext uri="{FF2B5EF4-FFF2-40B4-BE49-F238E27FC236}">
                  <a16:creationId xmlns:a16="http://schemas.microsoft.com/office/drawing/2014/main" id="{F6340F90-13F1-431E-A306-28D4A3627A8A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558645" y="4541440"/>
              <a:ext cx="792260" cy="792748"/>
              <a:chOff x="7031510" y="6183940"/>
              <a:chExt cx="899315" cy="899315"/>
            </a:xfrm>
          </p:grpSpPr>
          <p:sp>
            <p:nvSpPr>
              <p:cNvPr id="144" name="Arc 143">
                <a:extLst>
                  <a:ext uri="{FF2B5EF4-FFF2-40B4-BE49-F238E27FC236}">
                    <a16:creationId xmlns:a16="http://schemas.microsoft.com/office/drawing/2014/main" id="{08D92DC1-C924-4516-AA03-5C6CD8AB0C57}"/>
                  </a:ex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SpPr/>
              <p:nvPr/>
            </p:nvSpPr>
            <p:spPr>
              <a:xfrm>
                <a:off x="7031510" y="6183940"/>
                <a:ext cx="899315" cy="899315"/>
              </a:xfrm>
              <a:prstGeom prst="arc">
                <a:avLst>
                  <a:gd name="adj1" fmla="val 16200000"/>
                  <a:gd name="adj2" fmla="val 4971885"/>
                </a:avLst>
              </a:prstGeom>
              <a:ln w="19050">
                <a:solidFill>
                  <a:schemeClr val="bg1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marL="0" marR="0" lvl="0" indent="0" algn="ctr" defTabSz="91432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765" b="0" i="0" u="none" strike="noStrike" kern="0" cap="none" spc="0" normalizeH="0" baseline="0" noProof="0">
                  <a:ln>
                    <a:noFill/>
                  </a:ln>
                  <a:solidFill>
                    <a:srgbClr val="1A1A1A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45" name="Arc 144">
                <a:extLst>
                  <a:ext uri="{FF2B5EF4-FFF2-40B4-BE49-F238E27FC236}">
                    <a16:creationId xmlns:a16="http://schemas.microsoft.com/office/drawing/2014/main" id="{F99155E0-0E1B-4EC5-B5F1-CBA3D7A05E27}"/>
                  </a:ex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SpPr/>
              <p:nvPr/>
            </p:nvSpPr>
            <p:spPr>
              <a:xfrm flipH="1" flipV="1">
                <a:off x="7031510" y="6183940"/>
                <a:ext cx="899315" cy="899315"/>
              </a:xfrm>
              <a:prstGeom prst="arc">
                <a:avLst>
                  <a:gd name="adj1" fmla="val 16200000"/>
                  <a:gd name="adj2" fmla="val 4971885"/>
                </a:avLst>
              </a:prstGeom>
              <a:ln w="19050">
                <a:solidFill>
                  <a:schemeClr val="bg1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marL="0" marR="0" lvl="0" indent="0" algn="ctr" defTabSz="91432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765" b="0" i="0" u="none" strike="noStrike" kern="0" cap="none" spc="0" normalizeH="0" baseline="0" noProof="0">
                  <a:ln>
                    <a:noFill/>
                  </a:ln>
                  <a:solidFill>
                    <a:srgbClr val="1A1A1A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</p:grpSp>
      </p:grpSp>
      <p:sp>
        <p:nvSpPr>
          <p:cNvPr id="147" name="Rectangle 146">
            <a:extLst>
              <a:ext uri="{FF2B5EF4-FFF2-40B4-BE49-F238E27FC236}">
                <a16:creationId xmlns:a16="http://schemas.microsoft.com/office/drawing/2014/main" id="{B7D79C10-81C6-449D-8DEA-9944CE5818B9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>
            <a:spLocks noChangeAspect="1"/>
          </p:cNvSpPr>
          <p:nvPr/>
        </p:nvSpPr>
        <p:spPr>
          <a:xfrm>
            <a:off x="6720952" y="4485342"/>
            <a:ext cx="6884972" cy="307777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>
              <a:buSzPct val="90000"/>
              <a:defRPr/>
            </a:pPr>
            <a:r>
              <a:rPr lang="en-US" sz="2000" dirty="0">
                <a:ln w="3175">
                  <a:noFill/>
                </a:ln>
                <a:cs typeface="Segoe UI" pitchFamily="34" charset="0"/>
              </a:rPr>
              <a:t>Choose the right tools for the job</a:t>
            </a: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7188D714-6F49-42DF-AAA0-966E7F4658DD}"/>
              </a:ext>
            </a:extLst>
          </p:cNvPr>
          <p:cNvGrpSpPr/>
          <p:nvPr/>
        </p:nvGrpSpPr>
        <p:grpSpPr>
          <a:xfrm>
            <a:off x="5724626" y="5356220"/>
            <a:ext cx="747738" cy="718966"/>
            <a:chOff x="510255" y="5565456"/>
            <a:chExt cx="978658" cy="978656"/>
          </a:xfrm>
        </p:grpSpPr>
        <p:sp>
          <p:nvSpPr>
            <p:cNvPr id="55" name="Flowchart: Connector 54">
              <a:extLst>
                <a:ext uri="{FF2B5EF4-FFF2-40B4-BE49-F238E27FC236}">
                  <a16:creationId xmlns:a16="http://schemas.microsoft.com/office/drawing/2014/main" id="{4FB349C9-1844-4BAC-A499-A14133FC71A9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510255" y="5565456"/>
              <a:ext cx="978658" cy="978656"/>
            </a:xfrm>
            <a:prstGeom prst="flowChartConnector">
              <a:avLst/>
            </a:prstGeom>
            <a:solidFill>
              <a:srgbClr val="243A5E"/>
            </a:solidFill>
            <a:ln w="10795" cap="flat" cmpd="sng" algn="ctr">
              <a:noFill/>
              <a:prstDash val="soli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0" tIns="46630" rIns="0" bIns="4663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32390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100" kern="0">
                <a:gradFill>
                  <a:gsLst>
                    <a:gs pos="8850">
                      <a:srgbClr val="1A1A1A"/>
                    </a:gs>
                    <a:gs pos="25000">
                      <a:srgbClr val="1A1A1A"/>
                    </a:gs>
                  </a:gsLst>
                  <a:lin ang="5400000" scaled="0"/>
                </a:gradFill>
                <a:latin typeface="Segoe UI Semibold"/>
              </a:endParaRPr>
            </a:p>
          </p:txBody>
        </p:sp>
        <p:grpSp>
          <p:nvGrpSpPr>
            <p:cNvPr id="56" name="Group 55">
              <a:extLst>
                <a:ext uri="{FF2B5EF4-FFF2-40B4-BE49-F238E27FC236}">
                  <a16:creationId xmlns:a16="http://schemas.microsoft.com/office/drawing/2014/main" id="{EB5FBB5C-AC7E-46EF-A6F5-05AFE4A9C74C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603454" y="5658410"/>
              <a:ext cx="792260" cy="792748"/>
              <a:chOff x="7031510" y="6183940"/>
              <a:chExt cx="899315" cy="899315"/>
            </a:xfrm>
          </p:grpSpPr>
          <p:sp>
            <p:nvSpPr>
              <p:cNvPr id="57" name="Arc 56">
                <a:extLst>
                  <a:ext uri="{FF2B5EF4-FFF2-40B4-BE49-F238E27FC236}">
                    <a16:creationId xmlns:a16="http://schemas.microsoft.com/office/drawing/2014/main" id="{C069F2C4-2FC9-4894-A06D-5BDFE2A670D8}"/>
                  </a:ex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SpPr/>
              <p:nvPr/>
            </p:nvSpPr>
            <p:spPr>
              <a:xfrm>
                <a:off x="7031510" y="6183940"/>
                <a:ext cx="899315" cy="899315"/>
              </a:xfrm>
              <a:prstGeom prst="arc">
                <a:avLst>
                  <a:gd name="adj1" fmla="val 16200000"/>
                  <a:gd name="adj2" fmla="val 4971885"/>
                </a:avLst>
              </a:prstGeom>
              <a:ln w="19050">
                <a:solidFill>
                  <a:schemeClr val="bg1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marL="0" marR="0" lvl="0" indent="0" algn="ctr" defTabSz="91432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765" b="0" i="0" u="none" strike="noStrike" kern="0" cap="none" spc="0" normalizeH="0" baseline="0" noProof="0">
                  <a:ln>
                    <a:noFill/>
                  </a:ln>
                  <a:solidFill>
                    <a:srgbClr val="1A1A1A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8" name="Arc 57">
                <a:extLst>
                  <a:ext uri="{FF2B5EF4-FFF2-40B4-BE49-F238E27FC236}">
                    <a16:creationId xmlns:a16="http://schemas.microsoft.com/office/drawing/2014/main" id="{FD4226CB-DA46-430E-BEAB-022AC3D04C96}"/>
                  </a:ex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SpPr/>
              <p:nvPr/>
            </p:nvSpPr>
            <p:spPr>
              <a:xfrm flipH="1" flipV="1">
                <a:off x="7031510" y="6183940"/>
                <a:ext cx="899315" cy="899315"/>
              </a:xfrm>
              <a:prstGeom prst="arc">
                <a:avLst>
                  <a:gd name="adj1" fmla="val 16200000"/>
                  <a:gd name="adj2" fmla="val 4971885"/>
                </a:avLst>
              </a:prstGeom>
              <a:ln w="19050">
                <a:solidFill>
                  <a:schemeClr val="bg1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marL="0" marR="0" lvl="0" indent="0" algn="ctr" defTabSz="91432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765" b="0" i="0" u="none" strike="noStrike" kern="0" cap="none" spc="0" normalizeH="0" baseline="0" noProof="0">
                  <a:ln>
                    <a:noFill/>
                  </a:ln>
                  <a:solidFill>
                    <a:srgbClr val="1A1A1A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</p:grpSp>
      </p:grpSp>
      <p:sp>
        <p:nvSpPr>
          <p:cNvPr id="59" name="Rectangle 58">
            <a:extLst>
              <a:ext uri="{FF2B5EF4-FFF2-40B4-BE49-F238E27FC236}">
                <a16:creationId xmlns:a16="http://schemas.microsoft.com/office/drawing/2014/main" id="{7DF4F54C-C1D0-41FC-88E4-47847D6FACB0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>
            <a:spLocks noChangeAspect="1"/>
          </p:cNvSpPr>
          <p:nvPr/>
        </p:nvSpPr>
        <p:spPr>
          <a:xfrm>
            <a:off x="6720952" y="5552076"/>
            <a:ext cx="6884972" cy="307777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>
              <a:buSzPct val="90000"/>
              <a:defRPr/>
            </a:pPr>
            <a:r>
              <a:rPr lang="en-US" sz="2000" dirty="0">
                <a:ln w="3175">
                  <a:noFill/>
                </a:ln>
                <a:cs typeface="Segoe UI" pitchFamily="34" charset="0"/>
              </a:rPr>
              <a:t>Track and optimize spend</a:t>
            </a:r>
          </a:p>
        </p:txBody>
      </p:sp>
      <p:pic>
        <p:nvPicPr>
          <p:cNvPr id="18" name="Graphic 17" descr="Mining tools">
            <a:extLst>
              <a:ext uri="{FF2B5EF4-FFF2-40B4-BE49-F238E27FC236}">
                <a16:creationId xmlns:a16="http://schemas.microsoft.com/office/drawing/2014/main" id="{7F265824-AEFF-484A-8643-F3FB5367B671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5884305" y="4455232"/>
            <a:ext cx="428380" cy="428380"/>
          </a:xfrm>
          <a:prstGeom prst="rect">
            <a:avLst/>
          </a:prstGeom>
        </p:spPr>
      </p:pic>
      <p:pic>
        <p:nvPicPr>
          <p:cNvPr id="20" name="Graphic 19" descr="Aspiration">
            <a:extLst>
              <a:ext uri="{FF2B5EF4-FFF2-40B4-BE49-F238E27FC236}">
                <a16:creationId xmlns:a16="http://schemas.microsoft.com/office/drawing/2014/main" id="{C967F766-DF46-43F6-9259-31BC4A45CD91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5832708" y="1264797"/>
            <a:ext cx="531573" cy="531573"/>
          </a:xfrm>
          <a:prstGeom prst="rect">
            <a:avLst/>
          </a:prstGeom>
        </p:spPr>
      </p:pic>
      <p:pic>
        <p:nvPicPr>
          <p:cNvPr id="25" name="Graphic 24" descr="Magic Wand Auto">
            <a:extLst>
              <a:ext uri="{FF2B5EF4-FFF2-40B4-BE49-F238E27FC236}">
                <a16:creationId xmlns:a16="http://schemas.microsoft.com/office/drawing/2014/main" id="{3A4870DF-E386-468B-9492-A05118EC39ED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5884305" y="3414015"/>
            <a:ext cx="390556" cy="390556"/>
          </a:xfrm>
          <a:prstGeom prst="rect">
            <a:avLst/>
          </a:prstGeom>
        </p:spPr>
      </p:pic>
      <p:pic>
        <p:nvPicPr>
          <p:cNvPr id="28" name="Graphic 27" descr="Coins">
            <a:extLst>
              <a:ext uri="{FF2B5EF4-FFF2-40B4-BE49-F238E27FC236}">
                <a16:creationId xmlns:a16="http://schemas.microsoft.com/office/drawing/2014/main" id="{DE5FD8E9-B733-4D80-B944-FF4F78A851D7}"/>
              </a:ext>
            </a:extLst>
          </p:cNvPr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5884305" y="5513282"/>
            <a:ext cx="406679" cy="406679"/>
          </a:xfrm>
          <a:prstGeom prst="rect">
            <a:avLst/>
          </a:prstGeom>
        </p:spPr>
      </p:pic>
      <p:pic>
        <p:nvPicPr>
          <p:cNvPr id="30" name="Graphic 29" descr="Group of people">
            <a:extLst>
              <a:ext uri="{FF2B5EF4-FFF2-40B4-BE49-F238E27FC236}">
                <a16:creationId xmlns:a16="http://schemas.microsoft.com/office/drawing/2014/main" id="{FE8C1D89-DE3F-4CA8-B0CA-D2938EE2B1A2}"/>
              </a:ext>
            </a:extLst>
          </p:cNvPr>
          <p:cNvPicPr>
            <a:picLocks noChangeAspect="1"/>
          </p:cNvPicPr>
          <p:nvPr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5882443" y="2357718"/>
            <a:ext cx="430242" cy="430242"/>
          </a:xfrm>
          <a:prstGeom prst="rect">
            <a:avLst/>
          </a:prstGeom>
        </p:spPr>
      </p:pic>
      <p:pic>
        <p:nvPicPr>
          <p:cNvPr id="32" name="Graphic 31" descr="Classroom">
            <a:extLst>
              <a:ext uri="{FF2B5EF4-FFF2-40B4-BE49-F238E27FC236}">
                <a16:creationId xmlns:a16="http://schemas.microsoft.com/office/drawing/2014/main" id="{37AC5ED1-BC88-4557-BAA9-6084DBD3EC66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1232936" y="2451769"/>
            <a:ext cx="2431843" cy="24318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5165945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1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2000"/>
                            </p:stCondLst>
                            <p:childTnLst>
                              <p:par>
                                <p:cTn id="2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5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8" grpId="0"/>
      <p:bldP spid="135" grpId="0"/>
      <p:bldP spid="141" grpId="0"/>
      <p:bldP spid="147" grpId="0"/>
      <p:bldP spid="59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F8C40074-9DBD-4F5E-8683-8C35C4F09744}"/>
              </a:ext>
            </a:extLst>
          </p:cNvPr>
          <p:cNvSpPr txBox="1"/>
          <p:nvPr/>
        </p:nvSpPr>
        <p:spPr>
          <a:xfrm>
            <a:off x="229456" y="297950"/>
            <a:ext cx="11733088" cy="67710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GB" sz="44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rPr>
              <a:t>Scotland is the home of… </a:t>
            </a:r>
          </a:p>
        </p:txBody>
      </p:sp>
      <p:pic>
        <p:nvPicPr>
          <p:cNvPr id="1026" name="1d8839fb-3ee3-4287-b106-7813cdd98d60" descr="Image">
            <a:extLst>
              <a:ext uri="{FF2B5EF4-FFF2-40B4-BE49-F238E27FC236}">
                <a16:creationId xmlns:a16="http://schemas.microsoft.com/office/drawing/2014/main" id="{BC181E27-ECAD-497F-B0FF-962807EC6CD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 rot="5400000">
            <a:off x="6254496" y="1742702"/>
            <a:ext cx="5815584" cy="29260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58901949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 21">
            <a:extLst>
              <a:ext uri="{FF2B5EF4-FFF2-40B4-BE49-F238E27FC236}">
                <a16:creationId xmlns:a16="http://schemas.microsoft.com/office/drawing/2014/main" id="{2E67EF27-C1B1-4DFE-848D-B2A96EDB4A88}"/>
              </a:ext>
            </a:extLst>
          </p:cNvPr>
          <p:cNvSpPr/>
          <p:nvPr/>
        </p:nvSpPr>
        <p:spPr>
          <a:xfrm>
            <a:off x="780793" y="5680232"/>
            <a:ext cx="10630414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 defTabSz="914367">
              <a:defRPr/>
            </a:pPr>
            <a:r>
              <a:rPr lang="en-US" sz="4000" dirty="0">
                <a:solidFill>
                  <a:srgbClr val="0078D4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https://aka.ms/AzureAC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8F7B24E-8B64-416C-9A64-77207FD2E9A7}"/>
              </a:ext>
            </a:extLst>
          </p:cNvPr>
          <p:cNvSpPr txBox="1"/>
          <p:nvPr/>
        </p:nvSpPr>
        <p:spPr>
          <a:xfrm>
            <a:off x="604058" y="205047"/>
            <a:ext cx="10196946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4400" dirty="0">
                <a:solidFill>
                  <a:schemeClr val="bg1"/>
                </a:solidFill>
                <a:latin typeface="Segoe UI Light (Headings)"/>
              </a:rPr>
              <a:t>Azure Architecture </a:t>
            </a:r>
            <a:r>
              <a:rPr lang="en-GB" sz="4400" dirty="0" err="1">
                <a:solidFill>
                  <a:schemeClr val="bg1"/>
                </a:solidFill>
                <a:latin typeface="Segoe UI Light (Headings)"/>
              </a:rPr>
              <a:t>Center</a:t>
            </a:r>
            <a:endParaRPr lang="en-GB" sz="4400" dirty="0">
              <a:solidFill>
                <a:schemeClr val="bg1"/>
              </a:solidFill>
              <a:latin typeface="Segoe UI Light (Headings)"/>
            </a:endParaRPr>
          </a:p>
        </p:txBody>
      </p:sp>
      <p:pic>
        <p:nvPicPr>
          <p:cNvPr id="9" name="Graphic 8" descr="Architecture">
            <a:extLst>
              <a:ext uri="{FF2B5EF4-FFF2-40B4-BE49-F238E27FC236}">
                <a16:creationId xmlns:a16="http://schemas.microsoft.com/office/drawing/2014/main" id="{8D843295-48BA-4DC0-B014-D6D7DF51C6F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230283" y="1873134"/>
            <a:ext cx="2781993" cy="2781993"/>
          </a:xfrm>
          <a:prstGeom prst="rect">
            <a:avLst/>
          </a:prstGeom>
        </p:spPr>
      </p:pic>
      <p:grpSp>
        <p:nvGrpSpPr>
          <p:cNvPr id="68" name="Group 67">
            <a:extLst>
              <a:ext uri="{FF2B5EF4-FFF2-40B4-BE49-F238E27FC236}">
                <a16:creationId xmlns:a16="http://schemas.microsoft.com/office/drawing/2014/main" id="{0260C0D9-26CA-41CF-BC95-A1AB1AF13FBC}"/>
              </a:ext>
            </a:extLst>
          </p:cNvPr>
          <p:cNvGrpSpPr/>
          <p:nvPr/>
        </p:nvGrpSpPr>
        <p:grpSpPr>
          <a:xfrm>
            <a:off x="0" y="6494753"/>
            <a:ext cx="12192000" cy="472960"/>
            <a:chOff x="0" y="6494753"/>
            <a:chExt cx="12192000" cy="472960"/>
          </a:xfrm>
        </p:grpSpPr>
        <p:sp>
          <p:nvSpPr>
            <p:cNvPr id="69" name="Rectangle 68">
              <a:extLst>
                <a:ext uri="{FF2B5EF4-FFF2-40B4-BE49-F238E27FC236}">
                  <a16:creationId xmlns:a16="http://schemas.microsoft.com/office/drawing/2014/main" id="{74125E45-971F-4239-BD0C-5B60D6B8EB46}"/>
                </a:ext>
              </a:extLst>
            </p:cNvPr>
            <p:cNvSpPr/>
            <p:nvPr/>
          </p:nvSpPr>
          <p:spPr>
            <a:xfrm>
              <a:off x="0" y="6494753"/>
              <a:ext cx="12192000" cy="361507"/>
            </a:xfrm>
            <a:prstGeom prst="rect">
              <a:avLst/>
            </a:prstGeom>
            <a:solidFill>
              <a:srgbClr val="007FB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70" name="TextBox 69">
              <a:extLst>
                <a:ext uri="{FF2B5EF4-FFF2-40B4-BE49-F238E27FC236}">
                  <a16:creationId xmlns:a16="http://schemas.microsoft.com/office/drawing/2014/main" id="{15814D60-1F81-42A3-A30A-661FE6841728}"/>
                </a:ext>
              </a:extLst>
            </p:cNvPr>
            <p:cNvSpPr txBox="1"/>
            <p:nvPr/>
          </p:nvSpPr>
          <p:spPr>
            <a:xfrm>
              <a:off x="9520101" y="6536826"/>
              <a:ext cx="2397642" cy="43088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100" b="0" i="0" kern="0" spc="-20" baseline="0" dirty="0">
                  <a:solidFill>
                    <a:schemeClr val="bg1"/>
                  </a:solidFill>
                  <a:latin typeface="Segoe UI Semibold" charset="0"/>
                </a:rPr>
                <a:t>Microsoft Azure    </a:t>
              </a:r>
              <a:r>
                <a:rPr lang="en-US" sz="1100" b="0" i="0" kern="0" spc="-20" baseline="0" dirty="0">
                  <a:solidFill>
                    <a:schemeClr val="bg1"/>
                  </a:soli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|  @Techielass</a:t>
              </a:r>
              <a:endParaRPr lang="en-US" sz="1100" b="0" i="0" kern="0" spc="-20" baseline="0" dirty="0">
                <a:solidFill>
                  <a:schemeClr val="bg1"/>
                </a:solidFill>
                <a:latin typeface="Segoe UI Semilight" panose="020B0402040204020203" pitchFamily="34" charset="0"/>
                <a:ea typeface="Segoe UI Semilight" charset="0"/>
                <a:cs typeface="Segoe UI Semilight" panose="020B0402040204020203" pitchFamily="34" charset="0"/>
              </a:endParaRPr>
            </a:p>
            <a:p>
              <a:endParaRPr lang="en-GB" sz="1100" b="1" dirty="0">
                <a:solidFill>
                  <a:schemeClr val="bg1"/>
                </a:solidFill>
              </a:endParaRPr>
            </a:p>
          </p:txBody>
        </p:sp>
      </p:grpSp>
      <p:pic>
        <p:nvPicPr>
          <p:cNvPr id="4" name="Picture 3">
            <a:extLst>
              <a:ext uri="{FF2B5EF4-FFF2-40B4-BE49-F238E27FC236}">
                <a16:creationId xmlns:a16="http://schemas.microsoft.com/office/drawing/2014/main" id="{0B5D65C9-3B39-489F-ABE2-CB80A8BC5F2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299222" y="1459220"/>
            <a:ext cx="6414115" cy="3609820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rgbClr val="292929"/>
            </a:solidFill>
            <a:miter lim="800000"/>
          </a:ln>
          <a:effectLst>
            <a:reflection blurRad="12700" stA="28000" endPos="2800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>
            <a:bevelT h="38100"/>
            <a:contourClr>
              <a:srgbClr val="C0C0C0"/>
            </a:contourClr>
          </a:sp3d>
        </p:spPr>
      </p:pic>
    </p:spTree>
    <p:extLst>
      <p:ext uri="{BB962C8B-B14F-4D97-AF65-F5344CB8AC3E}">
        <p14:creationId xmlns:p14="http://schemas.microsoft.com/office/powerpoint/2010/main" val="107208464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2" grpId="0"/>
    </p:bld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D3449BB-1BF2-4BB0-846A-CF44317EF9D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6412" y="435827"/>
            <a:ext cx="11018520" cy="947806"/>
          </a:xfrm>
        </p:spPr>
        <p:txBody>
          <a:bodyPr/>
          <a:lstStyle/>
          <a:p>
            <a:r>
              <a:rPr lang="en-US" sz="4710" spc="-100" dirty="0">
                <a:solidFill>
                  <a:srgbClr val="0078D4"/>
                </a:solidFill>
                <a:latin typeface="Segoe UI Light (Headings)"/>
              </a:rPr>
              <a:t>Azure migration center </a:t>
            </a:r>
            <a:br>
              <a:rPr lang="en-US" sz="4710" spc="-100" dirty="0">
                <a:solidFill>
                  <a:srgbClr val="0078D4"/>
                </a:solidFill>
                <a:latin typeface="Segoe UI Light (Headings)"/>
              </a:rPr>
            </a:br>
            <a:br>
              <a:rPr lang="en-US" sz="4710" spc="0" dirty="0">
                <a:solidFill>
                  <a:srgbClr val="0078D4"/>
                </a:solidFill>
                <a:latin typeface="Segoe UI Light (Headings)"/>
                <a:cs typeface="Segoe UI Semilight" panose="020B0402040204020203" pitchFamily="34" charset="0"/>
              </a:rPr>
            </a:br>
            <a:endParaRPr lang="en-US" sz="4710" spc="0" dirty="0">
              <a:solidFill>
                <a:srgbClr val="0078D4"/>
              </a:solidFill>
              <a:latin typeface="Segoe UI Light (Headings)"/>
              <a:cs typeface="Segoe UI Semilight" panose="020B0402040204020203" pitchFamily="34" charset="0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8ABC1669-768D-4987-9622-2CF7C7DD5680}"/>
              </a:ext>
            </a:extLst>
          </p:cNvPr>
          <p:cNvSpPr txBox="1"/>
          <p:nvPr/>
        </p:nvSpPr>
        <p:spPr>
          <a:xfrm>
            <a:off x="7249907" y="5538063"/>
            <a:ext cx="4430315" cy="572464"/>
          </a:xfrm>
          <a:prstGeom prst="rect">
            <a:avLst/>
          </a:prstGeom>
          <a:noFill/>
        </p:spPr>
        <p:txBody>
          <a:bodyPr wrap="none" lIns="182880" tIns="146304" rIns="182880" bIns="146304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78D7"/>
                </a:solidFill>
                <a:effectLst/>
                <a:uLnTx/>
                <a:uFillTx/>
                <a:latin typeface="Segoe UI Semibold"/>
                <a:ea typeface="+mn-ea"/>
                <a:cs typeface="+mn-cs"/>
              </a:rPr>
              <a:t>https://aka.ms/azurelive/migration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F3E2A3F2-E493-4876-81EA-0E5219F002FE}"/>
              </a:ext>
            </a:extLst>
          </p:cNvPr>
          <p:cNvSpPr txBox="1">
            <a:spLocks/>
          </p:cNvSpPr>
          <p:nvPr/>
        </p:nvSpPr>
        <p:spPr>
          <a:xfrm>
            <a:off x="225656" y="3914119"/>
            <a:ext cx="1644425" cy="581698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0" kern="1200" cap="none" spc="-50" baseline="0" dirty="0">
                <a:ln w="3175">
                  <a:noFill/>
                </a:ln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marL="0" marR="0" lvl="0" indent="0" algn="ctr" defTabSz="9327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ClrTx/>
              <a:buSzPct val="90000"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 w="3175">
                  <a:noFill/>
                </a:ln>
                <a:gradFill>
                  <a:gsLst>
                    <a:gs pos="1250">
                      <a:srgbClr val="1A1A1A"/>
                    </a:gs>
                    <a:gs pos="100000">
                      <a:srgbClr val="1A1A1A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Segoe UI Semilight" panose="020B0402040204020203" pitchFamily="34" charset="0"/>
              </a:rPr>
              <a:t>Migration journey and strategies</a:t>
            </a:r>
            <a:br>
              <a:rPr kumimoji="0" lang="en-US" sz="1400" b="0" i="0" u="none" strike="noStrike" kern="1200" cap="none" spc="0" normalizeH="0" baseline="0" noProof="0">
                <a:ln w="3175">
                  <a:noFill/>
                </a:ln>
                <a:gradFill>
                  <a:gsLst>
                    <a:gs pos="1250">
                      <a:srgbClr val="1A1A1A"/>
                    </a:gs>
                    <a:gs pos="100000">
                      <a:srgbClr val="1A1A1A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Segoe UI Semilight" panose="020B0402040204020203" pitchFamily="34" charset="0"/>
              </a:rPr>
            </a:br>
            <a:r>
              <a:rPr kumimoji="0" lang="en-US" sz="1400" b="0" i="0" u="none" strike="noStrike" kern="1200" cap="none" spc="0" normalizeH="0" baseline="0" noProof="0">
                <a:ln w="3175">
                  <a:noFill/>
                </a:ln>
                <a:gradFill>
                  <a:gsLst>
                    <a:gs pos="1250">
                      <a:srgbClr val="1A1A1A"/>
                    </a:gs>
                    <a:gs pos="100000">
                      <a:srgbClr val="1A1A1A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Segoe UI Semilight" panose="020B0402040204020203" pitchFamily="34" charset="0"/>
              </a:rPr>
              <a:t> 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9ABE29D-BC4A-4DC5-850A-9F2FE859CC67}"/>
              </a:ext>
            </a:extLst>
          </p:cNvPr>
          <p:cNvSpPr txBox="1"/>
          <p:nvPr/>
        </p:nvSpPr>
        <p:spPr>
          <a:xfrm>
            <a:off x="376231" y="3133800"/>
            <a:ext cx="1527662" cy="38779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ctr" defTabSz="914192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>
                <a:ln w="3175">
                  <a:noFill/>
                </a:ln>
                <a:gradFill>
                  <a:gsLst>
                    <a:gs pos="0">
                      <a:srgbClr val="1A1A1A"/>
                    </a:gs>
                    <a:gs pos="100000">
                      <a:srgbClr val="1A1A1A"/>
                    </a:gs>
                  </a:gsLst>
                  <a:lin ang="5400000" scaled="1"/>
                </a:gradFill>
                <a:effectLst/>
                <a:uLnTx/>
                <a:uFillTx/>
                <a:latin typeface="Segoe UI Semibold"/>
                <a:ea typeface="+mn-ea"/>
                <a:cs typeface="Segoe UI Light" panose="020B0502040204020203" pitchFamily="34" charset="0"/>
              </a:rPr>
              <a:t>Guidance</a:t>
            </a:r>
            <a:endParaRPr kumimoji="0" lang="en-US" sz="2800" b="1" i="0" u="none" strike="noStrike" kern="1200" cap="none" spc="0" normalizeH="0" baseline="0" noProof="0">
              <a:ln w="3175">
                <a:noFill/>
              </a:ln>
              <a:gradFill>
                <a:gsLst>
                  <a:gs pos="0">
                    <a:srgbClr val="1A1A1A"/>
                  </a:gs>
                  <a:gs pos="100000">
                    <a:srgbClr val="1A1A1A"/>
                  </a:gs>
                </a:gsLst>
                <a:lin ang="5400000" scaled="1"/>
              </a:gra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74410082-9EEE-40C3-8333-59CDCBF14565}"/>
              </a:ext>
            </a:extLst>
          </p:cNvPr>
          <p:cNvSpPr txBox="1">
            <a:spLocks/>
          </p:cNvSpPr>
          <p:nvPr/>
        </p:nvSpPr>
        <p:spPr>
          <a:xfrm>
            <a:off x="4674776" y="3914119"/>
            <a:ext cx="1828801" cy="193899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0" kern="1200" cap="none" spc="-50" baseline="0" dirty="0">
                <a:ln w="3175">
                  <a:noFill/>
                </a:ln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marL="0" marR="0" lvl="0" indent="0" algn="ctr" defTabSz="9327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ClrTx/>
              <a:buSzPct val="90000"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 w="3175">
                  <a:noFill/>
                </a:ln>
                <a:gradFill>
                  <a:gsLst>
                    <a:gs pos="1250">
                      <a:srgbClr val="1A1A1A"/>
                    </a:gs>
                    <a:gs pos="100000">
                      <a:srgbClr val="1A1A1A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Segoe UI Semilight" panose="020B0402040204020203" pitchFamily="34" charset="0"/>
              </a:rPr>
              <a:t>Migration experts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8F1B76C-DF04-43E6-A339-6F1EF04EA37D}"/>
              </a:ext>
            </a:extLst>
          </p:cNvPr>
          <p:cNvSpPr txBox="1"/>
          <p:nvPr/>
        </p:nvSpPr>
        <p:spPr>
          <a:xfrm>
            <a:off x="4918214" y="3133800"/>
            <a:ext cx="1352037" cy="38779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ctr" defTabSz="914192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0" i="0" u="none" strike="noStrike" kern="1200" cap="none" spc="0" normalizeH="0" baseline="0" noProof="0">
                <a:ln w="3175">
                  <a:noFill/>
                </a:ln>
                <a:gradFill>
                  <a:gsLst>
                    <a:gs pos="0">
                      <a:srgbClr val="1A1A1A"/>
                    </a:gs>
                    <a:gs pos="100000">
                      <a:srgbClr val="1A1A1A"/>
                    </a:gs>
                  </a:gsLst>
                  <a:lin ang="5400000" scaled="1"/>
                </a:gradFill>
                <a:effectLst/>
                <a:uLnTx/>
                <a:uFillTx/>
                <a:latin typeface="Segoe UI Semibold"/>
                <a:ea typeface="+mn-ea"/>
                <a:cs typeface="Segoe UI Light" panose="020B0502040204020203" pitchFamily="34" charset="0"/>
              </a:rPr>
              <a:t>Partners</a:t>
            </a:r>
            <a:endParaRPr kumimoji="0" lang="en-US" sz="2800" b="1" i="0" u="none" strike="noStrike" kern="1200" cap="none" spc="0" normalizeH="0" baseline="0" noProof="0">
              <a:ln w="3175">
                <a:noFill/>
              </a:ln>
              <a:gradFill>
                <a:gsLst>
                  <a:gs pos="0">
                    <a:srgbClr val="1A1A1A"/>
                  </a:gs>
                  <a:gs pos="100000">
                    <a:srgbClr val="1A1A1A"/>
                  </a:gs>
                </a:gsLst>
                <a:lin ang="5400000" scaled="1"/>
              </a:gra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34D98B5B-C2AE-45C2-B012-8F63E932B96D}"/>
              </a:ext>
            </a:extLst>
          </p:cNvPr>
          <p:cNvSpPr txBox="1">
            <a:spLocks/>
          </p:cNvSpPr>
          <p:nvPr/>
        </p:nvSpPr>
        <p:spPr>
          <a:xfrm>
            <a:off x="2435267" y="3914119"/>
            <a:ext cx="1828800" cy="193899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0" kern="1200" cap="none" spc="-50" baseline="0" dirty="0">
                <a:ln w="3175">
                  <a:noFill/>
                </a:ln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marL="0" marR="0" lvl="0" indent="0" algn="ctr" defTabSz="9327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ClrTx/>
              <a:buSzPct val="90000"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 w="3175">
                  <a:noFill/>
                </a:ln>
                <a:gradFill>
                  <a:gsLst>
                    <a:gs pos="1250">
                      <a:srgbClr val="1A1A1A"/>
                    </a:gs>
                    <a:gs pos="100000">
                      <a:srgbClr val="1A1A1A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Segoe UI Semilight" panose="020B0402040204020203" pitchFamily="34" charset="0"/>
              </a:rPr>
              <a:t>Right tools for the job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C4671587-FACF-49B1-A113-2BF825189EBC}"/>
              </a:ext>
            </a:extLst>
          </p:cNvPr>
          <p:cNvSpPr txBox="1"/>
          <p:nvPr/>
        </p:nvSpPr>
        <p:spPr>
          <a:xfrm>
            <a:off x="2927885" y="3133800"/>
            <a:ext cx="843564" cy="38779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ctr" defTabSz="914192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0" i="0" u="none" strike="noStrike" kern="1200" cap="none" spc="0" normalizeH="0" baseline="0" noProof="0">
                <a:ln w="3175">
                  <a:noFill/>
                </a:ln>
                <a:gradFill>
                  <a:gsLst>
                    <a:gs pos="0">
                      <a:srgbClr val="1A1A1A"/>
                    </a:gs>
                    <a:gs pos="100000">
                      <a:srgbClr val="1A1A1A"/>
                    </a:gs>
                  </a:gsLst>
                  <a:lin ang="5400000" scaled="1"/>
                </a:gradFill>
                <a:effectLst/>
                <a:uLnTx/>
                <a:uFillTx/>
                <a:latin typeface="Segoe UI Semibold"/>
                <a:ea typeface="+mn-ea"/>
                <a:cs typeface="Segoe UI Light" panose="020B0502040204020203" pitchFamily="34" charset="0"/>
              </a:rPr>
              <a:t>Tools</a:t>
            </a:r>
            <a:endParaRPr kumimoji="0" lang="en-US" sz="2800" b="1" i="0" u="none" strike="noStrike" kern="1200" cap="none" spc="0" normalizeH="0" baseline="0" noProof="0">
              <a:ln w="3175">
                <a:noFill/>
              </a:ln>
              <a:gradFill>
                <a:gsLst>
                  <a:gs pos="0">
                    <a:srgbClr val="1A1A1A"/>
                  </a:gs>
                  <a:gs pos="100000">
                    <a:srgbClr val="1A1A1A"/>
                  </a:gs>
                </a:gsLst>
                <a:lin ang="5400000" scaled="1"/>
              </a:gra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BD64322C-0625-4891-A857-D3E3B316D1A9}"/>
              </a:ext>
            </a:extLst>
          </p:cNvPr>
          <p:cNvCxnSpPr/>
          <p:nvPr/>
        </p:nvCxnSpPr>
        <p:spPr>
          <a:xfrm>
            <a:off x="225655" y="3795881"/>
            <a:ext cx="1828800" cy="0"/>
          </a:xfrm>
          <a:prstGeom prst="line">
            <a:avLst/>
          </a:prstGeom>
          <a:noFill/>
          <a:ln w="19050" cap="flat" cmpd="sng" algn="ctr">
            <a:solidFill>
              <a:srgbClr val="0078D4"/>
            </a:solidFill>
            <a:prstDash val="solid"/>
            <a:headEnd type="none"/>
            <a:tailEnd type="none"/>
          </a:ln>
          <a:effectLst/>
        </p:spPr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EE9755A9-B331-4BD5-A6E1-16FAD097A325}"/>
              </a:ext>
            </a:extLst>
          </p:cNvPr>
          <p:cNvCxnSpPr/>
          <p:nvPr/>
        </p:nvCxnSpPr>
        <p:spPr>
          <a:xfrm>
            <a:off x="2435267" y="3795881"/>
            <a:ext cx="1828800" cy="0"/>
          </a:xfrm>
          <a:prstGeom prst="line">
            <a:avLst/>
          </a:prstGeom>
          <a:noFill/>
          <a:ln w="19050" cap="flat" cmpd="sng" algn="ctr">
            <a:solidFill>
              <a:srgbClr val="0078D4"/>
            </a:solidFill>
            <a:prstDash val="solid"/>
            <a:headEnd type="none"/>
            <a:tailEnd type="none"/>
          </a:ln>
          <a:effectLst/>
        </p:spPr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F6216454-D668-4E76-86BA-C7B04699532B}"/>
              </a:ext>
            </a:extLst>
          </p:cNvPr>
          <p:cNvCxnSpPr/>
          <p:nvPr/>
        </p:nvCxnSpPr>
        <p:spPr>
          <a:xfrm>
            <a:off x="4679831" y="3795881"/>
            <a:ext cx="1828800" cy="0"/>
          </a:xfrm>
          <a:prstGeom prst="line">
            <a:avLst/>
          </a:prstGeom>
          <a:noFill/>
          <a:ln w="19050" cap="flat" cmpd="sng" algn="ctr">
            <a:solidFill>
              <a:srgbClr val="0078D4"/>
            </a:solidFill>
            <a:prstDash val="solid"/>
            <a:headEnd type="none"/>
            <a:tailEnd type="none"/>
          </a:ln>
          <a:effectLst/>
        </p:spPr>
      </p:cxnSp>
      <p:pic>
        <p:nvPicPr>
          <p:cNvPr id="4" name="Picture 3">
            <a:extLst>
              <a:ext uri="{FF2B5EF4-FFF2-40B4-BE49-F238E27FC236}">
                <a16:creationId xmlns:a16="http://schemas.microsoft.com/office/drawing/2014/main" id="{B0E2C73C-0D67-41CA-BEA4-E157AE4A1AD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787313" y="1417114"/>
            <a:ext cx="4953604" cy="2787854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rgbClr val="292929"/>
            </a:solidFill>
            <a:miter lim="800000"/>
          </a:ln>
          <a:effectLst>
            <a:reflection blurRad="12700" stA="28000" endPos="2800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>
            <a:bevelT h="38100"/>
            <a:contourClr>
              <a:srgbClr val="C0C0C0"/>
            </a:contourClr>
          </a:sp3d>
        </p:spPr>
      </p:pic>
    </p:spTree>
    <p:extLst>
      <p:ext uri="{BB962C8B-B14F-4D97-AF65-F5344CB8AC3E}">
        <p14:creationId xmlns:p14="http://schemas.microsoft.com/office/powerpoint/2010/main" val="261110048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C51AAF17-7C18-4EDE-B739-F3F787E0C87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25151"/>
          <a:stretch/>
        </p:blipFill>
        <p:spPr>
          <a:xfrm>
            <a:off x="3955142" y="-500539"/>
            <a:ext cx="9906000" cy="7444435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38CA7CF7-5F0A-44E0-8C48-AC9FBA018483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r="7817" b="872"/>
          <a:stretch/>
        </p:blipFill>
        <p:spPr>
          <a:xfrm>
            <a:off x="6232949" y="841829"/>
            <a:ext cx="6473402" cy="4327071"/>
          </a:xfrm>
          <a:prstGeom prst="rect">
            <a:avLst/>
          </a:prstGeom>
        </p:spPr>
      </p:pic>
      <p:sp>
        <p:nvSpPr>
          <p:cNvPr id="3" name="Title 1">
            <a:extLst>
              <a:ext uri="{FF2B5EF4-FFF2-40B4-BE49-F238E27FC236}">
                <a16:creationId xmlns:a16="http://schemas.microsoft.com/office/drawing/2014/main" id="{E074E2EE-8ED4-4129-A704-EFDA61E20F75}"/>
              </a:ext>
            </a:extLst>
          </p:cNvPr>
          <p:cNvSpPr txBox="1">
            <a:spLocks noGrp="1"/>
          </p:cNvSpPr>
          <p:nvPr>
            <p:ph type="title" idx="4294967295"/>
          </p:nvPr>
        </p:nvSpPr>
        <p:spPr>
          <a:xfrm>
            <a:off x="424392" y="532193"/>
            <a:ext cx="2462213" cy="443198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>
            <a:lvl1pPr algn="l" defTabSz="932742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3600" b="0" kern="1200" cap="none" spc="-50" baseline="0" dirty="0" smtClean="0">
                <a:ln w="3175">
                  <a:noFill/>
                </a:ln>
                <a:solidFill>
                  <a:schemeClr val="tx1"/>
                </a:soli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marL="0" marR="0" lvl="0" indent="0" algn="l" defTabSz="932742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-50" normalizeH="0" baseline="0" noProof="0" dirty="0">
                <a:ln w="3175">
                  <a:noFill/>
                </a:ln>
                <a:solidFill>
                  <a:srgbClr val="0078D4"/>
                </a:solidFill>
                <a:effectLst/>
                <a:uLnTx/>
                <a:uFillTx/>
                <a:latin typeface="+mj-lt"/>
                <a:ea typeface="+mn-ea"/>
                <a:cs typeface="Segoe UI" pitchFamily="34" charset="0"/>
              </a:rPr>
              <a:t>Microsoft Learn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68BC4B7A-A399-4CC6-9D1C-059E3A4C4C2D}"/>
              </a:ext>
            </a:extLst>
          </p:cNvPr>
          <p:cNvSpPr txBox="1"/>
          <p:nvPr/>
        </p:nvSpPr>
        <p:spPr>
          <a:xfrm>
            <a:off x="341611" y="1463610"/>
            <a:ext cx="4096442" cy="309777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Segoe UI"/>
                <a:ea typeface="+mn-ea"/>
                <a:cs typeface="+mn-cs"/>
              </a:rPr>
              <a:t>Hundreds of learning paths,</a:t>
            </a:r>
            <a:br>
              <a:rPr kumimoji="0" lang="en-US" sz="20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Segoe UI"/>
                <a:ea typeface="+mn-ea"/>
                <a:cs typeface="+mn-cs"/>
              </a:rPr>
            </a:b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Segoe UI"/>
                <a:ea typeface="+mn-ea"/>
                <a:cs typeface="+mn-cs"/>
              </a:rPr>
              <a:t>completely free</a:t>
            </a:r>
          </a:p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Segoe UI"/>
              <a:ea typeface="+mn-ea"/>
              <a:cs typeface="+mn-cs"/>
            </a:endParaRPr>
          </a:p>
          <a:p>
            <a:pPr defTabSz="914367">
              <a:defRPr/>
            </a:pPr>
            <a:r>
              <a:rPr lang="en-US" sz="2000" dirty="0"/>
              <a:t>Step-by-step tutorials</a:t>
            </a:r>
          </a:p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Segoe UI"/>
              <a:ea typeface="+mn-ea"/>
              <a:cs typeface="+mn-cs"/>
            </a:endParaRPr>
          </a:p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000" dirty="0">
                <a:latin typeface="Segoe UI"/>
              </a:rPr>
              <a:t>Browser-based interactive learning</a:t>
            </a:r>
          </a:p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Segoe UI"/>
                <a:ea typeface="+mn-ea"/>
                <a:cs typeface="+mn-cs"/>
              </a:rPr>
              <a:t>environments</a:t>
            </a:r>
          </a:p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Segoe UI"/>
              <a:ea typeface="+mn-ea"/>
              <a:cs typeface="+mn-cs"/>
            </a:endParaRPr>
          </a:p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="1" dirty="0">
                <a:solidFill>
                  <a:srgbClr val="FEF000"/>
                </a:solidFill>
                <a:latin typeface="Segoe UI"/>
                <a:hlinkClick r:id="rId5"/>
              </a:rPr>
              <a:t>https://aka.ms/azurelive/learn</a:t>
            </a:r>
            <a:r>
              <a:rPr lang="en-US" b="1" dirty="0">
                <a:solidFill>
                  <a:srgbClr val="FEF000"/>
                </a:solidFill>
                <a:latin typeface="Segoe UI"/>
              </a:rPr>
              <a:t> </a:t>
            </a:r>
            <a:endParaRPr lang="en-US" sz="2000" b="1" dirty="0">
              <a:solidFill>
                <a:srgbClr val="FEF000"/>
              </a:solidFill>
              <a:latin typeface="Segoe UI"/>
            </a:endParaRPr>
          </a:p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8144903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>
            <a:lumMod val="75000"/>
            <a:lumOff val="2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A33DE44-037D-4826-9A30-8C85CF1D6D27}"/>
              </a:ext>
            </a:extLst>
          </p:cNvPr>
          <p:cNvSpPr>
            <a:spLocks noGrp="1"/>
          </p:cNvSpPr>
          <p:nvPr>
            <p:ph type="ctrTitle" idx="4294967295"/>
          </p:nvPr>
        </p:nvSpPr>
        <p:spPr>
          <a:xfrm>
            <a:off x="533912" y="277173"/>
            <a:ext cx="9144000" cy="855662"/>
          </a:xfrm>
        </p:spPr>
        <p:txBody>
          <a:bodyPr>
            <a:normAutofit fontScale="90000"/>
          </a:bodyPr>
          <a:lstStyle/>
          <a:p>
            <a:pPr algn="l"/>
            <a:r>
              <a:rPr lang="en-GB" sz="4400" dirty="0">
                <a:solidFill>
                  <a:schemeClr val="accent1">
                    <a:lumMod val="75000"/>
                  </a:schemeClr>
                </a:solidFill>
                <a:latin typeface="Segoe UI Light (Headings)"/>
              </a:rPr>
              <a:t>Thank you!</a:t>
            </a:r>
            <a:br>
              <a:rPr lang="en-GB" sz="4400" dirty="0">
                <a:solidFill>
                  <a:schemeClr val="accent1">
                    <a:lumMod val="75000"/>
                  </a:schemeClr>
                </a:solidFill>
                <a:latin typeface="Segoe UI Light (Headings)"/>
              </a:rPr>
            </a:br>
            <a:br>
              <a:rPr lang="en-GB" sz="4400" dirty="0">
                <a:solidFill>
                  <a:schemeClr val="accent1">
                    <a:lumMod val="75000"/>
                  </a:schemeClr>
                </a:solidFill>
                <a:latin typeface="Segoe UI Light (Headings)"/>
              </a:rPr>
            </a:br>
            <a:r>
              <a:rPr lang="en-GB" sz="3600" dirty="0">
                <a:solidFill>
                  <a:schemeClr val="accent1">
                    <a:lumMod val="75000"/>
                  </a:schemeClr>
                </a:solidFill>
                <a:latin typeface="Segoe UI Light (Headings)"/>
              </a:rPr>
              <a:t>Resources: </a:t>
            </a:r>
            <a:r>
              <a:rPr lang="en-GB" sz="3600" b="1" u="sng" dirty="0">
                <a:solidFill>
                  <a:schemeClr val="accent1">
                    <a:lumMod val="75000"/>
                  </a:schemeClr>
                </a:solidFill>
                <a:latin typeface="Segoe UI Light (Headings)"/>
              </a:rPr>
              <a:t>https://aka.</a:t>
            </a:r>
            <a:r>
              <a:rPr lang="en-GB" sz="3600" b="1" u="sng">
                <a:solidFill>
                  <a:schemeClr val="accent1">
                    <a:lumMod val="75000"/>
                  </a:schemeClr>
                </a:solidFill>
                <a:latin typeface="Segoe UI Light (Headings)"/>
              </a:rPr>
              <a:t>ms/migrate-to-azure</a:t>
            </a:r>
            <a:endParaRPr lang="en-GB" sz="4400" b="1" u="sng" dirty="0">
              <a:solidFill>
                <a:schemeClr val="accent1">
                  <a:lumMod val="75000"/>
                </a:schemeClr>
              </a:solidFill>
              <a:latin typeface="Segoe UI Light (Headings)"/>
            </a:endParaRP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8C584ECB-07E2-4817-A4A0-7D3260E27ACB}"/>
              </a:ext>
            </a:extLst>
          </p:cNvPr>
          <p:cNvSpPr>
            <a:spLocks noGrp="1"/>
          </p:cNvSpPr>
          <p:nvPr>
            <p:ph type="subTitle" idx="4294967295"/>
          </p:nvPr>
        </p:nvSpPr>
        <p:spPr>
          <a:xfrm>
            <a:off x="533912" y="1957105"/>
            <a:ext cx="9144000" cy="4260850"/>
          </a:xfrm>
        </p:spPr>
        <p:txBody>
          <a:bodyPr>
            <a:normAutofit/>
          </a:bodyPr>
          <a:lstStyle/>
          <a:p>
            <a:endParaRPr lang="en-GB" sz="3200" dirty="0">
              <a:solidFill>
                <a:schemeClr val="accent1">
                  <a:lumMod val="75000"/>
                </a:schemeClr>
              </a:solidFill>
              <a:latin typeface="Segoe UI Semilight (Body)"/>
            </a:endParaRPr>
          </a:p>
          <a:p>
            <a:pPr marL="0" indent="0" algn="l">
              <a:buNone/>
            </a:pPr>
            <a:r>
              <a:rPr lang="en-GB" sz="2600" dirty="0">
                <a:solidFill>
                  <a:schemeClr val="accent1">
                    <a:lumMod val="75000"/>
                  </a:schemeClr>
                </a:solidFill>
                <a:latin typeface="Segoe UI Semilight (Body)"/>
              </a:rPr>
              <a:t>Sarah Lean</a:t>
            </a:r>
          </a:p>
          <a:p>
            <a:pPr marL="0" indent="0" algn="l">
              <a:buNone/>
            </a:pPr>
            <a:r>
              <a:rPr lang="en-GB" sz="2600" i="1" dirty="0">
                <a:solidFill>
                  <a:schemeClr val="accent1">
                    <a:lumMod val="75000"/>
                  </a:schemeClr>
                </a:solidFill>
                <a:latin typeface="Segoe UI Semilight (Body)"/>
              </a:rPr>
              <a:t>Senior Cloud Advocate</a:t>
            </a:r>
          </a:p>
          <a:p>
            <a:pPr marL="0" indent="0" algn="l">
              <a:buNone/>
            </a:pPr>
            <a:r>
              <a:rPr lang="en-GB" sz="2600" i="1" dirty="0">
                <a:solidFill>
                  <a:schemeClr val="accent1">
                    <a:lumMod val="75000"/>
                  </a:schemeClr>
                </a:solidFill>
                <a:latin typeface="Segoe UI Semilight (Body)"/>
              </a:rPr>
              <a:t>@Techielass </a:t>
            </a:r>
          </a:p>
          <a:p>
            <a:pPr marL="0" indent="0" algn="l">
              <a:buNone/>
            </a:pPr>
            <a:r>
              <a:rPr lang="en-GB" sz="2600" i="1" dirty="0">
                <a:solidFill>
                  <a:schemeClr val="accent1">
                    <a:lumMod val="75000"/>
                  </a:schemeClr>
                </a:solidFill>
                <a:latin typeface="Segoe UI Semilight (Body)"/>
              </a:rPr>
              <a:t>www.techielass.com</a:t>
            </a:r>
            <a:br>
              <a:rPr lang="en-GB" sz="2600" i="1" dirty="0">
                <a:solidFill>
                  <a:schemeClr val="accent1">
                    <a:lumMod val="75000"/>
                  </a:schemeClr>
                </a:solidFill>
                <a:latin typeface="Segoe UI Semilight (Body)"/>
              </a:rPr>
            </a:br>
            <a:endParaRPr lang="en-GB" sz="2600" i="1" dirty="0">
              <a:solidFill>
                <a:schemeClr val="accent1">
                  <a:lumMod val="75000"/>
                </a:schemeClr>
              </a:solidFill>
              <a:latin typeface="Segoe UI Semilight (Body)"/>
            </a:endParaRPr>
          </a:p>
          <a:p>
            <a:pPr algn="l"/>
            <a:endParaRPr lang="en-GB" sz="2600" dirty="0">
              <a:solidFill>
                <a:schemeClr val="accent1">
                  <a:lumMod val="75000"/>
                </a:schemeClr>
              </a:solidFill>
              <a:latin typeface="Segoe UI Semilight (Body)"/>
            </a:endParaRPr>
          </a:p>
          <a:p>
            <a:pPr algn="l"/>
            <a:endParaRPr lang="en-GB" sz="2600" i="1" dirty="0">
              <a:solidFill>
                <a:schemeClr val="accent1">
                  <a:lumMod val="75000"/>
                </a:schemeClr>
              </a:solidFill>
              <a:latin typeface="Segoe UI Semilight (Body)"/>
            </a:endParaRPr>
          </a:p>
          <a:p>
            <a:pPr algn="l"/>
            <a:endParaRPr lang="en-GB" sz="3200" i="1" dirty="0">
              <a:solidFill>
                <a:schemeClr val="accent1">
                  <a:lumMod val="75000"/>
                </a:schemeClr>
              </a:solidFill>
              <a:latin typeface="Segoe UI Semilight (Body)"/>
            </a:endParaRPr>
          </a:p>
          <a:p>
            <a:pPr algn="l"/>
            <a:endParaRPr lang="en-GB" sz="3200" dirty="0">
              <a:solidFill>
                <a:schemeClr val="accent1">
                  <a:lumMod val="75000"/>
                </a:schemeClr>
              </a:solidFill>
              <a:latin typeface="Segoe UI Semilight (Body)"/>
            </a:endParaRPr>
          </a:p>
        </p:txBody>
      </p:sp>
      <p:pic>
        <p:nvPicPr>
          <p:cNvPr id="5" name="Picture 4" descr="A close up of a logo&#10;&#10;Description automatically generated">
            <a:extLst>
              <a:ext uri="{FF2B5EF4-FFF2-40B4-BE49-F238E27FC236}">
                <a16:creationId xmlns:a16="http://schemas.microsoft.com/office/drawing/2014/main" id="{EF1DF587-C177-4663-A9C4-35BC77918C33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46567" y="2681555"/>
            <a:ext cx="4445433" cy="37774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0912484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9" name="Group 78">
            <a:extLst>
              <a:ext uri="{FF2B5EF4-FFF2-40B4-BE49-F238E27FC236}">
                <a16:creationId xmlns:a16="http://schemas.microsoft.com/office/drawing/2014/main" id="{7538B703-A1B8-43DB-B764-D8F48DFC50C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2438400" y="1557456"/>
            <a:ext cx="7315200" cy="4317882"/>
            <a:chOff x="2438400" y="976431"/>
            <a:chExt cx="7315200" cy="4317882"/>
          </a:xfrm>
        </p:grpSpPr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E1C7E8F3-9295-4F23-8EF3-99F69C148AD1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 bwMode="auto">
            <a:xfrm>
              <a:off x="2738233" y="1789113"/>
              <a:ext cx="6715534" cy="3357767"/>
            </a:xfrm>
            <a:custGeom>
              <a:avLst/>
              <a:gdLst>
                <a:gd name="connsiteX0" fmla="*/ 3357767 w 6715534"/>
                <a:gd name="connsiteY0" fmla="*/ 0 h 3357767"/>
                <a:gd name="connsiteX1" fmla="*/ 6715534 w 6715534"/>
                <a:gd name="connsiteY1" fmla="*/ 3357767 h 3357767"/>
                <a:gd name="connsiteX2" fmla="*/ 5445797 w 6715534"/>
                <a:gd name="connsiteY2" fmla="*/ 3357767 h 3357767"/>
                <a:gd name="connsiteX3" fmla="*/ 5435017 w 6715534"/>
                <a:gd name="connsiteY3" fmla="*/ 3144279 h 3357767"/>
                <a:gd name="connsiteX4" fmla="*/ 3357768 w 6715534"/>
                <a:gd name="connsiteY4" fmla="*/ 1269738 h 3357767"/>
                <a:gd name="connsiteX5" fmla="*/ 1280519 w 6715534"/>
                <a:gd name="connsiteY5" fmla="*/ 3144279 h 3357767"/>
                <a:gd name="connsiteX6" fmla="*/ 1269738 w 6715534"/>
                <a:gd name="connsiteY6" fmla="*/ 3357767 h 3357767"/>
                <a:gd name="connsiteX7" fmla="*/ 0 w 6715534"/>
                <a:gd name="connsiteY7" fmla="*/ 3357767 h 3357767"/>
                <a:gd name="connsiteX8" fmla="*/ 3357767 w 6715534"/>
                <a:gd name="connsiteY8" fmla="*/ 0 h 33577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6715534" h="3357767">
                  <a:moveTo>
                    <a:pt x="3357767" y="0"/>
                  </a:moveTo>
                  <a:cubicBezTo>
                    <a:pt x="5212211" y="0"/>
                    <a:pt x="6715534" y="1503323"/>
                    <a:pt x="6715534" y="3357767"/>
                  </a:cubicBezTo>
                  <a:lnTo>
                    <a:pt x="5445797" y="3357767"/>
                  </a:lnTo>
                  <a:lnTo>
                    <a:pt x="5435017" y="3144279"/>
                  </a:lnTo>
                  <a:cubicBezTo>
                    <a:pt x="5328089" y="2091377"/>
                    <a:pt x="4438881" y="1269738"/>
                    <a:pt x="3357768" y="1269738"/>
                  </a:cubicBezTo>
                  <a:cubicBezTo>
                    <a:pt x="2276655" y="1269738"/>
                    <a:pt x="1387446" y="2091377"/>
                    <a:pt x="1280519" y="3144279"/>
                  </a:cubicBezTo>
                  <a:lnTo>
                    <a:pt x="1269738" y="3357767"/>
                  </a:lnTo>
                  <a:lnTo>
                    <a:pt x="0" y="3357767"/>
                  </a:lnTo>
                  <a:cubicBezTo>
                    <a:pt x="0" y="1503323"/>
                    <a:pt x="1503323" y="0"/>
                    <a:pt x="3357767" y="0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4" rIns="182854" bIns="14628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defTabSz="932293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00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cxnSp>
          <p:nvCxnSpPr>
            <p:cNvPr id="81" name="Straight Connector 80">
              <a:extLst>
                <a:ext uri="{FF2B5EF4-FFF2-40B4-BE49-F238E27FC236}">
                  <a16:creationId xmlns:a16="http://schemas.microsoft.com/office/drawing/2014/main" id="{FDC7232E-41D7-439D-BA01-F2159059237E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>
              <a:cxnSpLocks/>
            </p:cNvCxnSpPr>
            <p:nvPr/>
          </p:nvCxnSpPr>
          <p:spPr>
            <a:xfrm>
              <a:off x="2438400" y="2928004"/>
              <a:ext cx="4038600" cy="2366309"/>
            </a:xfrm>
            <a:prstGeom prst="line">
              <a:avLst/>
            </a:prstGeom>
            <a:ln w="12700">
              <a:solidFill>
                <a:schemeClr val="bg1"/>
              </a:solidFill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2" name="Straight Connector 81">
              <a:extLst>
                <a:ext uri="{FF2B5EF4-FFF2-40B4-BE49-F238E27FC236}">
                  <a16:creationId xmlns:a16="http://schemas.microsoft.com/office/drawing/2014/main" id="{DBCC84BB-70CD-4433-A77F-66D0BD3C20C3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638800" y="3012257"/>
              <a:ext cx="4114800" cy="2282056"/>
            </a:xfrm>
            <a:prstGeom prst="line">
              <a:avLst/>
            </a:prstGeom>
            <a:ln w="12700">
              <a:solidFill>
                <a:schemeClr val="bg1"/>
              </a:solidFill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3" name="Straight Connector 82">
              <a:extLst>
                <a:ext uri="{FF2B5EF4-FFF2-40B4-BE49-F238E27FC236}">
                  <a16:creationId xmlns:a16="http://schemas.microsoft.com/office/drawing/2014/main" id="{86409769-6EEE-45A0-8557-A4EC7D86D33C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>
              <a:cxnSpLocks/>
            </p:cNvCxnSpPr>
            <p:nvPr/>
          </p:nvCxnSpPr>
          <p:spPr>
            <a:xfrm>
              <a:off x="4577009" y="1045438"/>
              <a:ext cx="1371600" cy="3632072"/>
            </a:xfrm>
            <a:prstGeom prst="line">
              <a:avLst/>
            </a:prstGeom>
            <a:ln w="12700">
              <a:solidFill>
                <a:schemeClr val="bg1"/>
              </a:solidFill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4" name="Straight Connector 83">
              <a:extLst>
                <a:ext uri="{FF2B5EF4-FFF2-40B4-BE49-F238E27FC236}">
                  <a16:creationId xmlns:a16="http://schemas.microsoft.com/office/drawing/2014/main" id="{91A56332-1ED3-42AA-997A-B714F9529AF2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6253411" y="976431"/>
              <a:ext cx="1515359" cy="3701079"/>
            </a:xfrm>
            <a:prstGeom prst="line">
              <a:avLst/>
            </a:prstGeom>
            <a:ln w="12700">
              <a:solidFill>
                <a:schemeClr val="bg1"/>
              </a:solidFill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85" name="Title 61">
            <a:extLst>
              <a:ext uri="{FF2B5EF4-FFF2-40B4-BE49-F238E27FC236}">
                <a16:creationId xmlns:a16="http://schemas.microsoft.com/office/drawing/2014/main" id="{4398088A-DF68-43E6-B869-38A13F75B913}"/>
              </a:ext>
            </a:extLst>
          </p:cNvPr>
          <p:cNvSpPr txBox="1">
            <a:spLocks/>
          </p:cNvSpPr>
          <p:nvPr/>
        </p:nvSpPr>
        <p:spPr>
          <a:xfrm>
            <a:off x="4288278" y="3905251"/>
            <a:ext cx="3615444" cy="1822655"/>
          </a:xfrm>
          <a:custGeom>
            <a:avLst/>
            <a:gdLst>
              <a:gd name="connsiteX0" fmla="*/ 1807722 w 3615444"/>
              <a:gd name="connsiteY0" fmla="*/ 0 h 1822655"/>
              <a:gd name="connsiteX1" fmla="*/ 3615444 w 3615444"/>
              <a:gd name="connsiteY1" fmla="*/ 1809462 h 1822655"/>
              <a:gd name="connsiteX2" fmla="*/ 3614779 w 3615444"/>
              <a:gd name="connsiteY2" fmla="*/ 1822655 h 1822655"/>
              <a:gd name="connsiteX3" fmla="*/ 666 w 3615444"/>
              <a:gd name="connsiteY3" fmla="*/ 1822655 h 1822655"/>
              <a:gd name="connsiteX4" fmla="*/ 0 w 3615444"/>
              <a:gd name="connsiteY4" fmla="*/ 1809462 h 1822655"/>
              <a:gd name="connsiteX5" fmla="*/ 1807722 w 3615444"/>
              <a:gd name="connsiteY5" fmla="*/ 0 h 18226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615444" h="1822655">
                <a:moveTo>
                  <a:pt x="1807722" y="0"/>
                </a:moveTo>
                <a:cubicBezTo>
                  <a:pt x="2806099" y="0"/>
                  <a:pt x="3615444" y="810124"/>
                  <a:pt x="3615444" y="1809462"/>
                </a:cubicBezTo>
                <a:lnTo>
                  <a:pt x="3614779" y="1822655"/>
                </a:lnTo>
                <a:lnTo>
                  <a:pt x="666" y="1822655"/>
                </a:lnTo>
                <a:lnTo>
                  <a:pt x="0" y="1809462"/>
                </a:lnTo>
                <a:cubicBezTo>
                  <a:pt x="0" y="810124"/>
                  <a:pt x="809345" y="0"/>
                  <a:pt x="1807722" y="0"/>
                </a:cubicBezTo>
                <a:close/>
              </a:path>
            </a:pathLst>
          </a:custGeom>
          <a:solidFill>
            <a:srgbClr val="0078D4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822960" rIns="182880" bIns="146304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algn="l" defTabSz="932742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3600" b="0" kern="1200" cap="none" spc="-50" baseline="0" dirty="0" smtClean="0">
                <a:ln w="3175">
                  <a:noFill/>
                </a:ln>
                <a:solidFill>
                  <a:schemeClr val="lt1"/>
                </a:solidFill>
                <a:effectLst/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32472" fontAlgn="base">
              <a:spcAft>
                <a:spcPct val="0"/>
              </a:spcAft>
              <a:defRPr/>
            </a:pPr>
            <a:r>
              <a:rPr lang="en-IN" sz="2000" kern="0" spc="0" dirty="0">
                <a:ln>
                  <a:noFill/>
                </a:ln>
                <a:solidFill>
                  <a:schemeClr val="bg1"/>
                </a:solidFill>
                <a:latin typeface="Segoe UI Semibold"/>
                <a:cs typeface="Segoe UI" panose="020B0502040204020203" pitchFamily="34" charset="0"/>
              </a:rPr>
              <a:t>Why are customers migrating?</a:t>
            </a:r>
          </a:p>
        </p:txBody>
      </p:sp>
      <p:pic>
        <p:nvPicPr>
          <p:cNvPr id="86" name="Picture 85" descr="Computer Screen icon">
            <a:extLst>
              <a:ext uri="{FF2B5EF4-FFF2-40B4-BE49-F238E27FC236}">
                <a16:creationId xmlns:a16="http://schemas.microsoft.com/office/drawing/2014/main" id="{7CC7C7FA-AEB2-40DF-861B-322FD3789D05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98149" y="4691263"/>
            <a:ext cx="671154" cy="659601"/>
          </a:xfrm>
          <a:prstGeom prst="rect">
            <a:avLst/>
          </a:prstGeom>
        </p:spPr>
      </p:pic>
      <p:sp>
        <p:nvSpPr>
          <p:cNvPr id="87" name="Rectangle 86">
            <a:extLst>
              <a:ext uri="{FF2B5EF4-FFF2-40B4-BE49-F238E27FC236}">
                <a16:creationId xmlns:a16="http://schemas.microsoft.com/office/drawing/2014/main" id="{34F21EBC-F3BC-453B-A0CC-B2C84366401A}"/>
              </a:ext>
            </a:extLst>
          </p:cNvPr>
          <p:cNvSpPr/>
          <p:nvPr/>
        </p:nvSpPr>
        <p:spPr>
          <a:xfrm>
            <a:off x="687267" y="4427538"/>
            <a:ext cx="1974766" cy="83099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 defTabSz="913841">
              <a:lnSpc>
                <a:spcPct val="90000"/>
              </a:lnSpc>
              <a:spcAft>
                <a:spcPts val="800"/>
              </a:spcAft>
              <a:defRPr/>
            </a:pPr>
            <a:r>
              <a:rPr lang="en-US" sz="2000" kern="0">
                <a:latin typeface="Segoe UI Semibold"/>
                <a:ea typeface="Calibri" panose="020F0502020204030204" pitchFamily="34" charset="0"/>
              </a:rPr>
              <a:t>Supporting remote work models</a:t>
            </a:r>
          </a:p>
        </p:txBody>
      </p:sp>
      <p:pic>
        <p:nvPicPr>
          <p:cNvPr id="88" name="Picture 87" descr="Cash money icon">
            <a:extLst>
              <a:ext uri="{FF2B5EF4-FFF2-40B4-BE49-F238E27FC236}">
                <a16:creationId xmlns:a16="http://schemas.microsoft.com/office/drawing/2014/main" id="{E46034FE-A564-43C0-B8B2-1C5525758062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42026" y="3387248"/>
            <a:ext cx="704088" cy="477012"/>
          </a:xfrm>
          <a:prstGeom prst="rect">
            <a:avLst/>
          </a:prstGeom>
        </p:spPr>
      </p:pic>
      <p:sp>
        <p:nvSpPr>
          <p:cNvPr id="89" name="Rectangle 88">
            <a:extLst>
              <a:ext uri="{FF2B5EF4-FFF2-40B4-BE49-F238E27FC236}">
                <a16:creationId xmlns:a16="http://schemas.microsoft.com/office/drawing/2014/main" id="{49B563C0-410A-4354-8174-9AD2F559183B}"/>
              </a:ext>
            </a:extLst>
          </p:cNvPr>
          <p:cNvSpPr/>
          <p:nvPr/>
        </p:nvSpPr>
        <p:spPr>
          <a:xfrm>
            <a:off x="1274379" y="2481876"/>
            <a:ext cx="2684514" cy="5539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 defTabSz="913841">
              <a:lnSpc>
                <a:spcPct val="90000"/>
              </a:lnSpc>
              <a:spcAft>
                <a:spcPts val="800"/>
              </a:spcAft>
              <a:defRPr/>
            </a:pPr>
            <a:r>
              <a:rPr lang="en-US" sz="2000" kern="0">
                <a:latin typeface="Segoe UI Semibold"/>
              </a:rPr>
              <a:t>Cost efficiency &amp; resource constraints</a:t>
            </a:r>
          </a:p>
        </p:txBody>
      </p:sp>
      <p:pic>
        <p:nvPicPr>
          <p:cNvPr id="90" name="Picture 89" descr="Security lock icon">
            <a:extLst>
              <a:ext uri="{FF2B5EF4-FFF2-40B4-BE49-F238E27FC236}">
                <a16:creationId xmlns:a16="http://schemas.microsoft.com/office/drawing/2014/main" id="{59B5EC7A-8B82-464F-985C-9F1C377C172A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87997" y="2603740"/>
            <a:ext cx="416052" cy="717804"/>
          </a:xfrm>
          <a:prstGeom prst="rect">
            <a:avLst/>
          </a:prstGeom>
        </p:spPr>
      </p:pic>
      <p:sp>
        <p:nvSpPr>
          <p:cNvPr id="91" name="Rectangle 90">
            <a:extLst>
              <a:ext uri="{FF2B5EF4-FFF2-40B4-BE49-F238E27FC236}">
                <a16:creationId xmlns:a16="http://schemas.microsoft.com/office/drawing/2014/main" id="{FAF84C5C-F6D6-4099-A4EC-DD8885D5E8B2}"/>
              </a:ext>
            </a:extLst>
          </p:cNvPr>
          <p:cNvSpPr/>
          <p:nvPr/>
        </p:nvSpPr>
        <p:spPr>
          <a:xfrm>
            <a:off x="5284834" y="1626463"/>
            <a:ext cx="1622332" cy="5539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 defTabSz="913841">
              <a:lnSpc>
                <a:spcPct val="90000"/>
              </a:lnSpc>
              <a:spcAft>
                <a:spcPts val="800"/>
              </a:spcAft>
              <a:defRPr/>
            </a:pPr>
            <a:r>
              <a:rPr lang="en-US" sz="2000" kern="0">
                <a:latin typeface="Segoe UI Semibold"/>
              </a:rPr>
              <a:t>Cybersecurity threats</a:t>
            </a:r>
          </a:p>
        </p:txBody>
      </p:sp>
      <p:pic>
        <p:nvPicPr>
          <p:cNvPr id="92" name="Graphic 91" descr="Data hybrid icon">
            <a:extLst>
              <a:ext uri="{FF2B5EF4-FFF2-40B4-BE49-F238E27FC236}">
                <a16:creationId xmlns:a16="http://schemas.microsoft.com/office/drawing/2014/main" id="{F7F56B1F-FBDA-42D1-AA48-E54B45C5EAEA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7618246" y="3404625"/>
            <a:ext cx="589554" cy="580342"/>
          </a:xfrm>
          <a:prstGeom prst="rect">
            <a:avLst/>
          </a:prstGeom>
        </p:spPr>
      </p:pic>
      <p:sp>
        <p:nvSpPr>
          <p:cNvPr id="93" name="Rectangle 92">
            <a:extLst>
              <a:ext uri="{FF2B5EF4-FFF2-40B4-BE49-F238E27FC236}">
                <a16:creationId xmlns:a16="http://schemas.microsoft.com/office/drawing/2014/main" id="{C95498D5-9162-4F38-A111-F9646EB949BD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/>
          <p:nvPr/>
        </p:nvSpPr>
        <p:spPr>
          <a:xfrm>
            <a:off x="8633513" y="2481876"/>
            <a:ext cx="2339678" cy="5539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 defTabSz="913841">
              <a:lnSpc>
                <a:spcPct val="90000"/>
              </a:lnSpc>
              <a:spcAft>
                <a:spcPts val="800"/>
              </a:spcAft>
              <a:defRPr/>
            </a:pPr>
            <a:r>
              <a:rPr lang="en-US" sz="2000" i="1" kern="0">
                <a:latin typeface="Segoe UI Semibold"/>
                <a:ea typeface="Calibri" panose="020F0502020204030204" pitchFamily="34" charset="0"/>
              </a:rPr>
              <a:t>Fragile</a:t>
            </a:r>
            <a:r>
              <a:rPr lang="en-US" sz="2000" kern="0">
                <a:latin typeface="Segoe UI Semibold"/>
                <a:ea typeface="Calibri" panose="020F0502020204030204" pitchFamily="34" charset="0"/>
              </a:rPr>
              <a:t> on-premises operations </a:t>
            </a:r>
          </a:p>
        </p:txBody>
      </p:sp>
      <p:pic>
        <p:nvPicPr>
          <p:cNvPr id="94" name="Graphic 93" descr="An area chart icon">
            <a:extLst>
              <a:ext uri="{FF2B5EF4-FFF2-40B4-BE49-F238E27FC236}">
                <a16:creationId xmlns:a16="http://schemas.microsoft.com/office/drawing/2014/main" id="{97E5F942-648D-47AF-AFE6-6C12297122BC}"/>
              </a:ext>
            </a:extLst>
          </p:cNvPr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8327788" y="4599982"/>
            <a:ext cx="701912" cy="856816"/>
          </a:xfrm>
          <a:prstGeom prst="rect">
            <a:avLst/>
          </a:prstGeom>
        </p:spPr>
      </p:pic>
      <p:sp>
        <p:nvSpPr>
          <p:cNvPr id="104" name="Rectangle 103">
            <a:extLst>
              <a:ext uri="{FF2B5EF4-FFF2-40B4-BE49-F238E27FC236}">
                <a16:creationId xmlns:a16="http://schemas.microsoft.com/office/drawing/2014/main" id="{3BF76013-8411-460B-84BC-0173E32425CE}"/>
              </a:ext>
            </a:extLst>
          </p:cNvPr>
          <p:cNvSpPr/>
          <p:nvPr/>
        </p:nvSpPr>
        <p:spPr>
          <a:xfrm>
            <a:off x="9792258" y="4427538"/>
            <a:ext cx="1670329" cy="553998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algn="ctr" defTabSz="913841">
              <a:lnSpc>
                <a:spcPct val="90000"/>
              </a:lnSpc>
              <a:spcAft>
                <a:spcPts val="800"/>
              </a:spcAft>
              <a:defRPr/>
            </a:pPr>
            <a:r>
              <a:rPr lang="en-US" sz="2000" kern="0">
                <a:latin typeface="Segoe UI Semibold"/>
                <a:ea typeface="Calibri" panose="020F0502020204030204" pitchFamily="34" charset="0"/>
              </a:rPr>
              <a:t>Meeting </a:t>
            </a:r>
            <a:br>
              <a:rPr lang="en-US" sz="2000" kern="0">
                <a:latin typeface="Segoe UI Semibold"/>
                <a:ea typeface="Calibri" panose="020F0502020204030204" pitchFamily="34" charset="0"/>
              </a:rPr>
            </a:br>
            <a:r>
              <a:rPr lang="en-US" sz="2000" kern="0">
                <a:latin typeface="Segoe UI Semibold"/>
                <a:ea typeface="Calibri" panose="020F0502020204030204" pitchFamily="34" charset="0"/>
              </a:rPr>
              <a:t>surge demand</a:t>
            </a:r>
          </a:p>
        </p:txBody>
      </p:sp>
      <p:sp>
        <p:nvSpPr>
          <p:cNvPr id="105" name="TextBox 104">
            <a:extLst>
              <a:ext uri="{FF2B5EF4-FFF2-40B4-BE49-F238E27FC236}">
                <a16:creationId xmlns:a16="http://schemas.microsoft.com/office/drawing/2014/main" id="{492D0022-B3D2-4259-803C-3A141BFFB356}"/>
              </a:ext>
            </a:extLst>
          </p:cNvPr>
          <p:cNvSpPr txBox="1"/>
          <p:nvPr/>
        </p:nvSpPr>
        <p:spPr>
          <a:xfrm>
            <a:off x="249382" y="199505"/>
            <a:ext cx="7791796" cy="81714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4710" dirty="0">
                <a:solidFill>
                  <a:srgbClr val="0078D4"/>
                </a:solidFill>
                <a:latin typeface="Segoe UI Light (Headings)"/>
              </a:rPr>
              <a:t>Migration Triggers</a:t>
            </a:r>
          </a:p>
        </p:txBody>
      </p:sp>
    </p:spTree>
    <p:extLst>
      <p:ext uri="{BB962C8B-B14F-4D97-AF65-F5344CB8AC3E}">
        <p14:creationId xmlns:p14="http://schemas.microsoft.com/office/powerpoint/2010/main" val="242722845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7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8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35" presetClass="path" presetSubtype="0" decel="10000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animMotion origin="layout" path="M -6.25E-7 -3.7037E-6 L -0.02552 -0.01319 " pathEditMode="relative" rAng="0" ptsTypes="AA">
                                      <p:cBhvr>
                                        <p:cTn id="12" dur="500" spd="-100000" fill="hold"/>
                                        <p:tgtEl>
                                          <p:spTgt spid="8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276" y="-671"/>
                                    </p:animMotion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8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35" presetClass="path" presetSubtype="0" decel="100000" fill="hold" grpId="1" nodeType="withEffect">
                                  <p:stCondLst>
                                    <p:cond delay="200"/>
                                  </p:stCondLst>
                                  <p:childTnLst>
                                    <p:animMotion origin="layout" path="M 2.08333E-7 3.7037E-6 L -0.02552 -0.0132 " pathEditMode="relative" rAng="0" ptsTypes="AA">
                                      <p:cBhvr>
                                        <p:cTn id="17" dur="500" spd="-100000" fill="hold"/>
                                        <p:tgtEl>
                                          <p:spTgt spid="8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276" y="-671"/>
                                    </p:animMotion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8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35" presetClass="path" presetSubtype="0" accel="50000" decel="50000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animMotion origin="layout" path="M -0.01589 -0.02338 L 3.33333E-6 -1.48148E-6 " pathEditMode="relative" rAng="0" ptsTypes="AA">
                                      <p:cBhvr>
                                        <p:cTn id="22" dur="500" fill="hold"/>
                                        <p:tgtEl>
                                          <p:spTgt spid="8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794" y="1157"/>
                                    </p:animMotion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8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35" presetClass="path" presetSubtype="0" accel="50000" decel="50000" fill="hold" grpId="1" nodeType="withEffect">
                                  <p:stCondLst>
                                    <p:cond delay="300"/>
                                  </p:stCondLst>
                                  <p:childTnLst>
                                    <p:animMotion origin="layout" path="M -0.01588 -0.02338 L -3.33333E-6 -1.11111E-6 " pathEditMode="relative" rAng="0" ptsTypes="AA">
                                      <p:cBhvr>
                                        <p:cTn id="27" dur="500" fill="hold"/>
                                        <p:tgtEl>
                                          <p:spTgt spid="8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794" y="1157"/>
                                    </p:animMotion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9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35" presetClass="path" presetSubtype="0" accel="50000" decel="50000" fill="hold" nodeType="withEffect">
                                  <p:stCondLst>
                                    <p:cond delay="400"/>
                                  </p:stCondLst>
                                  <p:childTnLst>
                                    <p:animMotion origin="layout" path="M 0 -0.04491 L 0 -2.22222E-6 " pathEditMode="relative" rAng="0" ptsTypes="AA">
                                      <p:cBhvr>
                                        <p:cTn id="32" dur="500" fill="hold"/>
                                        <p:tgtEl>
                                          <p:spTgt spid="9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2245"/>
                                    </p:animMotion>
                                  </p:childTnLst>
                                </p:cTn>
                              </p:par>
                              <p:par>
                                <p:cTn id="33" presetID="10" presetClass="entr" presetSubtype="0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9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35" presetClass="path" presetSubtype="0" accel="50000" decel="50000" fill="hold" grpId="1" nodeType="withEffect">
                                  <p:stCondLst>
                                    <p:cond delay="400"/>
                                  </p:stCondLst>
                                  <p:childTnLst>
                                    <p:animMotion origin="layout" path="M 0 -0.0449 L 0 -4.07407E-6 " pathEditMode="relative" rAng="0" ptsTypes="AA">
                                      <p:cBhvr>
                                        <p:cTn id="37" dur="500" fill="hold"/>
                                        <p:tgtEl>
                                          <p:spTgt spid="9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2245"/>
                                    </p:animMotion>
                                  </p:childTnLst>
                                </p:cTn>
                              </p:par>
                              <p:par>
                                <p:cTn id="38" presetID="10" presetClass="entr" presetSubtype="0" fill="hold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9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35" presetClass="path" presetSubtype="0" accel="50000" decel="50000" fill="hold" nodeType="withEffect">
                                  <p:stCondLst>
                                    <p:cond delay="400"/>
                                  </p:stCondLst>
                                  <p:childTnLst>
                                    <p:animMotion origin="layout" path="M 0.01927 -0.02084 L 0.00078 0.00439 " pathEditMode="relative" rAng="0" ptsTypes="AA">
                                      <p:cBhvr>
                                        <p:cTn id="42" dur="500" fill="hold"/>
                                        <p:tgtEl>
                                          <p:spTgt spid="9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924" y="1250"/>
                                    </p:animMotion>
                                  </p:childTnLst>
                                </p:cTn>
                              </p:par>
                              <p:par>
                                <p:cTn id="43" presetID="10" presetClass="entr" presetSubtype="0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500"/>
                                        <p:tgtEl>
                                          <p:spTgt spid="9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6" presetID="35" presetClass="path" presetSubtype="0" accel="50000" decel="50000" fill="hold" grpId="1" nodeType="withEffect">
                                  <p:stCondLst>
                                    <p:cond delay="400"/>
                                  </p:stCondLst>
                                  <p:childTnLst>
                                    <p:animMotion origin="layout" path="M 0.01927 -0.02083 L 0.00078 0.0044 " pathEditMode="relative" rAng="0" ptsTypes="AA">
                                      <p:cBhvr>
                                        <p:cTn id="47" dur="500" fill="hold"/>
                                        <p:tgtEl>
                                          <p:spTgt spid="9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924" y="1250"/>
                                    </p:animMotion>
                                  </p:childTnLst>
                                </p:cTn>
                              </p:par>
                              <p:par>
                                <p:cTn id="48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" dur="500"/>
                                        <p:tgtEl>
                                          <p:spTgt spid="9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1" presetID="35" presetClass="path" presetSubtype="0" accel="50000" decel="5000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animMotion origin="layout" path="M 0.01706 -0.02292 L 1.04167E-6 0.00023 " pathEditMode="relative" rAng="0" ptsTypes="AA">
                                      <p:cBhvr>
                                        <p:cTn id="52" dur="500" fill="hold"/>
                                        <p:tgtEl>
                                          <p:spTgt spid="9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859" y="1157"/>
                                    </p:animMotion>
                                  </p:childTnLst>
                                </p:cTn>
                              </p:par>
                              <p:par>
                                <p:cTn id="53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500"/>
                                        <p:tgtEl>
                                          <p:spTgt spid="10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6" presetID="35" presetClass="path" presetSubtype="0" accel="50000" decel="50000" fill="hold" grpId="1" nodeType="withEffect">
                                  <p:stCondLst>
                                    <p:cond delay="500"/>
                                  </p:stCondLst>
                                  <p:childTnLst>
                                    <p:animMotion origin="layout" path="M 0.01706 -0.02292 L -4.58333E-6 0.00023 " pathEditMode="relative" rAng="0" ptsTypes="AA">
                                      <p:cBhvr>
                                        <p:cTn id="57" dur="500" fill="hold"/>
                                        <p:tgtEl>
                                          <p:spTgt spid="10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859" y="1157"/>
                                    </p:animMotion>
                                  </p:childTnLst>
                                </p:cTn>
                              </p:par>
                              <p:par>
                                <p:cTn id="58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0" dur="500"/>
                                        <p:tgtEl>
                                          <p:spTgt spid="8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1" dur="500" fill="hold"/>
                                        <p:tgtEl>
                                          <p:spTgt spid="8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2" dur="500" fill="hold"/>
                                        <p:tgtEl>
                                          <p:spTgt spid="8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5" grpId="0" animBg="1"/>
      <p:bldP spid="87" grpId="0"/>
      <p:bldP spid="87" grpId="1"/>
      <p:bldP spid="89" grpId="0"/>
      <p:bldP spid="89" grpId="1"/>
      <p:bldP spid="91" grpId="0"/>
      <p:bldP spid="91" grpId="1"/>
      <p:bldP spid="93" grpId="0"/>
      <p:bldP spid="93" grpId="1"/>
      <p:bldP spid="104" grpId="0"/>
      <p:bldP spid="104" grpId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>
            <a:extLst>
              <a:ext uri="{FF2B5EF4-FFF2-40B4-BE49-F238E27FC236}">
                <a16:creationId xmlns:a16="http://schemas.microsoft.com/office/drawing/2014/main" id="{CA46B33D-4CDC-414E-AC78-54FB52B87FE3}"/>
              </a:ext>
            </a:extLst>
          </p:cNvPr>
          <p:cNvSpPr/>
          <p:nvPr/>
        </p:nvSpPr>
        <p:spPr bwMode="auto">
          <a:xfrm>
            <a:off x="720285" y="5647469"/>
            <a:ext cx="10751428" cy="625434"/>
          </a:xfrm>
          <a:prstGeom prst="rect">
            <a:avLst/>
          </a:prstGeom>
          <a:noFill/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74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ts val="1200"/>
              </a:spcAft>
              <a:buClrTx/>
              <a:buSzPct val="90000"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 w="3175">
                  <a:noFill/>
                </a:ln>
                <a:gradFill>
                  <a:gsLst>
                    <a:gs pos="1250">
                      <a:srgbClr val="1A1A1A"/>
                    </a:gs>
                    <a:gs pos="100000">
                      <a:srgbClr val="1A1A1A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Segoe UI Semilight" panose="020B0402040204020203" pitchFamily="34" charset="0"/>
              </a:rPr>
              <a:t>Foundational best practices</a:t>
            </a:r>
            <a:r>
              <a:rPr kumimoji="0" lang="en-US" sz="2400" b="0" i="0" u="none" strike="noStrike" kern="1200" cap="none" spc="0" normalizeH="0" baseline="0" noProof="0" dirty="0">
                <a:ln w="3175">
                  <a:noFill/>
                </a:ln>
                <a:gradFill>
                  <a:gsLst>
                    <a:gs pos="1250">
                      <a:srgbClr val="1A1A1A"/>
                    </a:gs>
                    <a:gs pos="100000">
                      <a:srgbClr val="1A1A1A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Segoe UI Semilight" panose="020B0402040204020203" pitchFamily="34" charset="0"/>
              </a:rPr>
              <a:t>: People | Process &amp; Planning | Technology </a:t>
            </a:r>
          </a:p>
        </p:txBody>
      </p:sp>
      <p:sp>
        <p:nvSpPr>
          <p:cNvPr id="13" name="Title 12">
            <a:extLst>
              <a:ext uri="{FF2B5EF4-FFF2-40B4-BE49-F238E27FC236}">
                <a16:creationId xmlns:a16="http://schemas.microsoft.com/office/drawing/2014/main" id="{658ECA18-9ECC-45C0-B739-A7FCCD851A9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4200" y="457200"/>
            <a:ext cx="11018520" cy="724814"/>
          </a:xfrm>
        </p:spPr>
        <p:txBody>
          <a:bodyPr/>
          <a:lstStyle/>
          <a:p>
            <a:r>
              <a:rPr lang="en-US" sz="4710" dirty="0">
                <a:solidFill>
                  <a:srgbClr val="0078D4"/>
                </a:solidFill>
                <a:latin typeface="Segoe UI Light (Headings)"/>
              </a:rPr>
              <a:t>Migration stages</a:t>
            </a: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786DD19F-34F7-41C2-8F90-B039BC6118F4}"/>
              </a:ext>
            </a:extLst>
          </p:cNvPr>
          <p:cNvSpPr/>
          <p:nvPr/>
        </p:nvSpPr>
        <p:spPr bwMode="auto">
          <a:xfrm>
            <a:off x="876190" y="2057688"/>
            <a:ext cx="10439620" cy="3070785"/>
          </a:xfrm>
          <a:prstGeom prst="rect">
            <a:avLst/>
          </a:prstGeom>
          <a:solidFill>
            <a:schemeClr val="bg1"/>
          </a:solidFill>
          <a:ln w="19050" cap="flat" cmpd="sng" algn="ctr">
            <a:solidFill>
              <a:schemeClr val="accent5"/>
            </a:solidFill>
            <a:prstDash val="solid"/>
            <a:headEnd type="none"/>
            <a:tailEnd type="none"/>
          </a:ln>
          <a:effectLst/>
        </p:spPr>
        <p:txBody>
          <a:bodyPr vert="horz" wrap="square" lIns="0" tIns="46637" rIns="0" bIns="46637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gradFill>
                <a:gsLst>
                  <a:gs pos="40075">
                    <a:srgbClr val="FFFFFF"/>
                  </a:gs>
                  <a:gs pos="3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5C8AC143-1211-4B99-83E3-E84248434ED6}"/>
              </a:ext>
            </a:extLst>
          </p:cNvPr>
          <p:cNvSpPr txBox="1"/>
          <p:nvPr/>
        </p:nvSpPr>
        <p:spPr>
          <a:xfrm>
            <a:off x="1052062" y="3673014"/>
            <a:ext cx="1267981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2917">
                      <a:srgbClr val="1A1A1A"/>
                    </a:gs>
                    <a:gs pos="30000">
                      <a:srgbClr val="1A1A1A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Discovery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28117700-557F-4F84-A79E-182CF089B95E}"/>
              </a:ext>
            </a:extLst>
          </p:cNvPr>
          <p:cNvSpPr txBox="1"/>
          <p:nvPr/>
        </p:nvSpPr>
        <p:spPr>
          <a:xfrm>
            <a:off x="3338704" y="3717368"/>
            <a:ext cx="1838227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2917">
                      <a:srgbClr val="1A1A1A"/>
                    </a:gs>
                    <a:gs pos="30000">
                      <a:srgbClr val="1A1A1A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Assessment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EB64336B-36C3-4D5D-9317-F91115EFB067}"/>
              </a:ext>
            </a:extLst>
          </p:cNvPr>
          <p:cNvSpPr txBox="1"/>
          <p:nvPr/>
        </p:nvSpPr>
        <p:spPr>
          <a:xfrm>
            <a:off x="5705537" y="3699793"/>
            <a:ext cx="2343681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2917">
                      <a:srgbClr val="1A1A1A"/>
                    </a:gs>
                    <a:gs pos="30000">
                      <a:srgbClr val="1A1A1A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Migrate </a:t>
            </a: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2AFC358E-1175-4CA8-A9B5-550234B2DF2C}"/>
              </a:ext>
            </a:extLst>
          </p:cNvPr>
          <p:cNvSpPr txBox="1"/>
          <p:nvPr/>
        </p:nvSpPr>
        <p:spPr>
          <a:xfrm>
            <a:off x="8905950" y="3717369"/>
            <a:ext cx="2183904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gradFill>
                  <a:gsLst>
                    <a:gs pos="2917">
                      <a:srgbClr val="1A1A1A"/>
                    </a:gs>
                    <a:gs pos="30000">
                      <a:srgbClr val="1A1A1A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Optimise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2917">
                      <a:srgbClr val="1A1A1A"/>
                    </a:gs>
                    <a:gs pos="30000">
                      <a:srgbClr val="1A1A1A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 and manage</a:t>
            </a:r>
          </a:p>
        </p:txBody>
      </p:sp>
      <p:sp>
        <p:nvSpPr>
          <p:cNvPr id="47" name="Arrow: Chevron 46">
            <a:extLst>
              <a:ext uri="{FF2B5EF4-FFF2-40B4-BE49-F238E27FC236}">
                <a16:creationId xmlns:a16="http://schemas.microsoft.com/office/drawing/2014/main" id="{ABB5023F-7D61-4F41-9979-156FF5C6CD08}"/>
              </a:ext>
            </a:extLst>
          </p:cNvPr>
          <p:cNvSpPr/>
          <p:nvPr/>
        </p:nvSpPr>
        <p:spPr bwMode="auto">
          <a:xfrm>
            <a:off x="2650621" y="3040994"/>
            <a:ext cx="286363" cy="439807"/>
          </a:xfrm>
          <a:prstGeom prst="chevron">
            <a:avLst>
              <a:gd name="adj" fmla="val 62983"/>
            </a:avLst>
          </a:prstGeom>
          <a:solidFill>
            <a:schemeClr val="accent5"/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6637" rIns="0" bIns="46637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gradFill>
                <a:gsLst>
                  <a:gs pos="40075">
                    <a:srgbClr val="FFFFFF"/>
                  </a:gs>
                  <a:gs pos="3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48" name="Arrow: Chevron 47">
            <a:extLst>
              <a:ext uri="{FF2B5EF4-FFF2-40B4-BE49-F238E27FC236}">
                <a16:creationId xmlns:a16="http://schemas.microsoft.com/office/drawing/2014/main" id="{17B3A662-EA6E-4425-95DD-7E8E21B59DB9}"/>
              </a:ext>
            </a:extLst>
          </p:cNvPr>
          <p:cNvSpPr/>
          <p:nvPr/>
        </p:nvSpPr>
        <p:spPr bwMode="auto">
          <a:xfrm>
            <a:off x="5520225" y="3040994"/>
            <a:ext cx="286363" cy="439807"/>
          </a:xfrm>
          <a:prstGeom prst="chevron">
            <a:avLst>
              <a:gd name="adj" fmla="val 61541"/>
            </a:avLst>
          </a:prstGeom>
          <a:solidFill>
            <a:schemeClr val="accent5"/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6637" rIns="0" bIns="46637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gradFill>
                <a:gsLst>
                  <a:gs pos="40075">
                    <a:srgbClr val="FFFFFF"/>
                  </a:gs>
                  <a:gs pos="3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grpSp>
        <p:nvGrpSpPr>
          <p:cNvPr id="49" name="Group 48">
            <a:extLst>
              <a:ext uri="{FF2B5EF4-FFF2-40B4-BE49-F238E27FC236}">
                <a16:creationId xmlns:a16="http://schemas.microsoft.com/office/drawing/2014/main" id="{7516AEE4-950A-4777-ABDE-722558EA4388}"/>
              </a:ext>
            </a:extLst>
          </p:cNvPr>
          <p:cNvGrpSpPr/>
          <p:nvPr/>
        </p:nvGrpSpPr>
        <p:grpSpPr>
          <a:xfrm>
            <a:off x="1243893" y="2839841"/>
            <a:ext cx="715323" cy="712615"/>
            <a:chOff x="1243893" y="2839841"/>
            <a:chExt cx="715323" cy="712615"/>
          </a:xfrm>
        </p:grpSpPr>
        <p:sp>
          <p:nvSpPr>
            <p:cNvPr id="50" name="Freeform 101">
              <a:extLst>
                <a:ext uri="{FF2B5EF4-FFF2-40B4-BE49-F238E27FC236}">
                  <a16:creationId xmlns:a16="http://schemas.microsoft.com/office/drawing/2014/main" id="{2EF9F0DD-8DCC-4274-BEA2-8DB5B21A570D}"/>
                </a:ext>
              </a:extLst>
            </p:cNvPr>
            <p:cNvSpPr>
              <a:spLocks/>
            </p:cNvSpPr>
            <p:nvPr/>
          </p:nvSpPr>
          <p:spPr bwMode="auto">
            <a:xfrm>
              <a:off x="1468786" y="2839841"/>
              <a:ext cx="490430" cy="490431"/>
            </a:xfrm>
            <a:custGeom>
              <a:avLst/>
              <a:gdLst>
                <a:gd name="T0" fmla="*/ 293 w 293"/>
                <a:gd name="T1" fmla="*/ 145 h 292"/>
                <a:gd name="T2" fmla="*/ 292 w 293"/>
                <a:gd name="T3" fmla="*/ 129 h 292"/>
                <a:gd name="T4" fmla="*/ 288 w 293"/>
                <a:gd name="T5" fmla="*/ 107 h 292"/>
                <a:gd name="T6" fmla="*/ 283 w 293"/>
                <a:gd name="T7" fmla="*/ 91 h 292"/>
                <a:gd name="T8" fmla="*/ 273 w 293"/>
                <a:gd name="T9" fmla="*/ 72 h 292"/>
                <a:gd name="T10" fmla="*/ 264 w 293"/>
                <a:gd name="T11" fmla="*/ 58 h 292"/>
                <a:gd name="T12" fmla="*/ 250 w 293"/>
                <a:gd name="T13" fmla="*/ 42 h 292"/>
                <a:gd name="T14" fmla="*/ 236 w 293"/>
                <a:gd name="T15" fmla="*/ 30 h 292"/>
                <a:gd name="T16" fmla="*/ 220 w 293"/>
                <a:gd name="T17" fmla="*/ 19 h 292"/>
                <a:gd name="T18" fmla="*/ 205 w 293"/>
                <a:gd name="T19" fmla="*/ 11 h 292"/>
                <a:gd name="T20" fmla="*/ 185 w 293"/>
                <a:gd name="T21" fmla="*/ 4 h 292"/>
                <a:gd name="T22" fmla="*/ 169 w 293"/>
                <a:gd name="T23" fmla="*/ 2 h 292"/>
                <a:gd name="T24" fmla="*/ 146 w 293"/>
                <a:gd name="T25" fmla="*/ 0 h 292"/>
                <a:gd name="T26" fmla="*/ 146 w 293"/>
                <a:gd name="T27" fmla="*/ 0 h 292"/>
                <a:gd name="T28" fmla="*/ 130 w 293"/>
                <a:gd name="T29" fmla="*/ 1 h 292"/>
                <a:gd name="T30" fmla="*/ 108 w 293"/>
                <a:gd name="T31" fmla="*/ 4 h 292"/>
                <a:gd name="T32" fmla="*/ 92 w 293"/>
                <a:gd name="T33" fmla="*/ 9 h 292"/>
                <a:gd name="T34" fmla="*/ 73 w 293"/>
                <a:gd name="T35" fmla="*/ 19 h 292"/>
                <a:gd name="T36" fmla="*/ 61 w 293"/>
                <a:gd name="T37" fmla="*/ 27 h 292"/>
                <a:gd name="T38" fmla="*/ 59 w 293"/>
                <a:gd name="T39" fmla="*/ 28 h 292"/>
                <a:gd name="T40" fmla="*/ 43 w 293"/>
                <a:gd name="T41" fmla="*/ 42 h 292"/>
                <a:gd name="T42" fmla="*/ 31 w 293"/>
                <a:gd name="T43" fmla="*/ 56 h 292"/>
                <a:gd name="T44" fmla="*/ 20 w 293"/>
                <a:gd name="T45" fmla="*/ 72 h 292"/>
                <a:gd name="T46" fmla="*/ 12 w 293"/>
                <a:gd name="T47" fmla="*/ 87 h 292"/>
                <a:gd name="T48" fmla="*/ 5 w 293"/>
                <a:gd name="T49" fmla="*/ 107 h 292"/>
                <a:gd name="T50" fmla="*/ 2 w 293"/>
                <a:gd name="T51" fmla="*/ 123 h 292"/>
                <a:gd name="T52" fmla="*/ 0 w 293"/>
                <a:gd name="T53" fmla="*/ 145 h 292"/>
                <a:gd name="T54" fmla="*/ 1 w 293"/>
                <a:gd name="T55" fmla="*/ 160 h 292"/>
                <a:gd name="T56" fmla="*/ 9 w 293"/>
                <a:gd name="T57" fmla="*/ 195 h 292"/>
                <a:gd name="T58" fmla="*/ 10 w 293"/>
                <a:gd name="T59" fmla="*/ 200 h 292"/>
                <a:gd name="T60" fmla="*/ 26 w 293"/>
                <a:gd name="T61" fmla="*/ 229 h 292"/>
                <a:gd name="T62" fmla="*/ 34 w 293"/>
                <a:gd name="T63" fmla="*/ 239 h 292"/>
                <a:gd name="T64" fmla="*/ 80 w 293"/>
                <a:gd name="T65" fmla="*/ 276 h 292"/>
                <a:gd name="T66" fmla="*/ 136 w 293"/>
                <a:gd name="T67" fmla="*/ 292 h 292"/>
                <a:gd name="T68" fmla="*/ 148 w 293"/>
                <a:gd name="T69" fmla="*/ 292 h 292"/>
                <a:gd name="T70" fmla="*/ 182 w 293"/>
                <a:gd name="T71" fmla="*/ 288 h 292"/>
                <a:gd name="T72" fmla="*/ 187 w 293"/>
                <a:gd name="T73" fmla="*/ 287 h 292"/>
                <a:gd name="T74" fmla="*/ 219 w 293"/>
                <a:gd name="T75" fmla="*/ 273 h 292"/>
                <a:gd name="T76" fmla="*/ 232 w 293"/>
                <a:gd name="T77" fmla="*/ 265 h 292"/>
                <a:gd name="T78" fmla="*/ 250 w 293"/>
                <a:gd name="T79" fmla="*/ 250 h 292"/>
                <a:gd name="T80" fmla="*/ 261 w 293"/>
                <a:gd name="T81" fmla="*/ 238 h 292"/>
                <a:gd name="T82" fmla="*/ 273 w 293"/>
                <a:gd name="T83" fmla="*/ 220 h 292"/>
                <a:gd name="T84" fmla="*/ 281 w 293"/>
                <a:gd name="T85" fmla="*/ 205 h 292"/>
                <a:gd name="T86" fmla="*/ 287 w 293"/>
                <a:gd name="T87" fmla="*/ 187 h 292"/>
                <a:gd name="T88" fmla="*/ 291 w 293"/>
                <a:gd name="T89" fmla="*/ 169 h 292"/>
                <a:gd name="T90" fmla="*/ 293 w 293"/>
                <a:gd name="T91" fmla="*/ 148 h 2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293" h="292">
                  <a:moveTo>
                    <a:pt x="293" y="148"/>
                  </a:moveTo>
                  <a:lnTo>
                    <a:pt x="293" y="148"/>
                  </a:lnTo>
                  <a:cubicBezTo>
                    <a:pt x="293" y="147"/>
                    <a:pt x="293" y="146"/>
                    <a:pt x="293" y="145"/>
                  </a:cubicBezTo>
                  <a:cubicBezTo>
                    <a:pt x="293" y="143"/>
                    <a:pt x="293" y="141"/>
                    <a:pt x="293" y="138"/>
                  </a:cubicBezTo>
                  <a:cubicBezTo>
                    <a:pt x="293" y="136"/>
                    <a:pt x="293" y="134"/>
                    <a:pt x="293" y="132"/>
                  </a:cubicBezTo>
                  <a:cubicBezTo>
                    <a:pt x="292" y="131"/>
                    <a:pt x="292" y="130"/>
                    <a:pt x="292" y="129"/>
                  </a:cubicBezTo>
                  <a:cubicBezTo>
                    <a:pt x="292" y="126"/>
                    <a:pt x="291" y="122"/>
                    <a:pt x="291" y="119"/>
                  </a:cubicBezTo>
                  <a:cubicBezTo>
                    <a:pt x="290" y="116"/>
                    <a:pt x="289" y="113"/>
                    <a:pt x="289" y="110"/>
                  </a:cubicBezTo>
                  <a:cubicBezTo>
                    <a:pt x="288" y="109"/>
                    <a:pt x="288" y="108"/>
                    <a:pt x="288" y="107"/>
                  </a:cubicBezTo>
                  <a:cubicBezTo>
                    <a:pt x="287" y="104"/>
                    <a:pt x="287" y="103"/>
                    <a:pt x="286" y="101"/>
                  </a:cubicBezTo>
                  <a:cubicBezTo>
                    <a:pt x="285" y="99"/>
                    <a:pt x="285" y="97"/>
                    <a:pt x="284" y="94"/>
                  </a:cubicBezTo>
                  <a:cubicBezTo>
                    <a:pt x="284" y="93"/>
                    <a:pt x="283" y="93"/>
                    <a:pt x="283" y="91"/>
                  </a:cubicBezTo>
                  <a:cubicBezTo>
                    <a:pt x="282" y="88"/>
                    <a:pt x="280" y="86"/>
                    <a:pt x="279" y="83"/>
                  </a:cubicBezTo>
                  <a:cubicBezTo>
                    <a:pt x="277" y="80"/>
                    <a:pt x="276" y="77"/>
                    <a:pt x="274" y="74"/>
                  </a:cubicBezTo>
                  <a:cubicBezTo>
                    <a:pt x="274" y="73"/>
                    <a:pt x="274" y="72"/>
                    <a:pt x="273" y="72"/>
                  </a:cubicBezTo>
                  <a:cubicBezTo>
                    <a:pt x="272" y="70"/>
                    <a:pt x="271" y="68"/>
                    <a:pt x="269" y="66"/>
                  </a:cubicBezTo>
                  <a:cubicBezTo>
                    <a:pt x="268" y="64"/>
                    <a:pt x="267" y="62"/>
                    <a:pt x="266" y="60"/>
                  </a:cubicBezTo>
                  <a:cubicBezTo>
                    <a:pt x="265" y="59"/>
                    <a:pt x="264" y="58"/>
                    <a:pt x="264" y="58"/>
                  </a:cubicBezTo>
                  <a:cubicBezTo>
                    <a:pt x="262" y="56"/>
                    <a:pt x="261" y="54"/>
                    <a:pt x="259" y="52"/>
                  </a:cubicBezTo>
                  <a:cubicBezTo>
                    <a:pt x="256" y="49"/>
                    <a:pt x="254" y="45"/>
                    <a:pt x="251" y="42"/>
                  </a:cubicBezTo>
                  <a:cubicBezTo>
                    <a:pt x="250" y="42"/>
                    <a:pt x="250" y="42"/>
                    <a:pt x="250" y="42"/>
                  </a:cubicBezTo>
                  <a:cubicBezTo>
                    <a:pt x="249" y="41"/>
                    <a:pt x="249" y="41"/>
                    <a:pt x="248" y="40"/>
                  </a:cubicBezTo>
                  <a:cubicBezTo>
                    <a:pt x="245" y="37"/>
                    <a:pt x="242" y="34"/>
                    <a:pt x="239" y="31"/>
                  </a:cubicBezTo>
                  <a:cubicBezTo>
                    <a:pt x="238" y="31"/>
                    <a:pt x="237" y="30"/>
                    <a:pt x="236" y="30"/>
                  </a:cubicBezTo>
                  <a:cubicBezTo>
                    <a:pt x="235" y="29"/>
                    <a:pt x="234" y="28"/>
                    <a:pt x="233" y="27"/>
                  </a:cubicBezTo>
                  <a:cubicBezTo>
                    <a:pt x="229" y="25"/>
                    <a:pt x="225" y="22"/>
                    <a:pt x="221" y="19"/>
                  </a:cubicBezTo>
                  <a:cubicBezTo>
                    <a:pt x="221" y="19"/>
                    <a:pt x="221" y="19"/>
                    <a:pt x="220" y="19"/>
                  </a:cubicBezTo>
                  <a:cubicBezTo>
                    <a:pt x="218" y="17"/>
                    <a:pt x="216" y="16"/>
                    <a:pt x="213" y="15"/>
                  </a:cubicBezTo>
                  <a:cubicBezTo>
                    <a:pt x="211" y="14"/>
                    <a:pt x="209" y="13"/>
                    <a:pt x="206" y="11"/>
                  </a:cubicBezTo>
                  <a:cubicBezTo>
                    <a:pt x="206" y="11"/>
                    <a:pt x="205" y="11"/>
                    <a:pt x="205" y="11"/>
                  </a:cubicBezTo>
                  <a:cubicBezTo>
                    <a:pt x="201" y="9"/>
                    <a:pt x="196" y="8"/>
                    <a:pt x="192" y="6"/>
                  </a:cubicBezTo>
                  <a:cubicBezTo>
                    <a:pt x="191" y="6"/>
                    <a:pt x="189" y="5"/>
                    <a:pt x="188" y="5"/>
                  </a:cubicBezTo>
                  <a:cubicBezTo>
                    <a:pt x="187" y="5"/>
                    <a:pt x="186" y="4"/>
                    <a:pt x="185" y="4"/>
                  </a:cubicBezTo>
                  <a:cubicBezTo>
                    <a:pt x="181" y="4"/>
                    <a:pt x="177" y="3"/>
                    <a:pt x="173" y="2"/>
                  </a:cubicBezTo>
                  <a:cubicBezTo>
                    <a:pt x="172" y="2"/>
                    <a:pt x="171" y="2"/>
                    <a:pt x="170" y="2"/>
                  </a:cubicBezTo>
                  <a:cubicBezTo>
                    <a:pt x="170" y="2"/>
                    <a:pt x="170" y="2"/>
                    <a:pt x="169" y="2"/>
                  </a:cubicBezTo>
                  <a:cubicBezTo>
                    <a:pt x="165" y="1"/>
                    <a:pt x="161" y="1"/>
                    <a:pt x="157" y="0"/>
                  </a:cubicBezTo>
                  <a:cubicBezTo>
                    <a:pt x="154" y="0"/>
                    <a:pt x="152" y="0"/>
                    <a:pt x="149" y="0"/>
                  </a:cubicBezTo>
                  <a:cubicBezTo>
                    <a:pt x="148" y="0"/>
                    <a:pt x="147" y="0"/>
                    <a:pt x="146" y="0"/>
                  </a:cubicBezTo>
                  <a:lnTo>
                    <a:pt x="146" y="0"/>
                  </a:lnTo>
                  <a:lnTo>
                    <a:pt x="146" y="0"/>
                  </a:lnTo>
                  <a:lnTo>
                    <a:pt x="146" y="0"/>
                  </a:lnTo>
                  <a:cubicBezTo>
                    <a:pt x="144" y="0"/>
                    <a:pt x="142" y="0"/>
                    <a:pt x="139" y="0"/>
                  </a:cubicBezTo>
                  <a:cubicBezTo>
                    <a:pt x="137" y="0"/>
                    <a:pt x="135" y="0"/>
                    <a:pt x="133" y="0"/>
                  </a:cubicBezTo>
                  <a:cubicBezTo>
                    <a:pt x="132" y="1"/>
                    <a:pt x="131" y="1"/>
                    <a:pt x="130" y="1"/>
                  </a:cubicBezTo>
                  <a:cubicBezTo>
                    <a:pt x="127" y="1"/>
                    <a:pt x="123" y="2"/>
                    <a:pt x="120" y="2"/>
                  </a:cubicBezTo>
                  <a:cubicBezTo>
                    <a:pt x="117" y="3"/>
                    <a:pt x="114" y="4"/>
                    <a:pt x="111" y="4"/>
                  </a:cubicBezTo>
                  <a:cubicBezTo>
                    <a:pt x="110" y="4"/>
                    <a:pt x="109" y="4"/>
                    <a:pt x="108" y="4"/>
                  </a:cubicBezTo>
                  <a:cubicBezTo>
                    <a:pt x="105" y="5"/>
                    <a:pt x="104" y="5"/>
                    <a:pt x="102" y="6"/>
                  </a:cubicBezTo>
                  <a:cubicBezTo>
                    <a:pt x="100" y="7"/>
                    <a:pt x="98" y="7"/>
                    <a:pt x="96" y="8"/>
                  </a:cubicBezTo>
                  <a:cubicBezTo>
                    <a:pt x="94" y="8"/>
                    <a:pt x="94" y="9"/>
                    <a:pt x="92" y="9"/>
                  </a:cubicBezTo>
                  <a:cubicBezTo>
                    <a:pt x="89" y="10"/>
                    <a:pt x="87" y="12"/>
                    <a:pt x="84" y="13"/>
                  </a:cubicBezTo>
                  <a:cubicBezTo>
                    <a:pt x="81" y="15"/>
                    <a:pt x="78" y="16"/>
                    <a:pt x="75" y="18"/>
                  </a:cubicBezTo>
                  <a:cubicBezTo>
                    <a:pt x="74" y="18"/>
                    <a:pt x="73" y="18"/>
                    <a:pt x="73" y="19"/>
                  </a:cubicBezTo>
                  <a:cubicBezTo>
                    <a:pt x="71" y="20"/>
                    <a:pt x="69" y="21"/>
                    <a:pt x="67" y="23"/>
                  </a:cubicBezTo>
                  <a:cubicBezTo>
                    <a:pt x="65" y="24"/>
                    <a:pt x="63" y="25"/>
                    <a:pt x="61" y="26"/>
                  </a:cubicBezTo>
                  <a:lnTo>
                    <a:pt x="61" y="27"/>
                  </a:lnTo>
                  <a:lnTo>
                    <a:pt x="61" y="27"/>
                  </a:lnTo>
                  <a:lnTo>
                    <a:pt x="61" y="26"/>
                  </a:lnTo>
                  <a:cubicBezTo>
                    <a:pt x="60" y="27"/>
                    <a:pt x="59" y="28"/>
                    <a:pt x="59" y="28"/>
                  </a:cubicBezTo>
                  <a:cubicBezTo>
                    <a:pt x="57" y="30"/>
                    <a:pt x="55" y="31"/>
                    <a:pt x="53" y="33"/>
                  </a:cubicBezTo>
                  <a:cubicBezTo>
                    <a:pt x="50" y="36"/>
                    <a:pt x="46" y="38"/>
                    <a:pt x="43" y="41"/>
                  </a:cubicBezTo>
                  <a:cubicBezTo>
                    <a:pt x="43" y="42"/>
                    <a:pt x="43" y="42"/>
                    <a:pt x="43" y="42"/>
                  </a:cubicBezTo>
                  <a:cubicBezTo>
                    <a:pt x="42" y="43"/>
                    <a:pt x="42" y="43"/>
                    <a:pt x="41" y="44"/>
                  </a:cubicBezTo>
                  <a:cubicBezTo>
                    <a:pt x="38" y="47"/>
                    <a:pt x="35" y="50"/>
                    <a:pt x="32" y="53"/>
                  </a:cubicBezTo>
                  <a:cubicBezTo>
                    <a:pt x="32" y="54"/>
                    <a:pt x="31" y="55"/>
                    <a:pt x="31" y="56"/>
                  </a:cubicBezTo>
                  <a:cubicBezTo>
                    <a:pt x="30" y="57"/>
                    <a:pt x="29" y="58"/>
                    <a:pt x="28" y="59"/>
                  </a:cubicBezTo>
                  <a:cubicBezTo>
                    <a:pt x="26" y="63"/>
                    <a:pt x="23" y="67"/>
                    <a:pt x="20" y="71"/>
                  </a:cubicBezTo>
                  <a:cubicBezTo>
                    <a:pt x="20" y="71"/>
                    <a:pt x="20" y="71"/>
                    <a:pt x="20" y="72"/>
                  </a:cubicBezTo>
                  <a:cubicBezTo>
                    <a:pt x="18" y="74"/>
                    <a:pt x="17" y="76"/>
                    <a:pt x="16" y="79"/>
                  </a:cubicBezTo>
                  <a:cubicBezTo>
                    <a:pt x="15" y="81"/>
                    <a:pt x="14" y="83"/>
                    <a:pt x="12" y="86"/>
                  </a:cubicBezTo>
                  <a:cubicBezTo>
                    <a:pt x="12" y="86"/>
                    <a:pt x="12" y="87"/>
                    <a:pt x="12" y="87"/>
                  </a:cubicBezTo>
                  <a:cubicBezTo>
                    <a:pt x="10" y="91"/>
                    <a:pt x="9" y="96"/>
                    <a:pt x="7" y="100"/>
                  </a:cubicBezTo>
                  <a:cubicBezTo>
                    <a:pt x="7" y="101"/>
                    <a:pt x="6" y="103"/>
                    <a:pt x="6" y="104"/>
                  </a:cubicBezTo>
                  <a:cubicBezTo>
                    <a:pt x="6" y="105"/>
                    <a:pt x="5" y="106"/>
                    <a:pt x="5" y="107"/>
                  </a:cubicBezTo>
                  <a:cubicBezTo>
                    <a:pt x="4" y="111"/>
                    <a:pt x="3" y="115"/>
                    <a:pt x="2" y="119"/>
                  </a:cubicBezTo>
                  <a:cubicBezTo>
                    <a:pt x="2" y="120"/>
                    <a:pt x="2" y="121"/>
                    <a:pt x="2" y="122"/>
                  </a:cubicBezTo>
                  <a:cubicBezTo>
                    <a:pt x="2" y="122"/>
                    <a:pt x="2" y="122"/>
                    <a:pt x="2" y="123"/>
                  </a:cubicBezTo>
                  <a:cubicBezTo>
                    <a:pt x="1" y="127"/>
                    <a:pt x="1" y="131"/>
                    <a:pt x="0" y="135"/>
                  </a:cubicBezTo>
                  <a:cubicBezTo>
                    <a:pt x="0" y="138"/>
                    <a:pt x="0" y="140"/>
                    <a:pt x="0" y="143"/>
                  </a:cubicBezTo>
                  <a:cubicBezTo>
                    <a:pt x="0" y="144"/>
                    <a:pt x="0" y="145"/>
                    <a:pt x="0" y="145"/>
                  </a:cubicBezTo>
                  <a:cubicBezTo>
                    <a:pt x="0" y="150"/>
                    <a:pt x="0" y="155"/>
                    <a:pt x="0" y="159"/>
                  </a:cubicBezTo>
                  <a:cubicBezTo>
                    <a:pt x="0" y="159"/>
                    <a:pt x="0" y="159"/>
                    <a:pt x="0" y="159"/>
                  </a:cubicBezTo>
                  <a:cubicBezTo>
                    <a:pt x="1" y="160"/>
                    <a:pt x="1" y="160"/>
                    <a:pt x="1" y="160"/>
                  </a:cubicBezTo>
                  <a:cubicBezTo>
                    <a:pt x="1" y="166"/>
                    <a:pt x="2" y="171"/>
                    <a:pt x="3" y="176"/>
                  </a:cubicBezTo>
                  <a:cubicBezTo>
                    <a:pt x="3" y="177"/>
                    <a:pt x="4" y="179"/>
                    <a:pt x="4" y="180"/>
                  </a:cubicBezTo>
                  <a:cubicBezTo>
                    <a:pt x="5" y="185"/>
                    <a:pt x="7" y="190"/>
                    <a:pt x="9" y="195"/>
                  </a:cubicBezTo>
                  <a:cubicBezTo>
                    <a:pt x="9" y="195"/>
                    <a:pt x="9" y="195"/>
                    <a:pt x="9" y="196"/>
                  </a:cubicBezTo>
                  <a:cubicBezTo>
                    <a:pt x="9" y="196"/>
                    <a:pt x="9" y="196"/>
                    <a:pt x="9" y="196"/>
                  </a:cubicBezTo>
                  <a:cubicBezTo>
                    <a:pt x="9" y="198"/>
                    <a:pt x="10" y="199"/>
                    <a:pt x="10" y="200"/>
                  </a:cubicBezTo>
                  <a:cubicBezTo>
                    <a:pt x="12" y="203"/>
                    <a:pt x="13" y="207"/>
                    <a:pt x="15" y="211"/>
                  </a:cubicBezTo>
                  <a:cubicBezTo>
                    <a:pt x="16" y="213"/>
                    <a:pt x="17" y="215"/>
                    <a:pt x="18" y="217"/>
                  </a:cubicBezTo>
                  <a:cubicBezTo>
                    <a:pt x="21" y="221"/>
                    <a:pt x="24" y="225"/>
                    <a:pt x="26" y="229"/>
                  </a:cubicBezTo>
                  <a:cubicBezTo>
                    <a:pt x="27" y="230"/>
                    <a:pt x="27" y="231"/>
                    <a:pt x="27" y="231"/>
                  </a:cubicBezTo>
                  <a:cubicBezTo>
                    <a:pt x="29" y="234"/>
                    <a:pt x="31" y="236"/>
                    <a:pt x="34" y="239"/>
                  </a:cubicBezTo>
                  <a:cubicBezTo>
                    <a:pt x="34" y="239"/>
                    <a:pt x="34" y="239"/>
                    <a:pt x="34" y="239"/>
                  </a:cubicBezTo>
                  <a:lnTo>
                    <a:pt x="34" y="239"/>
                  </a:lnTo>
                  <a:cubicBezTo>
                    <a:pt x="43" y="250"/>
                    <a:pt x="52" y="259"/>
                    <a:pt x="64" y="267"/>
                  </a:cubicBezTo>
                  <a:cubicBezTo>
                    <a:pt x="69" y="270"/>
                    <a:pt x="74" y="273"/>
                    <a:pt x="80" y="276"/>
                  </a:cubicBezTo>
                  <a:cubicBezTo>
                    <a:pt x="85" y="279"/>
                    <a:pt x="91" y="281"/>
                    <a:pt x="97" y="283"/>
                  </a:cubicBezTo>
                  <a:cubicBezTo>
                    <a:pt x="109" y="288"/>
                    <a:pt x="123" y="291"/>
                    <a:pt x="136" y="292"/>
                  </a:cubicBezTo>
                  <a:lnTo>
                    <a:pt x="136" y="292"/>
                  </a:lnTo>
                  <a:cubicBezTo>
                    <a:pt x="136" y="292"/>
                    <a:pt x="137" y="292"/>
                    <a:pt x="137" y="292"/>
                  </a:cubicBezTo>
                  <a:cubicBezTo>
                    <a:pt x="140" y="292"/>
                    <a:pt x="143" y="292"/>
                    <a:pt x="146" y="292"/>
                  </a:cubicBezTo>
                  <a:cubicBezTo>
                    <a:pt x="147" y="292"/>
                    <a:pt x="148" y="292"/>
                    <a:pt x="148" y="292"/>
                  </a:cubicBezTo>
                  <a:cubicBezTo>
                    <a:pt x="153" y="292"/>
                    <a:pt x="158" y="292"/>
                    <a:pt x="163" y="291"/>
                  </a:cubicBezTo>
                  <a:cubicBezTo>
                    <a:pt x="166" y="291"/>
                    <a:pt x="168" y="290"/>
                    <a:pt x="170" y="290"/>
                  </a:cubicBezTo>
                  <a:cubicBezTo>
                    <a:pt x="174" y="289"/>
                    <a:pt x="178" y="289"/>
                    <a:pt x="182" y="288"/>
                  </a:cubicBezTo>
                  <a:cubicBezTo>
                    <a:pt x="183" y="287"/>
                    <a:pt x="184" y="287"/>
                    <a:pt x="185" y="287"/>
                  </a:cubicBezTo>
                  <a:cubicBezTo>
                    <a:pt x="186" y="287"/>
                    <a:pt x="186" y="287"/>
                    <a:pt x="186" y="287"/>
                  </a:cubicBezTo>
                  <a:cubicBezTo>
                    <a:pt x="186" y="287"/>
                    <a:pt x="186" y="287"/>
                    <a:pt x="187" y="287"/>
                  </a:cubicBezTo>
                  <a:cubicBezTo>
                    <a:pt x="192" y="285"/>
                    <a:pt x="197" y="283"/>
                    <a:pt x="202" y="281"/>
                  </a:cubicBezTo>
                  <a:cubicBezTo>
                    <a:pt x="203" y="281"/>
                    <a:pt x="204" y="280"/>
                    <a:pt x="206" y="280"/>
                  </a:cubicBezTo>
                  <a:cubicBezTo>
                    <a:pt x="210" y="278"/>
                    <a:pt x="215" y="275"/>
                    <a:pt x="219" y="273"/>
                  </a:cubicBezTo>
                  <a:cubicBezTo>
                    <a:pt x="220" y="273"/>
                    <a:pt x="220" y="272"/>
                    <a:pt x="220" y="272"/>
                  </a:cubicBezTo>
                  <a:cubicBezTo>
                    <a:pt x="221" y="272"/>
                    <a:pt x="221" y="272"/>
                    <a:pt x="221" y="272"/>
                  </a:cubicBezTo>
                  <a:cubicBezTo>
                    <a:pt x="225" y="270"/>
                    <a:pt x="228" y="267"/>
                    <a:pt x="232" y="265"/>
                  </a:cubicBezTo>
                  <a:cubicBezTo>
                    <a:pt x="233" y="264"/>
                    <a:pt x="234" y="263"/>
                    <a:pt x="234" y="263"/>
                  </a:cubicBezTo>
                  <a:cubicBezTo>
                    <a:pt x="236" y="261"/>
                    <a:pt x="238" y="260"/>
                    <a:pt x="240" y="258"/>
                  </a:cubicBezTo>
                  <a:cubicBezTo>
                    <a:pt x="243" y="255"/>
                    <a:pt x="247" y="253"/>
                    <a:pt x="250" y="250"/>
                  </a:cubicBezTo>
                  <a:cubicBezTo>
                    <a:pt x="250" y="249"/>
                    <a:pt x="250" y="249"/>
                    <a:pt x="250" y="249"/>
                  </a:cubicBezTo>
                  <a:cubicBezTo>
                    <a:pt x="251" y="248"/>
                    <a:pt x="251" y="248"/>
                    <a:pt x="252" y="247"/>
                  </a:cubicBezTo>
                  <a:cubicBezTo>
                    <a:pt x="255" y="244"/>
                    <a:pt x="258" y="241"/>
                    <a:pt x="261" y="238"/>
                  </a:cubicBezTo>
                  <a:cubicBezTo>
                    <a:pt x="261" y="237"/>
                    <a:pt x="262" y="236"/>
                    <a:pt x="262" y="235"/>
                  </a:cubicBezTo>
                  <a:cubicBezTo>
                    <a:pt x="263" y="234"/>
                    <a:pt x="264" y="233"/>
                    <a:pt x="265" y="232"/>
                  </a:cubicBezTo>
                  <a:cubicBezTo>
                    <a:pt x="267" y="228"/>
                    <a:pt x="270" y="224"/>
                    <a:pt x="273" y="220"/>
                  </a:cubicBezTo>
                  <a:cubicBezTo>
                    <a:pt x="273" y="220"/>
                    <a:pt x="273" y="220"/>
                    <a:pt x="273" y="219"/>
                  </a:cubicBezTo>
                  <a:cubicBezTo>
                    <a:pt x="274" y="217"/>
                    <a:pt x="275" y="215"/>
                    <a:pt x="277" y="213"/>
                  </a:cubicBezTo>
                  <a:cubicBezTo>
                    <a:pt x="278" y="210"/>
                    <a:pt x="279" y="208"/>
                    <a:pt x="281" y="205"/>
                  </a:cubicBezTo>
                  <a:cubicBezTo>
                    <a:pt x="281" y="205"/>
                    <a:pt x="281" y="204"/>
                    <a:pt x="281" y="204"/>
                  </a:cubicBezTo>
                  <a:cubicBezTo>
                    <a:pt x="283" y="200"/>
                    <a:pt x="284" y="196"/>
                    <a:pt x="286" y="191"/>
                  </a:cubicBezTo>
                  <a:cubicBezTo>
                    <a:pt x="286" y="190"/>
                    <a:pt x="287" y="188"/>
                    <a:pt x="287" y="187"/>
                  </a:cubicBezTo>
                  <a:cubicBezTo>
                    <a:pt x="287" y="186"/>
                    <a:pt x="288" y="185"/>
                    <a:pt x="288" y="184"/>
                  </a:cubicBezTo>
                  <a:cubicBezTo>
                    <a:pt x="289" y="180"/>
                    <a:pt x="290" y="176"/>
                    <a:pt x="291" y="172"/>
                  </a:cubicBezTo>
                  <a:cubicBezTo>
                    <a:pt x="291" y="171"/>
                    <a:pt x="291" y="170"/>
                    <a:pt x="291" y="169"/>
                  </a:cubicBezTo>
                  <a:cubicBezTo>
                    <a:pt x="291" y="169"/>
                    <a:pt x="291" y="169"/>
                    <a:pt x="291" y="168"/>
                  </a:cubicBezTo>
                  <a:cubicBezTo>
                    <a:pt x="292" y="164"/>
                    <a:pt x="292" y="160"/>
                    <a:pt x="292" y="156"/>
                  </a:cubicBezTo>
                  <a:cubicBezTo>
                    <a:pt x="293" y="153"/>
                    <a:pt x="293" y="151"/>
                    <a:pt x="293" y="148"/>
                  </a:cubicBezTo>
                  <a:close/>
                </a:path>
              </a:pathLst>
            </a:custGeom>
            <a:solidFill>
              <a:srgbClr val="0078D4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1" name="Freeform 102">
              <a:extLst>
                <a:ext uri="{FF2B5EF4-FFF2-40B4-BE49-F238E27FC236}">
                  <a16:creationId xmlns:a16="http://schemas.microsoft.com/office/drawing/2014/main" id="{8F189638-02EB-4BB6-BB50-620F6BC0900C}"/>
                </a:ext>
              </a:extLst>
            </p:cNvPr>
            <p:cNvSpPr>
              <a:spLocks/>
            </p:cNvSpPr>
            <p:nvPr/>
          </p:nvSpPr>
          <p:spPr bwMode="auto">
            <a:xfrm>
              <a:off x="1243893" y="3240856"/>
              <a:ext cx="311599" cy="311600"/>
            </a:xfrm>
            <a:custGeom>
              <a:avLst/>
              <a:gdLst>
                <a:gd name="T0" fmla="*/ 186 w 186"/>
                <a:gd name="T1" fmla="*/ 19 h 186"/>
                <a:gd name="T2" fmla="*/ 186 w 186"/>
                <a:gd name="T3" fmla="*/ 19 h 186"/>
                <a:gd name="T4" fmla="*/ 22 w 186"/>
                <a:gd name="T5" fmla="*/ 183 h 186"/>
                <a:gd name="T6" fmla="*/ 13 w 186"/>
                <a:gd name="T7" fmla="*/ 186 h 186"/>
                <a:gd name="T8" fmla="*/ 3 w 186"/>
                <a:gd name="T9" fmla="*/ 183 h 186"/>
                <a:gd name="T10" fmla="*/ 0 w 186"/>
                <a:gd name="T11" fmla="*/ 173 h 186"/>
                <a:gd name="T12" fmla="*/ 3 w 186"/>
                <a:gd name="T13" fmla="*/ 164 h 186"/>
                <a:gd name="T14" fmla="*/ 167 w 186"/>
                <a:gd name="T15" fmla="*/ 0 h 186"/>
                <a:gd name="T16" fmla="*/ 186 w 186"/>
                <a:gd name="T17" fmla="*/ 19 h 1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86" h="186">
                  <a:moveTo>
                    <a:pt x="186" y="19"/>
                  </a:moveTo>
                  <a:lnTo>
                    <a:pt x="186" y="19"/>
                  </a:lnTo>
                  <a:lnTo>
                    <a:pt x="22" y="183"/>
                  </a:lnTo>
                  <a:cubicBezTo>
                    <a:pt x="20" y="185"/>
                    <a:pt x="16" y="186"/>
                    <a:pt x="13" y="186"/>
                  </a:cubicBezTo>
                  <a:cubicBezTo>
                    <a:pt x="9" y="186"/>
                    <a:pt x="6" y="185"/>
                    <a:pt x="3" y="183"/>
                  </a:cubicBezTo>
                  <a:cubicBezTo>
                    <a:pt x="1" y="180"/>
                    <a:pt x="0" y="177"/>
                    <a:pt x="0" y="173"/>
                  </a:cubicBezTo>
                  <a:cubicBezTo>
                    <a:pt x="0" y="170"/>
                    <a:pt x="1" y="166"/>
                    <a:pt x="3" y="164"/>
                  </a:cubicBezTo>
                  <a:lnTo>
                    <a:pt x="167" y="0"/>
                  </a:lnTo>
                  <a:lnTo>
                    <a:pt x="186" y="19"/>
                  </a:lnTo>
                  <a:close/>
                </a:path>
              </a:pathLst>
            </a:custGeom>
            <a:solidFill>
              <a:srgbClr val="0078D4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2" name="Freeform 103">
              <a:extLst>
                <a:ext uri="{FF2B5EF4-FFF2-40B4-BE49-F238E27FC236}">
                  <a16:creationId xmlns:a16="http://schemas.microsoft.com/office/drawing/2014/main" id="{AB800274-E320-48A9-BD87-FF2A5357EA9F}"/>
                </a:ext>
              </a:extLst>
            </p:cNvPr>
            <p:cNvSpPr>
              <a:spLocks/>
            </p:cNvSpPr>
            <p:nvPr/>
          </p:nvSpPr>
          <p:spPr bwMode="auto">
            <a:xfrm>
              <a:off x="1512139" y="2883194"/>
              <a:ext cx="403724" cy="403725"/>
            </a:xfrm>
            <a:custGeom>
              <a:avLst/>
              <a:gdLst>
                <a:gd name="T0" fmla="*/ 120 w 240"/>
                <a:gd name="T1" fmla="*/ 240 h 240"/>
                <a:gd name="T2" fmla="*/ 120 w 240"/>
                <a:gd name="T3" fmla="*/ 240 h 240"/>
                <a:gd name="T4" fmla="*/ 167 w 240"/>
                <a:gd name="T5" fmla="*/ 230 h 240"/>
                <a:gd name="T6" fmla="*/ 205 w 240"/>
                <a:gd name="T7" fmla="*/ 204 h 240"/>
                <a:gd name="T8" fmla="*/ 231 w 240"/>
                <a:gd name="T9" fmla="*/ 166 h 240"/>
                <a:gd name="T10" fmla="*/ 240 w 240"/>
                <a:gd name="T11" fmla="*/ 120 h 240"/>
                <a:gd name="T12" fmla="*/ 231 w 240"/>
                <a:gd name="T13" fmla="*/ 73 h 240"/>
                <a:gd name="T14" fmla="*/ 205 w 240"/>
                <a:gd name="T15" fmla="*/ 35 h 240"/>
                <a:gd name="T16" fmla="*/ 167 w 240"/>
                <a:gd name="T17" fmla="*/ 9 h 240"/>
                <a:gd name="T18" fmla="*/ 120 w 240"/>
                <a:gd name="T19" fmla="*/ 0 h 240"/>
                <a:gd name="T20" fmla="*/ 74 w 240"/>
                <a:gd name="T21" fmla="*/ 9 h 240"/>
                <a:gd name="T22" fmla="*/ 36 w 240"/>
                <a:gd name="T23" fmla="*/ 35 h 240"/>
                <a:gd name="T24" fmla="*/ 10 w 240"/>
                <a:gd name="T25" fmla="*/ 73 h 240"/>
                <a:gd name="T26" fmla="*/ 0 w 240"/>
                <a:gd name="T27" fmla="*/ 120 h 240"/>
                <a:gd name="T28" fmla="*/ 10 w 240"/>
                <a:gd name="T29" fmla="*/ 166 h 240"/>
                <a:gd name="T30" fmla="*/ 36 w 240"/>
                <a:gd name="T31" fmla="*/ 204 h 240"/>
                <a:gd name="T32" fmla="*/ 74 w 240"/>
                <a:gd name="T33" fmla="*/ 230 h 240"/>
                <a:gd name="T34" fmla="*/ 120 w 240"/>
                <a:gd name="T35" fmla="*/ 240 h 2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40" h="240">
                  <a:moveTo>
                    <a:pt x="120" y="240"/>
                  </a:moveTo>
                  <a:lnTo>
                    <a:pt x="120" y="240"/>
                  </a:lnTo>
                  <a:cubicBezTo>
                    <a:pt x="137" y="240"/>
                    <a:pt x="153" y="236"/>
                    <a:pt x="167" y="230"/>
                  </a:cubicBezTo>
                  <a:cubicBezTo>
                    <a:pt x="182" y="224"/>
                    <a:pt x="194" y="215"/>
                    <a:pt x="205" y="204"/>
                  </a:cubicBezTo>
                  <a:cubicBezTo>
                    <a:pt x="216" y="193"/>
                    <a:pt x="225" y="181"/>
                    <a:pt x="231" y="166"/>
                  </a:cubicBezTo>
                  <a:cubicBezTo>
                    <a:pt x="237" y="152"/>
                    <a:pt x="240" y="136"/>
                    <a:pt x="240" y="120"/>
                  </a:cubicBezTo>
                  <a:cubicBezTo>
                    <a:pt x="240" y="103"/>
                    <a:pt x="237" y="87"/>
                    <a:pt x="231" y="73"/>
                  </a:cubicBezTo>
                  <a:cubicBezTo>
                    <a:pt x="225" y="58"/>
                    <a:pt x="216" y="46"/>
                    <a:pt x="205" y="35"/>
                  </a:cubicBezTo>
                  <a:cubicBezTo>
                    <a:pt x="194" y="24"/>
                    <a:pt x="182" y="15"/>
                    <a:pt x="167" y="9"/>
                  </a:cubicBezTo>
                  <a:cubicBezTo>
                    <a:pt x="153" y="3"/>
                    <a:pt x="137" y="0"/>
                    <a:pt x="120" y="0"/>
                  </a:cubicBezTo>
                  <a:cubicBezTo>
                    <a:pt x="104" y="0"/>
                    <a:pt x="88" y="3"/>
                    <a:pt x="74" y="9"/>
                  </a:cubicBezTo>
                  <a:cubicBezTo>
                    <a:pt x="59" y="15"/>
                    <a:pt x="47" y="24"/>
                    <a:pt x="36" y="35"/>
                  </a:cubicBezTo>
                  <a:cubicBezTo>
                    <a:pt x="25" y="46"/>
                    <a:pt x="16" y="58"/>
                    <a:pt x="10" y="73"/>
                  </a:cubicBezTo>
                  <a:cubicBezTo>
                    <a:pt x="4" y="87"/>
                    <a:pt x="0" y="103"/>
                    <a:pt x="0" y="120"/>
                  </a:cubicBezTo>
                  <a:cubicBezTo>
                    <a:pt x="0" y="136"/>
                    <a:pt x="4" y="152"/>
                    <a:pt x="10" y="166"/>
                  </a:cubicBezTo>
                  <a:cubicBezTo>
                    <a:pt x="16" y="181"/>
                    <a:pt x="25" y="193"/>
                    <a:pt x="36" y="204"/>
                  </a:cubicBezTo>
                  <a:cubicBezTo>
                    <a:pt x="47" y="215"/>
                    <a:pt x="59" y="224"/>
                    <a:pt x="74" y="230"/>
                  </a:cubicBezTo>
                  <a:cubicBezTo>
                    <a:pt x="88" y="236"/>
                    <a:pt x="104" y="240"/>
                    <a:pt x="120" y="240"/>
                  </a:cubicBezTo>
                  <a:close/>
                </a:path>
              </a:pathLst>
            </a:custGeom>
            <a:solidFill>
              <a:schemeClr val="bg1"/>
            </a:solidFill>
            <a:ln w="12700">
              <a:solidFill>
                <a:srgbClr val="0078D4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53" name="Group 52">
            <a:extLst>
              <a:ext uri="{FF2B5EF4-FFF2-40B4-BE49-F238E27FC236}">
                <a16:creationId xmlns:a16="http://schemas.microsoft.com/office/drawing/2014/main" id="{FE59A819-ABE8-4B1F-8563-38738A48289E}"/>
              </a:ext>
            </a:extLst>
          </p:cNvPr>
          <p:cNvGrpSpPr/>
          <p:nvPr/>
        </p:nvGrpSpPr>
        <p:grpSpPr>
          <a:xfrm>
            <a:off x="9651716" y="2820149"/>
            <a:ext cx="692371" cy="692371"/>
            <a:chOff x="8296082" y="2896589"/>
            <a:chExt cx="692371" cy="692371"/>
          </a:xfrm>
        </p:grpSpPr>
        <p:sp>
          <p:nvSpPr>
            <p:cNvPr id="54" name="Freeform 1054">
              <a:extLst>
                <a:ext uri="{FF2B5EF4-FFF2-40B4-BE49-F238E27FC236}">
                  <a16:creationId xmlns:a16="http://schemas.microsoft.com/office/drawing/2014/main" id="{239DB750-8660-46ED-874D-F29481A0E5D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296082" y="2896589"/>
              <a:ext cx="692371" cy="692371"/>
            </a:xfrm>
            <a:custGeom>
              <a:avLst/>
              <a:gdLst>
                <a:gd name="T0" fmla="*/ 73 w 80"/>
                <a:gd name="T1" fmla="*/ 46 h 80"/>
                <a:gd name="T2" fmla="*/ 73 w 80"/>
                <a:gd name="T3" fmla="*/ 33 h 80"/>
                <a:gd name="T4" fmla="*/ 80 w 80"/>
                <a:gd name="T5" fmla="*/ 28 h 80"/>
                <a:gd name="T6" fmla="*/ 77 w 80"/>
                <a:gd name="T7" fmla="*/ 20 h 80"/>
                <a:gd name="T8" fmla="*/ 68 w 80"/>
                <a:gd name="T9" fmla="*/ 21 h 80"/>
                <a:gd name="T10" fmla="*/ 59 w 80"/>
                <a:gd name="T11" fmla="*/ 12 h 80"/>
                <a:gd name="T12" fmla="*/ 60 w 80"/>
                <a:gd name="T13" fmla="*/ 3 h 80"/>
                <a:gd name="T14" fmla="*/ 52 w 80"/>
                <a:gd name="T15" fmla="*/ 0 h 80"/>
                <a:gd name="T16" fmla="*/ 47 w 80"/>
                <a:gd name="T17" fmla="*/ 7 h 80"/>
                <a:gd name="T18" fmla="*/ 33 w 80"/>
                <a:gd name="T19" fmla="*/ 7 h 80"/>
                <a:gd name="T20" fmla="*/ 28 w 80"/>
                <a:gd name="T21" fmla="*/ 0 h 80"/>
                <a:gd name="T22" fmla="*/ 20 w 80"/>
                <a:gd name="T23" fmla="*/ 3 h 80"/>
                <a:gd name="T24" fmla="*/ 22 w 80"/>
                <a:gd name="T25" fmla="*/ 12 h 80"/>
                <a:gd name="T26" fmla="*/ 12 w 80"/>
                <a:gd name="T27" fmla="*/ 21 h 80"/>
                <a:gd name="T28" fmla="*/ 3 w 80"/>
                <a:gd name="T29" fmla="*/ 20 h 80"/>
                <a:gd name="T30" fmla="*/ 0 w 80"/>
                <a:gd name="T31" fmla="*/ 28 h 80"/>
                <a:gd name="T32" fmla="*/ 7 w 80"/>
                <a:gd name="T33" fmla="*/ 33 h 80"/>
                <a:gd name="T34" fmla="*/ 7 w 80"/>
                <a:gd name="T35" fmla="*/ 47 h 80"/>
                <a:gd name="T36" fmla="*/ 0 w 80"/>
                <a:gd name="T37" fmla="*/ 52 h 80"/>
                <a:gd name="T38" fmla="*/ 3 w 80"/>
                <a:gd name="T39" fmla="*/ 60 h 80"/>
                <a:gd name="T40" fmla="*/ 12 w 80"/>
                <a:gd name="T41" fmla="*/ 58 h 80"/>
                <a:gd name="T42" fmla="*/ 22 w 80"/>
                <a:gd name="T43" fmla="*/ 68 h 80"/>
                <a:gd name="T44" fmla="*/ 20 w 80"/>
                <a:gd name="T45" fmla="*/ 77 h 80"/>
                <a:gd name="T46" fmla="*/ 28 w 80"/>
                <a:gd name="T47" fmla="*/ 80 h 80"/>
                <a:gd name="T48" fmla="*/ 34 w 80"/>
                <a:gd name="T49" fmla="*/ 73 h 80"/>
                <a:gd name="T50" fmla="*/ 47 w 80"/>
                <a:gd name="T51" fmla="*/ 73 h 80"/>
                <a:gd name="T52" fmla="*/ 52 w 80"/>
                <a:gd name="T53" fmla="*/ 80 h 80"/>
                <a:gd name="T54" fmla="*/ 60 w 80"/>
                <a:gd name="T55" fmla="*/ 77 h 80"/>
                <a:gd name="T56" fmla="*/ 59 w 80"/>
                <a:gd name="T57" fmla="*/ 68 h 80"/>
                <a:gd name="T58" fmla="*/ 68 w 80"/>
                <a:gd name="T59" fmla="*/ 58 h 80"/>
                <a:gd name="T60" fmla="*/ 77 w 80"/>
                <a:gd name="T61" fmla="*/ 60 h 80"/>
                <a:gd name="T62" fmla="*/ 80 w 80"/>
                <a:gd name="T63" fmla="*/ 52 h 80"/>
                <a:gd name="T64" fmla="*/ 73 w 80"/>
                <a:gd name="T65" fmla="*/ 46 h 80"/>
                <a:gd name="T66" fmla="*/ 32 w 80"/>
                <a:gd name="T67" fmla="*/ 59 h 80"/>
                <a:gd name="T68" fmla="*/ 21 w 80"/>
                <a:gd name="T69" fmla="*/ 32 h 80"/>
                <a:gd name="T70" fmla="*/ 48 w 80"/>
                <a:gd name="T71" fmla="*/ 21 h 80"/>
                <a:gd name="T72" fmla="*/ 59 w 80"/>
                <a:gd name="T73" fmla="*/ 48 h 80"/>
                <a:gd name="T74" fmla="*/ 32 w 80"/>
                <a:gd name="T75" fmla="*/ 59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80" h="80">
                  <a:moveTo>
                    <a:pt x="73" y="46"/>
                  </a:moveTo>
                  <a:cubicBezTo>
                    <a:pt x="74" y="42"/>
                    <a:pt x="74" y="37"/>
                    <a:pt x="73" y="33"/>
                  </a:cubicBezTo>
                  <a:cubicBezTo>
                    <a:pt x="80" y="28"/>
                    <a:pt x="80" y="28"/>
                    <a:pt x="80" y="28"/>
                  </a:cubicBezTo>
                  <a:cubicBezTo>
                    <a:pt x="77" y="20"/>
                    <a:pt x="77" y="20"/>
                    <a:pt x="77" y="20"/>
                  </a:cubicBezTo>
                  <a:cubicBezTo>
                    <a:pt x="68" y="21"/>
                    <a:pt x="68" y="21"/>
                    <a:pt x="68" y="21"/>
                  </a:cubicBezTo>
                  <a:cubicBezTo>
                    <a:pt x="66" y="18"/>
                    <a:pt x="62" y="14"/>
                    <a:pt x="59" y="12"/>
                  </a:cubicBezTo>
                  <a:cubicBezTo>
                    <a:pt x="60" y="3"/>
                    <a:pt x="60" y="3"/>
                    <a:pt x="60" y="3"/>
                  </a:cubicBezTo>
                  <a:cubicBezTo>
                    <a:pt x="52" y="0"/>
                    <a:pt x="52" y="0"/>
                    <a:pt x="52" y="0"/>
                  </a:cubicBezTo>
                  <a:cubicBezTo>
                    <a:pt x="47" y="7"/>
                    <a:pt x="47" y="7"/>
                    <a:pt x="47" y="7"/>
                  </a:cubicBezTo>
                  <a:cubicBezTo>
                    <a:pt x="42" y="6"/>
                    <a:pt x="38" y="6"/>
                    <a:pt x="33" y="7"/>
                  </a:cubicBezTo>
                  <a:cubicBezTo>
                    <a:pt x="28" y="0"/>
                    <a:pt x="28" y="0"/>
                    <a:pt x="28" y="0"/>
                  </a:cubicBezTo>
                  <a:cubicBezTo>
                    <a:pt x="20" y="3"/>
                    <a:pt x="20" y="3"/>
                    <a:pt x="20" y="3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18" y="14"/>
                    <a:pt x="15" y="18"/>
                    <a:pt x="12" y="21"/>
                  </a:cubicBezTo>
                  <a:cubicBezTo>
                    <a:pt x="3" y="20"/>
                    <a:pt x="3" y="20"/>
                    <a:pt x="3" y="20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7" y="33"/>
                    <a:pt x="7" y="33"/>
                    <a:pt x="7" y="33"/>
                  </a:cubicBezTo>
                  <a:cubicBezTo>
                    <a:pt x="7" y="38"/>
                    <a:pt x="7" y="42"/>
                    <a:pt x="7" y="47"/>
                  </a:cubicBezTo>
                  <a:cubicBezTo>
                    <a:pt x="0" y="52"/>
                    <a:pt x="0" y="52"/>
                    <a:pt x="0" y="52"/>
                  </a:cubicBezTo>
                  <a:cubicBezTo>
                    <a:pt x="3" y="60"/>
                    <a:pt x="3" y="60"/>
                    <a:pt x="3" y="60"/>
                  </a:cubicBezTo>
                  <a:cubicBezTo>
                    <a:pt x="12" y="58"/>
                    <a:pt x="12" y="58"/>
                    <a:pt x="12" y="58"/>
                  </a:cubicBezTo>
                  <a:cubicBezTo>
                    <a:pt x="15" y="62"/>
                    <a:pt x="18" y="65"/>
                    <a:pt x="22" y="68"/>
                  </a:cubicBezTo>
                  <a:cubicBezTo>
                    <a:pt x="20" y="77"/>
                    <a:pt x="20" y="77"/>
                    <a:pt x="20" y="77"/>
                  </a:cubicBezTo>
                  <a:cubicBezTo>
                    <a:pt x="28" y="80"/>
                    <a:pt x="28" y="80"/>
                    <a:pt x="28" y="80"/>
                  </a:cubicBezTo>
                  <a:cubicBezTo>
                    <a:pt x="34" y="73"/>
                    <a:pt x="34" y="73"/>
                    <a:pt x="34" y="73"/>
                  </a:cubicBezTo>
                  <a:cubicBezTo>
                    <a:pt x="38" y="73"/>
                    <a:pt x="43" y="73"/>
                    <a:pt x="47" y="73"/>
                  </a:cubicBezTo>
                  <a:cubicBezTo>
                    <a:pt x="52" y="80"/>
                    <a:pt x="52" y="80"/>
                    <a:pt x="52" y="80"/>
                  </a:cubicBezTo>
                  <a:cubicBezTo>
                    <a:pt x="60" y="77"/>
                    <a:pt x="60" y="77"/>
                    <a:pt x="60" y="77"/>
                  </a:cubicBezTo>
                  <a:cubicBezTo>
                    <a:pt x="59" y="68"/>
                    <a:pt x="59" y="68"/>
                    <a:pt x="59" y="68"/>
                  </a:cubicBezTo>
                  <a:cubicBezTo>
                    <a:pt x="62" y="65"/>
                    <a:pt x="66" y="62"/>
                    <a:pt x="68" y="58"/>
                  </a:cubicBezTo>
                  <a:cubicBezTo>
                    <a:pt x="77" y="60"/>
                    <a:pt x="77" y="60"/>
                    <a:pt x="77" y="60"/>
                  </a:cubicBezTo>
                  <a:cubicBezTo>
                    <a:pt x="80" y="52"/>
                    <a:pt x="80" y="52"/>
                    <a:pt x="80" y="52"/>
                  </a:cubicBezTo>
                  <a:lnTo>
                    <a:pt x="73" y="46"/>
                  </a:lnTo>
                  <a:close/>
                  <a:moveTo>
                    <a:pt x="32" y="59"/>
                  </a:moveTo>
                  <a:cubicBezTo>
                    <a:pt x="22" y="55"/>
                    <a:pt x="16" y="43"/>
                    <a:pt x="21" y="32"/>
                  </a:cubicBezTo>
                  <a:cubicBezTo>
                    <a:pt x="25" y="21"/>
                    <a:pt x="37" y="16"/>
                    <a:pt x="48" y="21"/>
                  </a:cubicBezTo>
                  <a:cubicBezTo>
                    <a:pt x="59" y="25"/>
                    <a:pt x="64" y="37"/>
                    <a:pt x="59" y="48"/>
                  </a:cubicBezTo>
                  <a:cubicBezTo>
                    <a:pt x="55" y="58"/>
                    <a:pt x="43" y="64"/>
                    <a:pt x="32" y="59"/>
                  </a:cubicBezTo>
                  <a:close/>
                </a:path>
              </a:pathLst>
            </a:custGeom>
            <a:solidFill>
              <a:srgbClr val="3C3C4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5" name="Freeform 5">
              <a:extLst>
                <a:ext uri="{FF2B5EF4-FFF2-40B4-BE49-F238E27FC236}">
                  <a16:creationId xmlns:a16="http://schemas.microsoft.com/office/drawing/2014/main" id="{54EED5C8-45A4-43EC-82F4-3B34886DD70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583105" y="3183612"/>
              <a:ext cx="118325" cy="118325"/>
            </a:xfrm>
            <a:custGeom>
              <a:avLst/>
              <a:gdLst>
                <a:gd name="T0" fmla="*/ 118 w 400"/>
                <a:gd name="T1" fmla="*/ 104 h 400"/>
                <a:gd name="T2" fmla="*/ 118 w 400"/>
                <a:gd name="T3" fmla="*/ 104 h 400"/>
                <a:gd name="T4" fmla="*/ 112 w 400"/>
                <a:gd name="T5" fmla="*/ 112 h 400"/>
                <a:gd name="T6" fmla="*/ 104 w 400"/>
                <a:gd name="T7" fmla="*/ 118 h 400"/>
                <a:gd name="T8" fmla="*/ 93 w 400"/>
                <a:gd name="T9" fmla="*/ 120 h 400"/>
                <a:gd name="T10" fmla="*/ 83 w 400"/>
                <a:gd name="T11" fmla="*/ 118 h 400"/>
                <a:gd name="T12" fmla="*/ 74 w 400"/>
                <a:gd name="T13" fmla="*/ 112 h 400"/>
                <a:gd name="T14" fmla="*/ 69 w 400"/>
                <a:gd name="T15" fmla="*/ 104 h 400"/>
                <a:gd name="T16" fmla="*/ 67 w 400"/>
                <a:gd name="T17" fmla="*/ 93 h 400"/>
                <a:gd name="T18" fmla="*/ 69 w 400"/>
                <a:gd name="T19" fmla="*/ 83 h 400"/>
                <a:gd name="T20" fmla="*/ 74 w 400"/>
                <a:gd name="T21" fmla="*/ 75 h 400"/>
                <a:gd name="T22" fmla="*/ 83 w 400"/>
                <a:gd name="T23" fmla="*/ 69 h 400"/>
                <a:gd name="T24" fmla="*/ 93 w 400"/>
                <a:gd name="T25" fmla="*/ 67 h 400"/>
                <a:gd name="T26" fmla="*/ 104 w 400"/>
                <a:gd name="T27" fmla="*/ 69 h 400"/>
                <a:gd name="T28" fmla="*/ 112 w 400"/>
                <a:gd name="T29" fmla="*/ 75 h 400"/>
                <a:gd name="T30" fmla="*/ 118 w 400"/>
                <a:gd name="T31" fmla="*/ 83 h 400"/>
                <a:gd name="T32" fmla="*/ 120 w 400"/>
                <a:gd name="T33" fmla="*/ 93 h 400"/>
                <a:gd name="T34" fmla="*/ 118 w 400"/>
                <a:gd name="T35" fmla="*/ 104 h 400"/>
                <a:gd name="T36" fmla="*/ 258 w 400"/>
                <a:gd name="T37" fmla="*/ 179 h 400"/>
                <a:gd name="T38" fmla="*/ 258 w 400"/>
                <a:gd name="T39" fmla="*/ 179 h 400"/>
                <a:gd name="T40" fmla="*/ 263 w 400"/>
                <a:gd name="T41" fmla="*/ 161 h 400"/>
                <a:gd name="T42" fmla="*/ 267 w 400"/>
                <a:gd name="T43" fmla="*/ 133 h 400"/>
                <a:gd name="T44" fmla="*/ 256 w 400"/>
                <a:gd name="T45" fmla="*/ 82 h 400"/>
                <a:gd name="T46" fmla="*/ 227 w 400"/>
                <a:gd name="T47" fmla="*/ 39 h 400"/>
                <a:gd name="T48" fmla="*/ 185 w 400"/>
                <a:gd name="T49" fmla="*/ 11 h 400"/>
                <a:gd name="T50" fmla="*/ 133 w 400"/>
                <a:gd name="T51" fmla="*/ 0 h 400"/>
                <a:gd name="T52" fmla="*/ 81 w 400"/>
                <a:gd name="T53" fmla="*/ 11 h 400"/>
                <a:gd name="T54" fmla="*/ 39 w 400"/>
                <a:gd name="T55" fmla="*/ 39 h 400"/>
                <a:gd name="T56" fmla="*/ 10 w 400"/>
                <a:gd name="T57" fmla="*/ 82 h 400"/>
                <a:gd name="T58" fmla="*/ 0 w 400"/>
                <a:gd name="T59" fmla="*/ 133 h 400"/>
                <a:gd name="T60" fmla="*/ 10 w 400"/>
                <a:gd name="T61" fmla="*/ 185 h 400"/>
                <a:gd name="T62" fmla="*/ 39 w 400"/>
                <a:gd name="T63" fmla="*/ 228 h 400"/>
                <a:gd name="T64" fmla="*/ 81 w 400"/>
                <a:gd name="T65" fmla="*/ 256 h 400"/>
                <a:gd name="T66" fmla="*/ 133 w 400"/>
                <a:gd name="T67" fmla="*/ 267 h 400"/>
                <a:gd name="T68" fmla="*/ 177 w 400"/>
                <a:gd name="T69" fmla="*/ 259 h 400"/>
                <a:gd name="T70" fmla="*/ 213 w 400"/>
                <a:gd name="T71" fmla="*/ 240 h 400"/>
                <a:gd name="T72" fmla="*/ 213 w 400"/>
                <a:gd name="T73" fmla="*/ 240 h 400"/>
                <a:gd name="T74" fmla="*/ 213 w 400"/>
                <a:gd name="T75" fmla="*/ 293 h 400"/>
                <a:gd name="T76" fmla="*/ 267 w 400"/>
                <a:gd name="T77" fmla="*/ 293 h 400"/>
                <a:gd name="T78" fmla="*/ 267 w 400"/>
                <a:gd name="T79" fmla="*/ 347 h 400"/>
                <a:gd name="T80" fmla="*/ 320 w 400"/>
                <a:gd name="T81" fmla="*/ 347 h 400"/>
                <a:gd name="T82" fmla="*/ 320 w 400"/>
                <a:gd name="T83" fmla="*/ 400 h 400"/>
                <a:gd name="T84" fmla="*/ 400 w 400"/>
                <a:gd name="T85" fmla="*/ 400 h 400"/>
                <a:gd name="T86" fmla="*/ 400 w 400"/>
                <a:gd name="T87" fmla="*/ 320 h 400"/>
                <a:gd name="T88" fmla="*/ 258 w 400"/>
                <a:gd name="T89" fmla="*/ 179 h 4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400" h="400">
                  <a:moveTo>
                    <a:pt x="118" y="104"/>
                  </a:moveTo>
                  <a:lnTo>
                    <a:pt x="118" y="104"/>
                  </a:lnTo>
                  <a:cubicBezTo>
                    <a:pt x="116" y="107"/>
                    <a:pt x="114" y="110"/>
                    <a:pt x="112" y="112"/>
                  </a:cubicBezTo>
                  <a:cubicBezTo>
                    <a:pt x="110" y="115"/>
                    <a:pt x="107" y="117"/>
                    <a:pt x="104" y="118"/>
                  </a:cubicBezTo>
                  <a:cubicBezTo>
                    <a:pt x="100" y="119"/>
                    <a:pt x="97" y="120"/>
                    <a:pt x="93" y="120"/>
                  </a:cubicBezTo>
                  <a:cubicBezTo>
                    <a:pt x="89" y="120"/>
                    <a:pt x="86" y="119"/>
                    <a:pt x="83" y="118"/>
                  </a:cubicBezTo>
                  <a:cubicBezTo>
                    <a:pt x="80" y="117"/>
                    <a:pt x="77" y="115"/>
                    <a:pt x="74" y="112"/>
                  </a:cubicBezTo>
                  <a:cubicBezTo>
                    <a:pt x="72" y="110"/>
                    <a:pt x="70" y="107"/>
                    <a:pt x="69" y="104"/>
                  </a:cubicBezTo>
                  <a:cubicBezTo>
                    <a:pt x="67" y="101"/>
                    <a:pt x="67" y="97"/>
                    <a:pt x="67" y="93"/>
                  </a:cubicBezTo>
                  <a:cubicBezTo>
                    <a:pt x="67" y="90"/>
                    <a:pt x="67" y="86"/>
                    <a:pt x="69" y="83"/>
                  </a:cubicBezTo>
                  <a:cubicBezTo>
                    <a:pt x="70" y="80"/>
                    <a:pt x="72" y="77"/>
                    <a:pt x="74" y="75"/>
                  </a:cubicBezTo>
                  <a:cubicBezTo>
                    <a:pt x="77" y="72"/>
                    <a:pt x="80" y="70"/>
                    <a:pt x="83" y="69"/>
                  </a:cubicBezTo>
                  <a:cubicBezTo>
                    <a:pt x="86" y="68"/>
                    <a:pt x="89" y="67"/>
                    <a:pt x="93" y="67"/>
                  </a:cubicBezTo>
                  <a:cubicBezTo>
                    <a:pt x="97" y="67"/>
                    <a:pt x="100" y="68"/>
                    <a:pt x="104" y="69"/>
                  </a:cubicBezTo>
                  <a:cubicBezTo>
                    <a:pt x="107" y="70"/>
                    <a:pt x="110" y="72"/>
                    <a:pt x="112" y="75"/>
                  </a:cubicBezTo>
                  <a:cubicBezTo>
                    <a:pt x="114" y="77"/>
                    <a:pt x="116" y="80"/>
                    <a:pt x="118" y="83"/>
                  </a:cubicBezTo>
                  <a:cubicBezTo>
                    <a:pt x="119" y="86"/>
                    <a:pt x="120" y="90"/>
                    <a:pt x="120" y="93"/>
                  </a:cubicBezTo>
                  <a:cubicBezTo>
                    <a:pt x="120" y="97"/>
                    <a:pt x="119" y="101"/>
                    <a:pt x="118" y="104"/>
                  </a:cubicBezTo>
                  <a:close/>
                  <a:moveTo>
                    <a:pt x="258" y="179"/>
                  </a:moveTo>
                  <a:lnTo>
                    <a:pt x="258" y="179"/>
                  </a:lnTo>
                  <a:cubicBezTo>
                    <a:pt x="260" y="173"/>
                    <a:pt x="262" y="167"/>
                    <a:pt x="263" y="161"/>
                  </a:cubicBezTo>
                  <a:cubicBezTo>
                    <a:pt x="265" y="152"/>
                    <a:pt x="267" y="143"/>
                    <a:pt x="267" y="133"/>
                  </a:cubicBezTo>
                  <a:cubicBezTo>
                    <a:pt x="267" y="115"/>
                    <a:pt x="263" y="98"/>
                    <a:pt x="256" y="82"/>
                  </a:cubicBezTo>
                  <a:cubicBezTo>
                    <a:pt x="249" y="65"/>
                    <a:pt x="239" y="51"/>
                    <a:pt x="227" y="39"/>
                  </a:cubicBezTo>
                  <a:cubicBezTo>
                    <a:pt x="215" y="27"/>
                    <a:pt x="201" y="18"/>
                    <a:pt x="185" y="11"/>
                  </a:cubicBezTo>
                  <a:cubicBezTo>
                    <a:pt x="169" y="4"/>
                    <a:pt x="151" y="0"/>
                    <a:pt x="133" y="0"/>
                  </a:cubicBezTo>
                  <a:cubicBezTo>
                    <a:pt x="115" y="0"/>
                    <a:pt x="97" y="4"/>
                    <a:pt x="81" y="11"/>
                  </a:cubicBezTo>
                  <a:cubicBezTo>
                    <a:pt x="65" y="18"/>
                    <a:pt x="51" y="27"/>
                    <a:pt x="39" y="39"/>
                  </a:cubicBezTo>
                  <a:cubicBezTo>
                    <a:pt x="27" y="51"/>
                    <a:pt x="17" y="65"/>
                    <a:pt x="10" y="82"/>
                  </a:cubicBezTo>
                  <a:cubicBezTo>
                    <a:pt x="3" y="98"/>
                    <a:pt x="0" y="115"/>
                    <a:pt x="0" y="133"/>
                  </a:cubicBezTo>
                  <a:cubicBezTo>
                    <a:pt x="0" y="152"/>
                    <a:pt x="3" y="169"/>
                    <a:pt x="10" y="185"/>
                  </a:cubicBezTo>
                  <a:cubicBezTo>
                    <a:pt x="17" y="202"/>
                    <a:pt x="27" y="216"/>
                    <a:pt x="39" y="228"/>
                  </a:cubicBezTo>
                  <a:cubicBezTo>
                    <a:pt x="51" y="240"/>
                    <a:pt x="65" y="249"/>
                    <a:pt x="81" y="256"/>
                  </a:cubicBezTo>
                  <a:cubicBezTo>
                    <a:pt x="97" y="263"/>
                    <a:pt x="115" y="267"/>
                    <a:pt x="133" y="267"/>
                  </a:cubicBezTo>
                  <a:cubicBezTo>
                    <a:pt x="148" y="267"/>
                    <a:pt x="163" y="264"/>
                    <a:pt x="177" y="259"/>
                  </a:cubicBezTo>
                  <a:cubicBezTo>
                    <a:pt x="190" y="255"/>
                    <a:pt x="202" y="248"/>
                    <a:pt x="213" y="240"/>
                  </a:cubicBezTo>
                  <a:lnTo>
                    <a:pt x="213" y="240"/>
                  </a:lnTo>
                  <a:lnTo>
                    <a:pt x="213" y="293"/>
                  </a:lnTo>
                  <a:lnTo>
                    <a:pt x="267" y="293"/>
                  </a:lnTo>
                  <a:lnTo>
                    <a:pt x="267" y="347"/>
                  </a:lnTo>
                  <a:lnTo>
                    <a:pt x="320" y="347"/>
                  </a:lnTo>
                  <a:lnTo>
                    <a:pt x="320" y="400"/>
                  </a:lnTo>
                  <a:lnTo>
                    <a:pt x="400" y="400"/>
                  </a:lnTo>
                  <a:lnTo>
                    <a:pt x="400" y="320"/>
                  </a:lnTo>
                  <a:lnTo>
                    <a:pt x="258" y="179"/>
                  </a:lnTo>
                  <a:close/>
                </a:path>
              </a:pathLst>
            </a:custGeom>
            <a:solidFill>
              <a:srgbClr val="0078D4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sp>
        <p:nvSpPr>
          <p:cNvPr id="56" name="Arrow: Chevron 55">
            <a:extLst>
              <a:ext uri="{FF2B5EF4-FFF2-40B4-BE49-F238E27FC236}">
                <a16:creationId xmlns:a16="http://schemas.microsoft.com/office/drawing/2014/main" id="{B722FB77-267C-4E30-BCF3-5958C60B594F}"/>
              </a:ext>
            </a:extLst>
          </p:cNvPr>
          <p:cNvSpPr/>
          <p:nvPr/>
        </p:nvSpPr>
        <p:spPr bwMode="auto">
          <a:xfrm>
            <a:off x="8569529" y="3038687"/>
            <a:ext cx="286363" cy="439807"/>
          </a:xfrm>
          <a:prstGeom prst="chevron">
            <a:avLst>
              <a:gd name="adj" fmla="val 61541"/>
            </a:avLst>
          </a:prstGeom>
          <a:solidFill>
            <a:schemeClr val="accent5"/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6637" rIns="0" bIns="46637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gradFill>
                <a:gsLst>
                  <a:gs pos="40075">
                    <a:srgbClr val="FFFFFF"/>
                  </a:gs>
                  <a:gs pos="3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57" name="Arrow: Chevron 56">
            <a:extLst>
              <a:ext uri="{FF2B5EF4-FFF2-40B4-BE49-F238E27FC236}">
                <a16:creationId xmlns:a16="http://schemas.microsoft.com/office/drawing/2014/main" id="{C0807417-7182-4467-9BB4-A41B9C490B61}"/>
              </a:ext>
            </a:extLst>
          </p:cNvPr>
          <p:cNvSpPr/>
          <p:nvPr/>
        </p:nvSpPr>
        <p:spPr bwMode="auto">
          <a:xfrm flipH="1">
            <a:off x="8147498" y="3038687"/>
            <a:ext cx="286363" cy="439807"/>
          </a:xfrm>
          <a:prstGeom prst="chevron">
            <a:avLst>
              <a:gd name="adj" fmla="val 61541"/>
            </a:avLst>
          </a:prstGeom>
          <a:solidFill>
            <a:schemeClr val="accent5"/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6637" rIns="0" bIns="46637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gradFill>
                <a:gsLst>
                  <a:gs pos="40075">
                    <a:srgbClr val="FFFFFF"/>
                  </a:gs>
                  <a:gs pos="3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58" name="Send" title="Icon of a paper airplane">
            <a:extLst>
              <a:ext uri="{FF2B5EF4-FFF2-40B4-BE49-F238E27FC236}">
                <a16:creationId xmlns:a16="http://schemas.microsoft.com/office/drawing/2014/main" id="{FA959270-6866-4755-84AD-5B8A97E181DE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6448389" y="2890797"/>
            <a:ext cx="733011" cy="490430"/>
          </a:xfrm>
          <a:custGeom>
            <a:avLst/>
            <a:gdLst>
              <a:gd name="T0" fmla="*/ 44 w 556"/>
              <a:gd name="T1" fmla="*/ 14 h 372"/>
              <a:gd name="T2" fmla="*/ 556 w 556"/>
              <a:gd name="T3" fmla="*/ 187 h 372"/>
              <a:gd name="T4" fmla="*/ 0 w 556"/>
              <a:gd name="T5" fmla="*/ 372 h 372"/>
              <a:gd name="T6" fmla="*/ 64 w 556"/>
              <a:gd name="T7" fmla="*/ 187 h 372"/>
              <a:gd name="T8" fmla="*/ 14 w 556"/>
              <a:gd name="T9" fmla="*/ 43 h 372"/>
              <a:gd name="T10" fmla="*/ 14 w 556"/>
              <a:gd name="T11" fmla="*/ 43 h 372"/>
              <a:gd name="T12" fmla="*/ 0 w 556"/>
              <a:gd name="T13" fmla="*/ 0 h 372"/>
              <a:gd name="T14" fmla="*/ 44 w 556"/>
              <a:gd name="T15" fmla="*/ 14 h 372"/>
              <a:gd name="T16" fmla="*/ 64 w 556"/>
              <a:gd name="T17" fmla="*/ 187 h 372"/>
              <a:gd name="T18" fmla="*/ 556 w 556"/>
              <a:gd name="T19" fmla="*/ 187 h 3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556" h="372">
                <a:moveTo>
                  <a:pt x="44" y="14"/>
                </a:moveTo>
                <a:lnTo>
                  <a:pt x="556" y="187"/>
                </a:lnTo>
                <a:lnTo>
                  <a:pt x="0" y="372"/>
                </a:lnTo>
                <a:lnTo>
                  <a:pt x="64" y="187"/>
                </a:lnTo>
                <a:lnTo>
                  <a:pt x="14" y="43"/>
                </a:lnTo>
                <a:moveTo>
                  <a:pt x="14" y="43"/>
                </a:moveTo>
                <a:lnTo>
                  <a:pt x="0" y="0"/>
                </a:lnTo>
                <a:lnTo>
                  <a:pt x="44" y="14"/>
                </a:lnTo>
                <a:moveTo>
                  <a:pt x="64" y="187"/>
                </a:moveTo>
                <a:lnTo>
                  <a:pt x="556" y="187"/>
                </a:lnTo>
              </a:path>
            </a:pathLst>
          </a:custGeom>
          <a:solidFill>
            <a:schemeClr val="tx1"/>
          </a:solidFill>
          <a:ln w="22225" cap="sq">
            <a:solidFill>
              <a:srgbClr val="0078D4"/>
            </a:solidFill>
            <a:prstDash val="solid"/>
            <a:miter lim="800000"/>
            <a:headEnd/>
            <a:tailEnd/>
          </a:ln>
        </p:spPr>
        <p:txBody>
          <a:bodyPr vert="horz" wrap="square" lIns="89642" tIns="44821" rIns="89642" bIns="44821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65" b="0" i="0" u="none" strike="noStrike" kern="1200" cap="none" spc="0" normalizeH="0" baseline="0" noProof="0" dirty="0">
              <a:ln>
                <a:noFill/>
              </a:ln>
              <a:gradFill>
                <a:gsLst>
                  <a:gs pos="2917">
                    <a:srgbClr val="353535"/>
                  </a:gs>
                  <a:gs pos="30000">
                    <a:srgbClr val="002050"/>
                  </a:gs>
                </a:gsLst>
                <a:lin ang="5400000" scaled="0"/>
              </a:gradFill>
              <a:effectLst/>
              <a:uLnTx/>
              <a:uFillTx/>
              <a:latin typeface="Segoe UI Semilight"/>
              <a:ea typeface="+mn-ea"/>
              <a:cs typeface="+mn-cs"/>
            </a:endParaRPr>
          </a:p>
        </p:txBody>
      </p:sp>
      <p:pic>
        <p:nvPicPr>
          <p:cNvPr id="59" name="Graphic 58" descr="Clipboard Partially Checked">
            <a:extLst>
              <a:ext uri="{FF2B5EF4-FFF2-40B4-BE49-F238E27FC236}">
                <a16:creationId xmlns:a16="http://schemas.microsoft.com/office/drawing/2014/main" id="{90B91B46-9628-4467-A12C-11E12ADA869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812913" y="2698865"/>
            <a:ext cx="974148" cy="9741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6918443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8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" name="TextBox 48">
            <a:extLst>
              <a:ext uri="{FF2B5EF4-FFF2-40B4-BE49-F238E27FC236}">
                <a16:creationId xmlns:a16="http://schemas.microsoft.com/office/drawing/2014/main" id="{15A9FCE9-BC28-4698-8E8B-2FB3E9765637}"/>
              </a:ext>
            </a:extLst>
          </p:cNvPr>
          <p:cNvSpPr txBox="1"/>
          <p:nvPr/>
        </p:nvSpPr>
        <p:spPr>
          <a:xfrm>
            <a:off x="416689" y="2265005"/>
            <a:ext cx="5329688" cy="22467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defTabSz="914192">
              <a:buFont typeface="Arial" panose="020B0604020202020204" pitchFamily="34" charset="0"/>
              <a:buChar char="•"/>
              <a:defRPr/>
            </a:pPr>
            <a:r>
              <a:rPr lang="en-US" sz="2000" dirty="0">
                <a:solidFill>
                  <a:srgbClr val="4C4C5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Look at your environment</a:t>
            </a:r>
          </a:p>
          <a:p>
            <a:pPr marL="285750" indent="-285750" defTabSz="914192">
              <a:buFont typeface="Arial" panose="020B0604020202020204" pitchFamily="34" charset="0"/>
              <a:buChar char="•"/>
              <a:defRPr/>
            </a:pPr>
            <a:r>
              <a:rPr lang="en-US" sz="2000" dirty="0">
                <a:solidFill>
                  <a:srgbClr val="4C4C5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Understand dependencies</a:t>
            </a:r>
          </a:p>
          <a:p>
            <a:pPr marL="285750" indent="-285750" defTabSz="914192">
              <a:buFont typeface="Arial" panose="020B0604020202020204" pitchFamily="34" charset="0"/>
              <a:buChar char="•"/>
              <a:defRPr/>
            </a:pPr>
            <a:r>
              <a:rPr lang="en-US" sz="2000" dirty="0">
                <a:solidFill>
                  <a:srgbClr val="4C4C5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Understand your </a:t>
            </a:r>
            <a:r>
              <a:rPr lang="en-US" sz="2000" dirty="0" err="1">
                <a:solidFill>
                  <a:srgbClr val="4C4C5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organisations</a:t>
            </a:r>
            <a:r>
              <a:rPr lang="en-US" sz="2000" dirty="0">
                <a:solidFill>
                  <a:srgbClr val="4C4C5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needs</a:t>
            </a:r>
          </a:p>
          <a:p>
            <a:pPr marL="285750" indent="-285750" defTabSz="914192">
              <a:buFont typeface="Arial" panose="020B0604020202020204" pitchFamily="34" charset="0"/>
              <a:buChar char="•"/>
              <a:defRPr/>
            </a:pPr>
            <a:r>
              <a:rPr lang="en-US" sz="2000" dirty="0">
                <a:solidFill>
                  <a:srgbClr val="4C4C5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People and Technology</a:t>
            </a:r>
          </a:p>
          <a:p>
            <a:pPr marL="285750" indent="-285750" defTabSz="914192">
              <a:buFont typeface="Arial" panose="020B0604020202020204" pitchFamily="34" charset="0"/>
              <a:buChar char="•"/>
              <a:defRPr/>
            </a:pPr>
            <a:r>
              <a:rPr lang="en-US" sz="2000" dirty="0">
                <a:solidFill>
                  <a:srgbClr val="4C4C5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Staff training needs</a:t>
            </a:r>
          </a:p>
          <a:p>
            <a:pPr marL="285750" indent="-285750" defTabSz="914192">
              <a:buFont typeface="Arial" panose="020B0604020202020204" pitchFamily="34" charset="0"/>
              <a:buChar char="•"/>
              <a:defRPr/>
            </a:pPr>
            <a:r>
              <a:rPr lang="en-US" sz="2000" dirty="0">
                <a:solidFill>
                  <a:srgbClr val="4C4C5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ost of your current environment</a:t>
            </a:r>
          </a:p>
          <a:p>
            <a:pPr defTabSz="914192">
              <a:defRPr/>
            </a:pPr>
            <a:endParaRPr lang="en-US" sz="2000" dirty="0">
              <a:solidFill>
                <a:srgbClr val="4C4C5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8" name="Title 1">
            <a:extLst>
              <a:ext uri="{FF2B5EF4-FFF2-40B4-BE49-F238E27FC236}">
                <a16:creationId xmlns:a16="http://schemas.microsoft.com/office/drawing/2014/main" id="{BECD9960-6DF9-4966-B2D6-F0D932774082}"/>
              </a:ext>
            </a:extLst>
          </p:cNvPr>
          <p:cNvSpPr txBox="1">
            <a:spLocks/>
          </p:cNvSpPr>
          <p:nvPr/>
        </p:nvSpPr>
        <p:spPr>
          <a:xfrm>
            <a:off x="486232" y="5795732"/>
            <a:ext cx="11373365" cy="553841"/>
          </a:xfrm>
          <a:prstGeom prst="rect">
            <a:avLst/>
          </a:prstGeom>
        </p:spPr>
        <p:txBody>
          <a:bodyPr vert="horz" wrap="square" lIns="0" tIns="89630" rIns="143407" bIns="89630" rtlCol="0" anchor="t">
            <a:noAutofit/>
          </a:bodyPr>
          <a:lstStyle>
            <a:lvl1pPr algn="l" defTabSz="93256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800" b="0" kern="1200" cap="none" spc="-50" baseline="0" dirty="0" smtClean="0">
                <a:ln w="3175">
                  <a:noFill/>
                </a:ln>
                <a:solidFill>
                  <a:srgbClr val="000000"/>
                </a:soli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defTabSz="932384"/>
            <a:endParaRPr lang="en-US" sz="2745" dirty="0">
              <a:latin typeface="Segoe UI Semibold (Headings)"/>
              <a:cs typeface="Segoe UI Semibold" panose="020B0702040204020203" pitchFamily="34" charset="0"/>
            </a:endParaRP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D90A74E4-D033-244F-8BBF-AB016E603C6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5995" y="881209"/>
            <a:ext cx="11653518" cy="482763"/>
          </a:xfrm>
        </p:spPr>
        <p:txBody>
          <a:bodyPr/>
          <a:lstStyle/>
          <a:p>
            <a:r>
              <a:rPr lang="en-US" dirty="0"/>
              <a:t>Understand your </a:t>
            </a:r>
            <a:r>
              <a:rPr lang="en-US" dirty="0">
                <a:solidFill>
                  <a:srgbClr val="0078D4"/>
                </a:solidFill>
              </a:rPr>
              <a:t>environment</a:t>
            </a:r>
            <a:r>
              <a:rPr lang="en-US" dirty="0"/>
              <a:t> and objective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A78D8B18-2C28-6B43-B3A0-D2E53B6355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5995" y="433143"/>
            <a:ext cx="11303917" cy="813704"/>
          </a:xfrm>
        </p:spPr>
        <p:txBody>
          <a:bodyPr/>
          <a:lstStyle/>
          <a:p>
            <a:r>
              <a:rPr lang="en-US" dirty="0"/>
              <a:t>Discovery</a:t>
            </a:r>
          </a:p>
        </p:txBody>
      </p:sp>
      <p:sp>
        <p:nvSpPr>
          <p:cNvPr id="3" name="bk object 17">
            <a:extLst>
              <a:ext uri="{FF2B5EF4-FFF2-40B4-BE49-F238E27FC236}">
                <a16:creationId xmlns:a16="http://schemas.microsoft.com/office/drawing/2014/main" id="{407B5CDC-D413-4E99-A645-F0412DF2C438}"/>
              </a:ext>
            </a:extLst>
          </p:cNvPr>
          <p:cNvSpPr/>
          <p:nvPr/>
        </p:nvSpPr>
        <p:spPr>
          <a:xfrm>
            <a:off x="0" y="6497955"/>
            <a:ext cx="12192000" cy="360045"/>
          </a:xfrm>
          <a:custGeom>
            <a:avLst/>
            <a:gdLst/>
            <a:ahLst/>
            <a:cxnLst/>
            <a:rect l="l" t="t" r="r" b="b"/>
            <a:pathLst>
              <a:path w="12434570" h="360045">
                <a:moveTo>
                  <a:pt x="0" y="359994"/>
                </a:moveTo>
                <a:lnTo>
                  <a:pt x="12434404" y="359994"/>
                </a:lnTo>
                <a:lnTo>
                  <a:pt x="12434404" y="0"/>
                </a:lnTo>
                <a:lnTo>
                  <a:pt x="0" y="0"/>
                </a:lnTo>
                <a:lnTo>
                  <a:pt x="0" y="359994"/>
                </a:lnTo>
                <a:close/>
              </a:path>
            </a:pathLst>
          </a:custGeom>
          <a:solidFill>
            <a:srgbClr val="007FBA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5CE847B4-938E-47E7-9154-2FC09972926D}"/>
              </a:ext>
            </a:extLst>
          </p:cNvPr>
          <p:cNvSpPr txBox="1"/>
          <p:nvPr/>
        </p:nvSpPr>
        <p:spPr>
          <a:xfrm>
            <a:off x="7278010" y="6591175"/>
            <a:ext cx="425867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100" b="0" i="0" kern="0" spc="-20" baseline="0" dirty="0">
                <a:solidFill>
                  <a:schemeClr val="bg1"/>
                </a:solidFill>
                <a:latin typeface="Segoe UI Semibold" charset="0"/>
              </a:rPr>
              <a:t>Microsoft Azure    </a:t>
            </a:r>
            <a:r>
              <a:rPr lang="en-US" sz="1100" b="0" i="0" kern="0" spc="-20" baseline="0" dirty="0">
                <a:solidFill>
                  <a:schemeClr val="bg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|  @</a:t>
            </a:r>
            <a:r>
              <a:rPr lang="en-US" sz="1100" b="0" i="0" kern="0" spc="-20" baseline="0" dirty="0" err="1">
                <a:solidFill>
                  <a:schemeClr val="bg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Techielass</a:t>
            </a:r>
            <a:endParaRPr lang="en-US" sz="1100" b="0" i="0" kern="0" spc="-20" baseline="0" dirty="0">
              <a:solidFill>
                <a:schemeClr val="bg1"/>
              </a:solidFill>
              <a:latin typeface="Segoe UI Semilight" panose="020B0402040204020203" pitchFamily="34" charset="0"/>
              <a:ea typeface="Segoe UI Semilight" charset="0"/>
              <a:cs typeface="Segoe UI Semilight" panose="020B0402040204020203" pitchFamily="34" charset="0"/>
            </a:endParaRP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E98C1320-FD72-4775-AADA-B630CA342B91}"/>
              </a:ext>
            </a:extLst>
          </p:cNvPr>
          <p:cNvGrpSpPr/>
          <p:nvPr/>
        </p:nvGrpSpPr>
        <p:grpSpPr>
          <a:xfrm>
            <a:off x="11089341" y="284761"/>
            <a:ext cx="885005" cy="746180"/>
            <a:chOff x="1243893" y="2839841"/>
            <a:chExt cx="715323" cy="712615"/>
          </a:xfrm>
        </p:grpSpPr>
        <p:sp>
          <p:nvSpPr>
            <p:cNvPr id="13" name="Freeform 101">
              <a:extLst>
                <a:ext uri="{FF2B5EF4-FFF2-40B4-BE49-F238E27FC236}">
                  <a16:creationId xmlns:a16="http://schemas.microsoft.com/office/drawing/2014/main" id="{A4343328-CD4D-4E7A-9F6D-0F533DF60F7A}"/>
                </a:ext>
              </a:extLst>
            </p:cNvPr>
            <p:cNvSpPr>
              <a:spLocks/>
            </p:cNvSpPr>
            <p:nvPr/>
          </p:nvSpPr>
          <p:spPr bwMode="auto">
            <a:xfrm>
              <a:off x="1468786" y="2839841"/>
              <a:ext cx="490430" cy="490431"/>
            </a:xfrm>
            <a:custGeom>
              <a:avLst/>
              <a:gdLst>
                <a:gd name="T0" fmla="*/ 293 w 293"/>
                <a:gd name="T1" fmla="*/ 145 h 292"/>
                <a:gd name="T2" fmla="*/ 292 w 293"/>
                <a:gd name="T3" fmla="*/ 129 h 292"/>
                <a:gd name="T4" fmla="*/ 288 w 293"/>
                <a:gd name="T5" fmla="*/ 107 h 292"/>
                <a:gd name="T6" fmla="*/ 283 w 293"/>
                <a:gd name="T7" fmla="*/ 91 h 292"/>
                <a:gd name="T8" fmla="*/ 273 w 293"/>
                <a:gd name="T9" fmla="*/ 72 h 292"/>
                <a:gd name="T10" fmla="*/ 264 w 293"/>
                <a:gd name="T11" fmla="*/ 58 h 292"/>
                <a:gd name="T12" fmla="*/ 250 w 293"/>
                <a:gd name="T13" fmla="*/ 42 h 292"/>
                <a:gd name="T14" fmla="*/ 236 w 293"/>
                <a:gd name="T15" fmla="*/ 30 h 292"/>
                <a:gd name="T16" fmla="*/ 220 w 293"/>
                <a:gd name="T17" fmla="*/ 19 h 292"/>
                <a:gd name="T18" fmla="*/ 205 w 293"/>
                <a:gd name="T19" fmla="*/ 11 h 292"/>
                <a:gd name="T20" fmla="*/ 185 w 293"/>
                <a:gd name="T21" fmla="*/ 4 h 292"/>
                <a:gd name="T22" fmla="*/ 169 w 293"/>
                <a:gd name="T23" fmla="*/ 2 h 292"/>
                <a:gd name="T24" fmla="*/ 146 w 293"/>
                <a:gd name="T25" fmla="*/ 0 h 292"/>
                <a:gd name="T26" fmla="*/ 146 w 293"/>
                <a:gd name="T27" fmla="*/ 0 h 292"/>
                <a:gd name="T28" fmla="*/ 130 w 293"/>
                <a:gd name="T29" fmla="*/ 1 h 292"/>
                <a:gd name="T30" fmla="*/ 108 w 293"/>
                <a:gd name="T31" fmla="*/ 4 h 292"/>
                <a:gd name="T32" fmla="*/ 92 w 293"/>
                <a:gd name="T33" fmla="*/ 9 h 292"/>
                <a:gd name="T34" fmla="*/ 73 w 293"/>
                <a:gd name="T35" fmla="*/ 19 h 292"/>
                <a:gd name="T36" fmla="*/ 61 w 293"/>
                <a:gd name="T37" fmla="*/ 27 h 292"/>
                <a:gd name="T38" fmla="*/ 59 w 293"/>
                <a:gd name="T39" fmla="*/ 28 h 292"/>
                <a:gd name="T40" fmla="*/ 43 w 293"/>
                <a:gd name="T41" fmla="*/ 42 h 292"/>
                <a:gd name="T42" fmla="*/ 31 w 293"/>
                <a:gd name="T43" fmla="*/ 56 h 292"/>
                <a:gd name="T44" fmla="*/ 20 w 293"/>
                <a:gd name="T45" fmla="*/ 72 h 292"/>
                <a:gd name="T46" fmla="*/ 12 w 293"/>
                <a:gd name="T47" fmla="*/ 87 h 292"/>
                <a:gd name="T48" fmla="*/ 5 w 293"/>
                <a:gd name="T49" fmla="*/ 107 h 292"/>
                <a:gd name="T50" fmla="*/ 2 w 293"/>
                <a:gd name="T51" fmla="*/ 123 h 292"/>
                <a:gd name="T52" fmla="*/ 0 w 293"/>
                <a:gd name="T53" fmla="*/ 145 h 292"/>
                <a:gd name="T54" fmla="*/ 1 w 293"/>
                <a:gd name="T55" fmla="*/ 160 h 292"/>
                <a:gd name="T56" fmla="*/ 9 w 293"/>
                <a:gd name="T57" fmla="*/ 195 h 292"/>
                <a:gd name="T58" fmla="*/ 10 w 293"/>
                <a:gd name="T59" fmla="*/ 200 h 292"/>
                <a:gd name="T60" fmla="*/ 26 w 293"/>
                <a:gd name="T61" fmla="*/ 229 h 292"/>
                <a:gd name="T62" fmla="*/ 34 w 293"/>
                <a:gd name="T63" fmla="*/ 239 h 292"/>
                <a:gd name="T64" fmla="*/ 80 w 293"/>
                <a:gd name="T65" fmla="*/ 276 h 292"/>
                <a:gd name="T66" fmla="*/ 136 w 293"/>
                <a:gd name="T67" fmla="*/ 292 h 292"/>
                <a:gd name="T68" fmla="*/ 148 w 293"/>
                <a:gd name="T69" fmla="*/ 292 h 292"/>
                <a:gd name="T70" fmla="*/ 182 w 293"/>
                <a:gd name="T71" fmla="*/ 288 h 292"/>
                <a:gd name="T72" fmla="*/ 187 w 293"/>
                <a:gd name="T73" fmla="*/ 287 h 292"/>
                <a:gd name="T74" fmla="*/ 219 w 293"/>
                <a:gd name="T75" fmla="*/ 273 h 292"/>
                <a:gd name="T76" fmla="*/ 232 w 293"/>
                <a:gd name="T77" fmla="*/ 265 h 292"/>
                <a:gd name="T78" fmla="*/ 250 w 293"/>
                <a:gd name="T79" fmla="*/ 250 h 292"/>
                <a:gd name="T80" fmla="*/ 261 w 293"/>
                <a:gd name="T81" fmla="*/ 238 h 292"/>
                <a:gd name="T82" fmla="*/ 273 w 293"/>
                <a:gd name="T83" fmla="*/ 220 h 292"/>
                <a:gd name="T84" fmla="*/ 281 w 293"/>
                <a:gd name="T85" fmla="*/ 205 h 292"/>
                <a:gd name="T86" fmla="*/ 287 w 293"/>
                <a:gd name="T87" fmla="*/ 187 h 292"/>
                <a:gd name="T88" fmla="*/ 291 w 293"/>
                <a:gd name="T89" fmla="*/ 169 h 292"/>
                <a:gd name="T90" fmla="*/ 293 w 293"/>
                <a:gd name="T91" fmla="*/ 148 h 2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293" h="292">
                  <a:moveTo>
                    <a:pt x="293" y="148"/>
                  </a:moveTo>
                  <a:lnTo>
                    <a:pt x="293" y="148"/>
                  </a:lnTo>
                  <a:cubicBezTo>
                    <a:pt x="293" y="147"/>
                    <a:pt x="293" y="146"/>
                    <a:pt x="293" y="145"/>
                  </a:cubicBezTo>
                  <a:cubicBezTo>
                    <a:pt x="293" y="143"/>
                    <a:pt x="293" y="141"/>
                    <a:pt x="293" y="138"/>
                  </a:cubicBezTo>
                  <a:cubicBezTo>
                    <a:pt x="293" y="136"/>
                    <a:pt x="293" y="134"/>
                    <a:pt x="293" y="132"/>
                  </a:cubicBezTo>
                  <a:cubicBezTo>
                    <a:pt x="292" y="131"/>
                    <a:pt x="292" y="130"/>
                    <a:pt x="292" y="129"/>
                  </a:cubicBezTo>
                  <a:cubicBezTo>
                    <a:pt x="292" y="126"/>
                    <a:pt x="291" y="122"/>
                    <a:pt x="291" y="119"/>
                  </a:cubicBezTo>
                  <a:cubicBezTo>
                    <a:pt x="290" y="116"/>
                    <a:pt x="289" y="113"/>
                    <a:pt x="289" y="110"/>
                  </a:cubicBezTo>
                  <a:cubicBezTo>
                    <a:pt x="288" y="109"/>
                    <a:pt x="288" y="108"/>
                    <a:pt x="288" y="107"/>
                  </a:cubicBezTo>
                  <a:cubicBezTo>
                    <a:pt x="287" y="104"/>
                    <a:pt x="287" y="103"/>
                    <a:pt x="286" y="101"/>
                  </a:cubicBezTo>
                  <a:cubicBezTo>
                    <a:pt x="285" y="99"/>
                    <a:pt x="285" y="97"/>
                    <a:pt x="284" y="94"/>
                  </a:cubicBezTo>
                  <a:cubicBezTo>
                    <a:pt x="284" y="93"/>
                    <a:pt x="283" y="93"/>
                    <a:pt x="283" y="91"/>
                  </a:cubicBezTo>
                  <a:cubicBezTo>
                    <a:pt x="282" y="88"/>
                    <a:pt x="280" y="86"/>
                    <a:pt x="279" y="83"/>
                  </a:cubicBezTo>
                  <a:cubicBezTo>
                    <a:pt x="277" y="80"/>
                    <a:pt x="276" y="77"/>
                    <a:pt x="274" y="74"/>
                  </a:cubicBezTo>
                  <a:cubicBezTo>
                    <a:pt x="274" y="73"/>
                    <a:pt x="274" y="72"/>
                    <a:pt x="273" y="72"/>
                  </a:cubicBezTo>
                  <a:cubicBezTo>
                    <a:pt x="272" y="70"/>
                    <a:pt x="271" y="68"/>
                    <a:pt x="269" y="66"/>
                  </a:cubicBezTo>
                  <a:cubicBezTo>
                    <a:pt x="268" y="64"/>
                    <a:pt x="267" y="62"/>
                    <a:pt x="266" y="60"/>
                  </a:cubicBezTo>
                  <a:cubicBezTo>
                    <a:pt x="265" y="59"/>
                    <a:pt x="264" y="58"/>
                    <a:pt x="264" y="58"/>
                  </a:cubicBezTo>
                  <a:cubicBezTo>
                    <a:pt x="262" y="56"/>
                    <a:pt x="261" y="54"/>
                    <a:pt x="259" y="52"/>
                  </a:cubicBezTo>
                  <a:cubicBezTo>
                    <a:pt x="256" y="49"/>
                    <a:pt x="254" y="45"/>
                    <a:pt x="251" y="42"/>
                  </a:cubicBezTo>
                  <a:cubicBezTo>
                    <a:pt x="250" y="42"/>
                    <a:pt x="250" y="42"/>
                    <a:pt x="250" y="42"/>
                  </a:cubicBezTo>
                  <a:cubicBezTo>
                    <a:pt x="249" y="41"/>
                    <a:pt x="249" y="41"/>
                    <a:pt x="248" y="40"/>
                  </a:cubicBezTo>
                  <a:cubicBezTo>
                    <a:pt x="245" y="37"/>
                    <a:pt x="242" y="34"/>
                    <a:pt x="239" y="31"/>
                  </a:cubicBezTo>
                  <a:cubicBezTo>
                    <a:pt x="238" y="31"/>
                    <a:pt x="237" y="30"/>
                    <a:pt x="236" y="30"/>
                  </a:cubicBezTo>
                  <a:cubicBezTo>
                    <a:pt x="235" y="29"/>
                    <a:pt x="234" y="28"/>
                    <a:pt x="233" y="27"/>
                  </a:cubicBezTo>
                  <a:cubicBezTo>
                    <a:pt x="229" y="25"/>
                    <a:pt x="225" y="22"/>
                    <a:pt x="221" y="19"/>
                  </a:cubicBezTo>
                  <a:cubicBezTo>
                    <a:pt x="221" y="19"/>
                    <a:pt x="221" y="19"/>
                    <a:pt x="220" y="19"/>
                  </a:cubicBezTo>
                  <a:cubicBezTo>
                    <a:pt x="218" y="17"/>
                    <a:pt x="216" y="16"/>
                    <a:pt x="213" y="15"/>
                  </a:cubicBezTo>
                  <a:cubicBezTo>
                    <a:pt x="211" y="14"/>
                    <a:pt x="209" y="13"/>
                    <a:pt x="206" y="11"/>
                  </a:cubicBezTo>
                  <a:cubicBezTo>
                    <a:pt x="206" y="11"/>
                    <a:pt x="205" y="11"/>
                    <a:pt x="205" y="11"/>
                  </a:cubicBezTo>
                  <a:cubicBezTo>
                    <a:pt x="201" y="9"/>
                    <a:pt x="196" y="8"/>
                    <a:pt x="192" y="6"/>
                  </a:cubicBezTo>
                  <a:cubicBezTo>
                    <a:pt x="191" y="6"/>
                    <a:pt x="189" y="5"/>
                    <a:pt x="188" y="5"/>
                  </a:cubicBezTo>
                  <a:cubicBezTo>
                    <a:pt x="187" y="5"/>
                    <a:pt x="186" y="4"/>
                    <a:pt x="185" y="4"/>
                  </a:cubicBezTo>
                  <a:cubicBezTo>
                    <a:pt x="181" y="4"/>
                    <a:pt x="177" y="3"/>
                    <a:pt x="173" y="2"/>
                  </a:cubicBezTo>
                  <a:cubicBezTo>
                    <a:pt x="172" y="2"/>
                    <a:pt x="171" y="2"/>
                    <a:pt x="170" y="2"/>
                  </a:cubicBezTo>
                  <a:cubicBezTo>
                    <a:pt x="170" y="2"/>
                    <a:pt x="170" y="2"/>
                    <a:pt x="169" y="2"/>
                  </a:cubicBezTo>
                  <a:cubicBezTo>
                    <a:pt x="165" y="1"/>
                    <a:pt x="161" y="1"/>
                    <a:pt x="157" y="0"/>
                  </a:cubicBezTo>
                  <a:cubicBezTo>
                    <a:pt x="154" y="0"/>
                    <a:pt x="152" y="0"/>
                    <a:pt x="149" y="0"/>
                  </a:cubicBezTo>
                  <a:cubicBezTo>
                    <a:pt x="148" y="0"/>
                    <a:pt x="147" y="0"/>
                    <a:pt x="146" y="0"/>
                  </a:cubicBezTo>
                  <a:lnTo>
                    <a:pt x="146" y="0"/>
                  </a:lnTo>
                  <a:lnTo>
                    <a:pt x="146" y="0"/>
                  </a:lnTo>
                  <a:lnTo>
                    <a:pt x="146" y="0"/>
                  </a:lnTo>
                  <a:cubicBezTo>
                    <a:pt x="144" y="0"/>
                    <a:pt x="142" y="0"/>
                    <a:pt x="139" y="0"/>
                  </a:cubicBezTo>
                  <a:cubicBezTo>
                    <a:pt x="137" y="0"/>
                    <a:pt x="135" y="0"/>
                    <a:pt x="133" y="0"/>
                  </a:cubicBezTo>
                  <a:cubicBezTo>
                    <a:pt x="132" y="1"/>
                    <a:pt x="131" y="1"/>
                    <a:pt x="130" y="1"/>
                  </a:cubicBezTo>
                  <a:cubicBezTo>
                    <a:pt x="127" y="1"/>
                    <a:pt x="123" y="2"/>
                    <a:pt x="120" y="2"/>
                  </a:cubicBezTo>
                  <a:cubicBezTo>
                    <a:pt x="117" y="3"/>
                    <a:pt x="114" y="4"/>
                    <a:pt x="111" y="4"/>
                  </a:cubicBezTo>
                  <a:cubicBezTo>
                    <a:pt x="110" y="4"/>
                    <a:pt x="109" y="4"/>
                    <a:pt x="108" y="4"/>
                  </a:cubicBezTo>
                  <a:cubicBezTo>
                    <a:pt x="105" y="5"/>
                    <a:pt x="104" y="5"/>
                    <a:pt x="102" y="6"/>
                  </a:cubicBezTo>
                  <a:cubicBezTo>
                    <a:pt x="100" y="7"/>
                    <a:pt x="98" y="7"/>
                    <a:pt x="96" y="8"/>
                  </a:cubicBezTo>
                  <a:cubicBezTo>
                    <a:pt x="94" y="8"/>
                    <a:pt x="94" y="9"/>
                    <a:pt x="92" y="9"/>
                  </a:cubicBezTo>
                  <a:cubicBezTo>
                    <a:pt x="89" y="10"/>
                    <a:pt x="87" y="12"/>
                    <a:pt x="84" y="13"/>
                  </a:cubicBezTo>
                  <a:cubicBezTo>
                    <a:pt x="81" y="15"/>
                    <a:pt x="78" y="16"/>
                    <a:pt x="75" y="18"/>
                  </a:cubicBezTo>
                  <a:cubicBezTo>
                    <a:pt x="74" y="18"/>
                    <a:pt x="73" y="18"/>
                    <a:pt x="73" y="19"/>
                  </a:cubicBezTo>
                  <a:cubicBezTo>
                    <a:pt x="71" y="20"/>
                    <a:pt x="69" y="21"/>
                    <a:pt x="67" y="23"/>
                  </a:cubicBezTo>
                  <a:cubicBezTo>
                    <a:pt x="65" y="24"/>
                    <a:pt x="63" y="25"/>
                    <a:pt x="61" y="26"/>
                  </a:cubicBezTo>
                  <a:lnTo>
                    <a:pt x="61" y="27"/>
                  </a:lnTo>
                  <a:lnTo>
                    <a:pt x="61" y="27"/>
                  </a:lnTo>
                  <a:lnTo>
                    <a:pt x="61" y="26"/>
                  </a:lnTo>
                  <a:cubicBezTo>
                    <a:pt x="60" y="27"/>
                    <a:pt x="59" y="28"/>
                    <a:pt x="59" y="28"/>
                  </a:cubicBezTo>
                  <a:cubicBezTo>
                    <a:pt x="57" y="30"/>
                    <a:pt x="55" y="31"/>
                    <a:pt x="53" y="33"/>
                  </a:cubicBezTo>
                  <a:cubicBezTo>
                    <a:pt x="50" y="36"/>
                    <a:pt x="46" y="38"/>
                    <a:pt x="43" y="41"/>
                  </a:cubicBezTo>
                  <a:cubicBezTo>
                    <a:pt x="43" y="42"/>
                    <a:pt x="43" y="42"/>
                    <a:pt x="43" y="42"/>
                  </a:cubicBezTo>
                  <a:cubicBezTo>
                    <a:pt x="42" y="43"/>
                    <a:pt x="42" y="43"/>
                    <a:pt x="41" y="44"/>
                  </a:cubicBezTo>
                  <a:cubicBezTo>
                    <a:pt x="38" y="47"/>
                    <a:pt x="35" y="50"/>
                    <a:pt x="32" y="53"/>
                  </a:cubicBezTo>
                  <a:cubicBezTo>
                    <a:pt x="32" y="54"/>
                    <a:pt x="31" y="55"/>
                    <a:pt x="31" y="56"/>
                  </a:cubicBezTo>
                  <a:cubicBezTo>
                    <a:pt x="30" y="57"/>
                    <a:pt x="29" y="58"/>
                    <a:pt x="28" y="59"/>
                  </a:cubicBezTo>
                  <a:cubicBezTo>
                    <a:pt x="26" y="63"/>
                    <a:pt x="23" y="67"/>
                    <a:pt x="20" y="71"/>
                  </a:cubicBezTo>
                  <a:cubicBezTo>
                    <a:pt x="20" y="71"/>
                    <a:pt x="20" y="71"/>
                    <a:pt x="20" y="72"/>
                  </a:cubicBezTo>
                  <a:cubicBezTo>
                    <a:pt x="18" y="74"/>
                    <a:pt x="17" y="76"/>
                    <a:pt x="16" y="79"/>
                  </a:cubicBezTo>
                  <a:cubicBezTo>
                    <a:pt x="15" y="81"/>
                    <a:pt x="14" y="83"/>
                    <a:pt x="12" y="86"/>
                  </a:cubicBezTo>
                  <a:cubicBezTo>
                    <a:pt x="12" y="86"/>
                    <a:pt x="12" y="87"/>
                    <a:pt x="12" y="87"/>
                  </a:cubicBezTo>
                  <a:cubicBezTo>
                    <a:pt x="10" y="91"/>
                    <a:pt x="9" y="96"/>
                    <a:pt x="7" y="100"/>
                  </a:cubicBezTo>
                  <a:cubicBezTo>
                    <a:pt x="7" y="101"/>
                    <a:pt x="6" y="103"/>
                    <a:pt x="6" y="104"/>
                  </a:cubicBezTo>
                  <a:cubicBezTo>
                    <a:pt x="6" y="105"/>
                    <a:pt x="5" y="106"/>
                    <a:pt x="5" y="107"/>
                  </a:cubicBezTo>
                  <a:cubicBezTo>
                    <a:pt x="4" y="111"/>
                    <a:pt x="3" y="115"/>
                    <a:pt x="2" y="119"/>
                  </a:cubicBezTo>
                  <a:cubicBezTo>
                    <a:pt x="2" y="120"/>
                    <a:pt x="2" y="121"/>
                    <a:pt x="2" y="122"/>
                  </a:cubicBezTo>
                  <a:cubicBezTo>
                    <a:pt x="2" y="122"/>
                    <a:pt x="2" y="122"/>
                    <a:pt x="2" y="123"/>
                  </a:cubicBezTo>
                  <a:cubicBezTo>
                    <a:pt x="1" y="127"/>
                    <a:pt x="1" y="131"/>
                    <a:pt x="0" y="135"/>
                  </a:cubicBezTo>
                  <a:cubicBezTo>
                    <a:pt x="0" y="138"/>
                    <a:pt x="0" y="140"/>
                    <a:pt x="0" y="143"/>
                  </a:cubicBezTo>
                  <a:cubicBezTo>
                    <a:pt x="0" y="144"/>
                    <a:pt x="0" y="145"/>
                    <a:pt x="0" y="145"/>
                  </a:cubicBezTo>
                  <a:cubicBezTo>
                    <a:pt x="0" y="150"/>
                    <a:pt x="0" y="155"/>
                    <a:pt x="0" y="159"/>
                  </a:cubicBezTo>
                  <a:cubicBezTo>
                    <a:pt x="0" y="159"/>
                    <a:pt x="0" y="159"/>
                    <a:pt x="0" y="159"/>
                  </a:cubicBezTo>
                  <a:cubicBezTo>
                    <a:pt x="1" y="160"/>
                    <a:pt x="1" y="160"/>
                    <a:pt x="1" y="160"/>
                  </a:cubicBezTo>
                  <a:cubicBezTo>
                    <a:pt x="1" y="166"/>
                    <a:pt x="2" y="171"/>
                    <a:pt x="3" y="176"/>
                  </a:cubicBezTo>
                  <a:cubicBezTo>
                    <a:pt x="3" y="177"/>
                    <a:pt x="4" y="179"/>
                    <a:pt x="4" y="180"/>
                  </a:cubicBezTo>
                  <a:cubicBezTo>
                    <a:pt x="5" y="185"/>
                    <a:pt x="7" y="190"/>
                    <a:pt x="9" y="195"/>
                  </a:cubicBezTo>
                  <a:cubicBezTo>
                    <a:pt x="9" y="195"/>
                    <a:pt x="9" y="195"/>
                    <a:pt x="9" y="196"/>
                  </a:cubicBezTo>
                  <a:cubicBezTo>
                    <a:pt x="9" y="196"/>
                    <a:pt x="9" y="196"/>
                    <a:pt x="9" y="196"/>
                  </a:cubicBezTo>
                  <a:cubicBezTo>
                    <a:pt x="9" y="198"/>
                    <a:pt x="10" y="199"/>
                    <a:pt x="10" y="200"/>
                  </a:cubicBezTo>
                  <a:cubicBezTo>
                    <a:pt x="12" y="203"/>
                    <a:pt x="13" y="207"/>
                    <a:pt x="15" y="211"/>
                  </a:cubicBezTo>
                  <a:cubicBezTo>
                    <a:pt x="16" y="213"/>
                    <a:pt x="17" y="215"/>
                    <a:pt x="18" y="217"/>
                  </a:cubicBezTo>
                  <a:cubicBezTo>
                    <a:pt x="21" y="221"/>
                    <a:pt x="24" y="225"/>
                    <a:pt x="26" y="229"/>
                  </a:cubicBezTo>
                  <a:cubicBezTo>
                    <a:pt x="27" y="230"/>
                    <a:pt x="27" y="231"/>
                    <a:pt x="27" y="231"/>
                  </a:cubicBezTo>
                  <a:cubicBezTo>
                    <a:pt x="29" y="234"/>
                    <a:pt x="31" y="236"/>
                    <a:pt x="34" y="239"/>
                  </a:cubicBezTo>
                  <a:cubicBezTo>
                    <a:pt x="34" y="239"/>
                    <a:pt x="34" y="239"/>
                    <a:pt x="34" y="239"/>
                  </a:cubicBezTo>
                  <a:lnTo>
                    <a:pt x="34" y="239"/>
                  </a:lnTo>
                  <a:cubicBezTo>
                    <a:pt x="43" y="250"/>
                    <a:pt x="52" y="259"/>
                    <a:pt x="64" y="267"/>
                  </a:cubicBezTo>
                  <a:cubicBezTo>
                    <a:pt x="69" y="270"/>
                    <a:pt x="74" y="273"/>
                    <a:pt x="80" y="276"/>
                  </a:cubicBezTo>
                  <a:cubicBezTo>
                    <a:pt x="85" y="279"/>
                    <a:pt x="91" y="281"/>
                    <a:pt x="97" y="283"/>
                  </a:cubicBezTo>
                  <a:cubicBezTo>
                    <a:pt x="109" y="288"/>
                    <a:pt x="123" y="291"/>
                    <a:pt x="136" y="292"/>
                  </a:cubicBezTo>
                  <a:lnTo>
                    <a:pt x="136" y="292"/>
                  </a:lnTo>
                  <a:cubicBezTo>
                    <a:pt x="136" y="292"/>
                    <a:pt x="137" y="292"/>
                    <a:pt x="137" y="292"/>
                  </a:cubicBezTo>
                  <a:cubicBezTo>
                    <a:pt x="140" y="292"/>
                    <a:pt x="143" y="292"/>
                    <a:pt x="146" y="292"/>
                  </a:cubicBezTo>
                  <a:cubicBezTo>
                    <a:pt x="147" y="292"/>
                    <a:pt x="148" y="292"/>
                    <a:pt x="148" y="292"/>
                  </a:cubicBezTo>
                  <a:cubicBezTo>
                    <a:pt x="153" y="292"/>
                    <a:pt x="158" y="292"/>
                    <a:pt x="163" y="291"/>
                  </a:cubicBezTo>
                  <a:cubicBezTo>
                    <a:pt x="166" y="291"/>
                    <a:pt x="168" y="290"/>
                    <a:pt x="170" y="290"/>
                  </a:cubicBezTo>
                  <a:cubicBezTo>
                    <a:pt x="174" y="289"/>
                    <a:pt x="178" y="289"/>
                    <a:pt x="182" y="288"/>
                  </a:cubicBezTo>
                  <a:cubicBezTo>
                    <a:pt x="183" y="287"/>
                    <a:pt x="184" y="287"/>
                    <a:pt x="185" y="287"/>
                  </a:cubicBezTo>
                  <a:cubicBezTo>
                    <a:pt x="186" y="287"/>
                    <a:pt x="186" y="287"/>
                    <a:pt x="186" y="287"/>
                  </a:cubicBezTo>
                  <a:cubicBezTo>
                    <a:pt x="186" y="287"/>
                    <a:pt x="186" y="287"/>
                    <a:pt x="187" y="287"/>
                  </a:cubicBezTo>
                  <a:cubicBezTo>
                    <a:pt x="192" y="285"/>
                    <a:pt x="197" y="283"/>
                    <a:pt x="202" y="281"/>
                  </a:cubicBezTo>
                  <a:cubicBezTo>
                    <a:pt x="203" y="281"/>
                    <a:pt x="204" y="280"/>
                    <a:pt x="206" y="280"/>
                  </a:cubicBezTo>
                  <a:cubicBezTo>
                    <a:pt x="210" y="278"/>
                    <a:pt x="215" y="275"/>
                    <a:pt x="219" y="273"/>
                  </a:cubicBezTo>
                  <a:cubicBezTo>
                    <a:pt x="220" y="273"/>
                    <a:pt x="220" y="272"/>
                    <a:pt x="220" y="272"/>
                  </a:cubicBezTo>
                  <a:cubicBezTo>
                    <a:pt x="221" y="272"/>
                    <a:pt x="221" y="272"/>
                    <a:pt x="221" y="272"/>
                  </a:cubicBezTo>
                  <a:cubicBezTo>
                    <a:pt x="225" y="270"/>
                    <a:pt x="228" y="267"/>
                    <a:pt x="232" y="265"/>
                  </a:cubicBezTo>
                  <a:cubicBezTo>
                    <a:pt x="233" y="264"/>
                    <a:pt x="234" y="263"/>
                    <a:pt x="234" y="263"/>
                  </a:cubicBezTo>
                  <a:cubicBezTo>
                    <a:pt x="236" y="261"/>
                    <a:pt x="238" y="260"/>
                    <a:pt x="240" y="258"/>
                  </a:cubicBezTo>
                  <a:cubicBezTo>
                    <a:pt x="243" y="255"/>
                    <a:pt x="247" y="253"/>
                    <a:pt x="250" y="250"/>
                  </a:cubicBezTo>
                  <a:cubicBezTo>
                    <a:pt x="250" y="249"/>
                    <a:pt x="250" y="249"/>
                    <a:pt x="250" y="249"/>
                  </a:cubicBezTo>
                  <a:cubicBezTo>
                    <a:pt x="251" y="248"/>
                    <a:pt x="251" y="248"/>
                    <a:pt x="252" y="247"/>
                  </a:cubicBezTo>
                  <a:cubicBezTo>
                    <a:pt x="255" y="244"/>
                    <a:pt x="258" y="241"/>
                    <a:pt x="261" y="238"/>
                  </a:cubicBezTo>
                  <a:cubicBezTo>
                    <a:pt x="261" y="237"/>
                    <a:pt x="262" y="236"/>
                    <a:pt x="262" y="235"/>
                  </a:cubicBezTo>
                  <a:cubicBezTo>
                    <a:pt x="263" y="234"/>
                    <a:pt x="264" y="233"/>
                    <a:pt x="265" y="232"/>
                  </a:cubicBezTo>
                  <a:cubicBezTo>
                    <a:pt x="267" y="228"/>
                    <a:pt x="270" y="224"/>
                    <a:pt x="273" y="220"/>
                  </a:cubicBezTo>
                  <a:cubicBezTo>
                    <a:pt x="273" y="220"/>
                    <a:pt x="273" y="220"/>
                    <a:pt x="273" y="219"/>
                  </a:cubicBezTo>
                  <a:cubicBezTo>
                    <a:pt x="274" y="217"/>
                    <a:pt x="275" y="215"/>
                    <a:pt x="277" y="213"/>
                  </a:cubicBezTo>
                  <a:cubicBezTo>
                    <a:pt x="278" y="210"/>
                    <a:pt x="279" y="208"/>
                    <a:pt x="281" y="205"/>
                  </a:cubicBezTo>
                  <a:cubicBezTo>
                    <a:pt x="281" y="205"/>
                    <a:pt x="281" y="204"/>
                    <a:pt x="281" y="204"/>
                  </a:cubicBezTo>
                  <a:cubicBezTo>
                    <a:pt x="283" y="200"/>
                    <a:pt x="284" y="196"/>
                    <a:pt x="286" y="191"/>
                  </a:cubicBezTo>
                  <a:cubicBezTo>
                    <a:pt x="286" y="190"/>
                    <a:pt x="287" y="188"/>
                    <a:pt x="287" y="187"/>
                  </a:cubicBezTo>
                  <a:cubicBezTo>
                    <a:pt x="287" y="186"/>
                    <a:pt x="288" y="185"/>
                    <a:pt x="288" y="184"/>
                  </a:cubicBezTo>
                  <a:cubicBezTo>
                    <a:pt x="289" y="180"/>
                    <a:pt x="290" y="176"/>
                    <a:pt x="291" y="172"/>
                  </a:cubicBezTo>
                  <a:cubicBezTo>
                    <a:pt x="291" y="171"/>
                    <a:pt x="291" y="170"/>
                    <a:pt x="291" y="169"/>
                  </a:cubicBezTo>
                  <a:cubicBezTo>
                    <a:pt x="291" y="169"/>
                    <a:pt x="291" y="169"/>
                    <a:pt x="291" y="168"/>
                  </a:cubicBezTo>
                  <a:cubicBezTo>
                    <a:pt x="292" y="164"/>
                    <a:pt x="292" y="160"/>
                    <a:pt x="292" y="156"/>
                  </a:cubicBezTo>
                  <a:cubicBezTo>
                    <a:pt x="293" y="153"/>
                    <a:pt x="293" y="151"/>
                    <a:pt x="293" y="148"/>
                  </a:cubicBezTo>
                  <a:close/>
                </a:path>
              </a:pathLst>
            </a:custGeom>
            <a:solidFill>
              <a:srgbClr val="0078D4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" name="Freeform 102">
              <a:extLst>
                <a:ext uri="{FF2B5EF4-FFF2-40B4-BE49-F238E27FC236}">
                  <a16:creationId xmlns:a16="http://schemas.microsoft.com/office/drawing/2014/main" id="{CA4F68AD-217E-4C2A-8E9D-9607AA5C8C09}"/>
                </a:ext>
              </a:extLst>
            </p:cNvPr>
            <p:cNvSpPr>
              <a:spLocks/>
            </p:cNvSpPr>
            <p:nvPr/>
          </p:nvSpPr>
          <p:spPr bwMode="auto">
            <a:xfrm>
              <a:off x="1243893" y="3240856"/>
              <a:ext cx="311599" cy="311600"/>
            </a:xfrm>
            <a:custGeom>
              <a:avLst/>
              <a:gdLst>
                <a:gd name="T0" fmla="*/ 186 w 186"/>
                <a:gd name="T1" fmla="*/ 19 h 186"/>
                <a:gd name="T2" fmla="*/ 186 w 186"/>
                <a:gd name="T3" fmla="*/ 19 h 186"/>
                <a:gd name="T4" fmla="*/ 22 w 186"/>
                <a:gd name="T5" fmla="*/ 183 h 186"/>
                <a:gd name="T6" fmla="*/ 13 w 186"/>
                <a:gd name="T7" fmla="*/ 186 h 186"/>
                <a:gd name="T8" fmla="*/ 3 w 186"/>
                <a:gd name="T9" fmla="*/ 183 h 186"/>
                <a:gd name="T10" fmla="*/ 0 w 186"/>
                <a:gd name="T11" fmla="*/ 173 h 186"/>
                <a:gd name="T12" fmla="*/ 3 w 186"/>
                <a:gd name="T13" fmla="*/ 164 h 186"/>
                <a:gd name="T14" fmla="*/ 167 w 186"/>
                <a:gd name="T15" fmla="*/ 0 h 186"/>
                <a:gd name="T16" fmla="*/ 186 w 186"/>
                <a:gd name="T17" fmla="*/ 19 h 1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86" h="186">
                  <a:moveTo>
                    <a:pt x="186" y="19"/>
                  </a:moveTo>
                  <a:lnTo>
                    <a:pt x="186" y="19"/>
                  </a:lnTo>
                  <a:lnTo>
                    <a:pt x="22" y="183"/>
                  </a:lnTo>
                  <a:cubicBezTo>
                    <a:pt x="20" y="185"/>
                    <a:pt x="16" y="186"/>
                    <a:pt x="13" y="186"/>
                  </a:cubicBezTo>
                  <a:cubicBezTo>
                    <a:pt x="9" y="186"/>
                    <a:pt x="6" y="185"/>
                    <a:pt x="3" y="183"/>
                  </a:cubicBezTo>
                  <a:cubicBezTo>
                    <a:pt x="1" y="180"/>
                    <a:pt x="0" y="177"/>
                    <a:pt x="0" y="173"/>
                  </a:cubicBezTo>
                  <a:cubicBezTo>
                    <a:pt x="0" y="170"/>
                    <a:pt x="1" y="166"/>
                    <a:pt x="3" y="164"/>
                  </a:cubicBezTo>
                  <a:lnTo>
                    <a:pt x="167" y="0"/>
                  </a:lnTo>
                  <a:lnTo>
                    <a:pt x="186" y="19"/>
                  </a:lnTo>
                  <a:close/>
                </a:path>
              </a:pathLst>
            </a:custGeom>
            <a:solidFill>
              <a:srgbClr val="0078D4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" name="Freeform 103">
              <a:extLst>
                <a:ext uri="{FF2B5EF4-FFF2-40B4-BE49-F238E27FC236}">
                  <a16:creationId xmlns:a16="http://schemas.microsoft.com/office/drawing/2014/main" id="{732397AE-D1A2-49DE-B001-48993603FEEF}"/>
                </a:ext>
              </a:extLst>
            </p:cNvPr>
            <p:cNvSpPr>
              <a:spLocks/>
            </p:cNvSpPr>
            <p:nvPr/>
          </p:nvSpPr>
          <p:spPr bwMode="auto">
            <a:xfrm>
              <a:off x="1512139" y="2883194"/>
              <a:ext cx="403724" cy="403725"/>
            </a:xfrm>
            <a:custGeom>
              <a:avLst/>
              <a:gdLst>
                <a:gd name="T0" fmla="*/ 120 w 240"/>
                <a:gd name="T1" fmla="*/ 240 h 240"/>
                <a:gd name="T2" fmla="*/ 120 w 240"/>
                <a:gd name="T3" fmla="*/ 240 h 240"/>
                <a:gd name="T4" fmla="*/ 167 w 240"/>
                <a:gd name="T5" fmla="*/ 230 h 240"/>
                <a:gd name="T6" fmla="*/ 205 w 240"/>
                <a:gd name="T7" fmla="*/ 204 h 240"/>
                <a:gd name="T8" fmla="*/ 231 w 240"/>
                <a:gd name="T9" fmla="*/ 166 h 240"/>
                <a:gd name="T10" fmla="*/ 240 w 240"/>
                <a:gd name="T11" fmla="*/ 120 h 240"/>
                <a:gd name="T12" fmla="*/ 231 w 240"/>
                <a:gd name="T13" fmla="*/ 73 h 240"/>
                <a:gd name="T14" fmla="*/ 205 w 240"/>
                <a:gd name="T15" fmla="*/ 35 h 240"/>
                <a:gd name="T16" fmla="*/ 167 w 240"/>
                <a:gd name="T17" fmla="*/ 9 h 240"/>
                <a:gd name="T18" fmla="*/ 120 w 240"/>
                <a:gd name="T19" fmla="*/ 0 h 240"/>
                <a:gd name="T20" fmla="*/ 74 w 240"/>
                <a:gd name="T21" fmla="*/ 9 h 240"/>
                <a:gd name="T22" fmla="*/ 36 w 240"/>
                <a:gd name="T23" fmla="*/ 35 h 240"/>
                <a:gd name="T24" fmla="*/ 10 w 240"/>
                <a:gd name="T25" fmla="*/ 73 h 240"/>
                <a:gd name="T26" fmla="*/ 0 w 240"/>
                <a:gd name="T27" fmla="*/ 120 h 240"/>
                <a:gd name="T28" fmla="*/ 10 w 240"/>
                <a:gd name="T29" fmla="*/ 166 h 240"/>
                <a:gd name="T30" fmla="*/ 36 w 240"/>
                <a:gd name="T31" fmla="*/ 204 h 240"/>
                <a:gd name="T32" fmla="*/ 74 w 240"/>
                <a:gd name="T33" fmla="*/ 230 h 240"/>
                <a:gd name="T34" fmla="*/ 120 w 240"/>
                <a:gd name="T35" fmla="*/ 240 h 2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40" h="240">
                  <a:moveTo>
                    <a:pt x="120" y="240"/>
                  </a:moveTo>
                  <a:lnTo>
                    <a:pt x="120" y="240"/>
                  </a:lnTo>
                  <a:cubicBezTo>
                    <a:pt x="137" y="240"/>
                    <a:pt x="153" y="236"/>
                    <a:pt x="167" y="230"/>
                  </a:cubicBezTo>
                  <a:cubicBezTo>
                    <a:pt x="182" y="224"/>
                    <a:pt x="194" y="215"/>
                    <a:pt x="205" y="204"/>
                  </a:cubicBezTo>
                  <a:cubicBezTo>
                    <a:pt x="216" y="193"/>
                    <a:pt x="225" y="181"/>
                    <a:pt x="231" y="166"/>
                  </a:cubicBezTo>
                  <a:cubicBezTo>
                    <a:pt x="237" y="152"/>
                    <a:pt x="240" y="136"/>
                    <a:pt x="240" y="120"/>
                  </a:cubicBezTo>
                  <a:cubicBezTo>
                    <a:pt x="240" y="103"/>
                    <a:pt x="237" y="87"/>
                    <a:pt x="231" y="73"/>
                  </a:cubicBezTo>
                  <a:cubicBezTo>
                    <a:pt x="225" y="58"/>
                    <a:pt x="216" y="46"/>
                    <a:pt x="205" y="35"/>
                  </a:cubicBezTo>
                  <a:cubicBezTo>
                    <a:pt x="194" y="24"/>
                    <a:pt x="182" y="15"/>
                    <a:pt x="167" y="9"/>
                  </a:cubicBezTo>
                  <a:cubicBezTo>
                    <a:pt x="153" y="3"/>
                    <a:pt x="137" y="0"/>
                    <a:pt x="120" y="0"/>
                  </a:cubicBezTo>
                  <a:cubicBezTo>
                    <a:pt x="104" y="0"/>
                    <a:pt x="88" y="3"/>
                    <a:pt x="74" y="9"/>
                  </a:cubicBezTo>
                  <a:cubicBezTo>
                    <a:pt x="59" y="15"/>
                    <a:pt x="47" y="24"/>
                    <a:pt x="36" y="35"/>
                  </a:cubicBezTo>
                  <a:cubicBezTo>
                    <a:pt x="25" y="46"/>
                    <a:pt x="16" y="58"/>
                    <a:pt x="10" y="73"/>
                  </a:cubicBezTo>
                  <a:cubicBezTo>
                    <a:pt x="4" y="87"/>
                    <a:pt x="0" y="103"/>
                    <a:pt x="0" y="120"/>
                  </a:cubicBezTo>
                  <a:cubicBezTo>
                    <a:pt x="0" y="136"/>
                    <a:pt x="4" y="152"/>
                    <a:pt x="10" y="166"/>
                  </a:cubicBezTo>
                  <a:cubicBezTo>
                    <a:pt x="16" y="181"/>
                    <a:pt x="25" y="193"/>
                    <a:pt x="36" y="204"/>
                  </a:cubicBezTo>
                  <a:cubicBezTo>
                    <a:pt x="47" y="215"/>
                    <a:pt x="59" y="224"/>
                    <a:pt x="74" y="230"/>
                  </a:cubicBezTo>
                  <a:cubicBezTo>
                    <a:pt x="88" y="236"/>
                    <a:pt x="104" y="240"/>
                    <a:pt x="120" y="240"/>
                  </a:cubicBezTo>
                  <a:close/>
                </a:path>
              </a:pathLst>
            </a:custGeom>
            <a:solidFill>
              <a:schemeClr val="bg1"/>
            </a:solidFill>
            <a:ln w="12700">
              <a:solidFill>
                <a:srgbClr val="0078D4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sp>
        <p:nvSpPr>
          <p:cNvPr id="5" name="TextBox 4">
            <a:extLst>
              <a:ext uri="{FF2B5EF4-FFF2-40B4-BE49-F238E27FC236}">
                <a16:creationId xmlns:a16="http://schemas.microsoft.com/office/drawing/2014/main" id="{DF97D934-C634-4A60-847E-8B9444AFB787}"/>
              </a:ext>
            </a:extLst>
          </p:cNvPr>
          <p:cNvSpPr txBox="1"/>
          <p:nvPr/>
        </p:nvSpPr>
        <p:spPr>
          <a:xfrm>
            <a:off x="0" y="5279302"/>
            <a:ext cx="12192000" cy="683264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en-GB" sz="2800" dirty="0">
                <a:solidFill>
                  <a:srgbClr val="0078D4"/>
                </a:solidFill>
              </a:rPr>
              <a:t>https://aka.ms/discoverychecklist</a:t>
            </a:r>
          </a:p>
        </p:txBody>
      </p:sp>
      <p:pic>
        <p:nvPicPr>
          <p:cNvPr id="6" name="Graphic 5" descr="Boardroom outline">
            <a:extLst>
              <a:ext uri="{FF2B5EF4-FFF2-40B4-BE49-F238E27FC236}">
                <a16:creationId xmlns:a16="http://schemas.microsoft.com/office/drawing/2014/main" id="{69D46B81-961B-45D7-8342-4E556B93CF1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7001435" y="1467600"/>
            <a:ext cx="3473824" cy="34738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0188349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Title 1">
            <a:extLst>
              <a:ext uri="{FF2B5EF4-FFF2-40B4-BE49-F238E27FC236}">
                <a16:creationId xmlns:a16="http://schemas.microsoft.com/office/drawing/2014/main" id="{BECD9960-6DF9-4966-B2D6-F0D932774082}"/>
              </a:ext>
            </a:extLst>
          </p:cNvPr>
          <p:cNvSpPr txBox="1">
            <a:spLocks/>
          </p:cNvSpPr>
          <p:nvPr/>
        </p:nvSpPr>
        <p:spPr>
          <a:xfrm>
            <a:off x="486232" y="5795732"/>
            <a:ext cx="11373365" cy="553841"/>
          </a:xfrm>
          <a:prstGeom prst="rect">
            <a:avLst/>
          </a:prstGeom>
        </p:spPr>
        <p:txBody>
          <a:bodyPr vert="horz" wrap="square" lIns="0" tIns="89630" rIns="143407" bIns="89630" rtlCol="0" anchor="t">
            <a:noAutofit/>
          </a:bodyPr>
          <a:lstStyle>
            <a:lvl1pPr algn="l" defTabSz="93256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800" b="0" kern="1200" cap="none" spc="-50" baseline="0" dirty="0" smtClean="0">
                <a:ln w="3175">
                  <a:noFill/>
                </a:ln>
                <a:solidFill>
                  <a:srgbClr val="000000"/>
                </a:soli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defTabSz="932384"/>
            <a:endParaRPr lang="en-US" sz="2745" dirty="0">
              <a:latin typeface="Segoe UI Semibold (Headings)"/>
              <a:cs typeface="Segoe UI Semibold" panose="020B0702040204020203" pitchFamily="34" charset="0"/>
            </a:endParaRP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D90A74E4-D033-244F-8BBF-AB016E603C6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5995" y="881209"/>
            <a:ext cx="11653518" cy="482763"/>
          </a:xfrm>
        </p:spPr>
        <p:txBody>
          <a:bodyPr/>
          <a:lstStyle/>
          <a:p>
            <a:r>
              <a:rPr lang="en-US" dirty="0"/>
              <a:t>Pick the tooling to help your workload discovery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A78D8B18-2C28-6B43-B3A0-D2E53B6355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5995" y="433143"/>
            <a:ext cx="11303917" cy="813704"/>
          </a:xfrm>
        </p:spPr>
        <p:txBody>
          <a:bodyPr/>
          <a:lstStyle/>
          <a:p>
            <a:r>
              <a:rPr lang="en-US" dirty="0"/>
              <a:t>Tooling</a:t>
            </a:r>
          </a:p>
        </p:txBody>
      </p:sp>
      <p:sp>
        <p:nvSpPr>
          <p:cNvPr id="3" name="bk object 17">
            <a:extLst>
              <a:ext uri="{FF2B5EF4-FFF2-40B4-BE49-F238E27FC236}">
                <a16:creationId xmlns:a16="http://schemas.microsoft.com/office/drawing/2014/main" id="{407B5CDC-D413-4E99-A645-F0412DF2C438}"/>
              </a:ext>
            </a:extLst>
          </p:cNvPr>
          <p:cNvSpPr/>
          <p:nvPr/>
        </p:nvSpPr>
        <p:spPr>
          <a:xfrm>
            <a:off x="0" y="6497955"/>
            <a:ext cx="12192000" cy="360045"/>
          </a:xfrm>
          <a:custGeom>
            <a:avLst/>
            <a:gdLst/>
            <a:ahLst/>
            <a:cxnLst/>
            <a:rect l="l" t="t" r="r" b="b"/>
            <a:pathLst>
              <a:path w="12434570" h="360045">
                <a:moveTo>
                  <a:pt x="0" y="359994"/>
                </a:moveTo>
                <a:lnTo>
                  <a:pt x="12434404" y="359994"/>
                </a:lnTo>
                <a:lnTo>
                  <a:pt x="12434404" y="0"/>
                </a:lnTo>
                <a:lnTo>
                  <a:pt x="0" y="0"/>
                </a:lnTo>
                <a:lnTo>
                  <a:pt x="0" y="359994"/>
                </a:lnTo>
                <a:close/>
              </a:path>
            </a:pathLst>
          </a:custGeom>
          <a:solidFill>
            <a:srgbClr val="007FBA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5CE847B4-938E-47E7-9154-2FC09972926D}"/>
              </a:ext>
            </a:extLst>
          </p:cNvPr>
          <p:cNvSpPr txBox="1"/>
          <p:nvPr/>
        </p:nvSpPr>
        <p:spPr>
          <a:xfrm>
            <a:off x="7278010" y="6591175"/>
            <a:ext cx="425867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100" b="0" i="0" kern="0" spc="-20" baseline="0" dirty="0">
                <a:solidFill>
                  <a:schemeClr val="bg1"/>
                </a:solidFill>
                <a:latin typeface="Segoe UI Semibold" charset="0"/>
              </a:rPr>
              <a:t>Microsoft Azure    </a:t>
            </a:r>
            <a:r>
              <a:rPr lang="en-US" sz="1100" b="0" i="0" kern="0" spc="-20" baseline="0" dirty="0">
                <a:solidFill>
                  <a:schemeClr val="bg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|  @</a:t>
            </a:r>
            <a:r>
              <a:rPr lang="en-US" sz="1100" b="0" i="0" kern="0" spc="-20" baseline="0" dirty="0" err="1">
                <a:solidFill>
                  <a:schemeClr val="bg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Techielass</a:t>
            </a:r>
            <a:endParaRPr lang="en-US" sz="1100" b="0" i="0" kern="0" spc="-20" baseline="0" dirty="0">
              <a:solidFill>
                <a:schemeClr val="bg1"/>
              </a:solidFill>
              <a:latin typeface="Segoe UI Semilight" panose="020B0402040204020203" pitchFamily="34" charset="0"/>
              <a:ea typeface="Segoe UI Semilight" charset="0"/>
              <a:cs typeface="Segoe UI Semilight" panose="020B0402040204020203" pitchFamily="34" charset="0"/>
            </a:endParaRP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E98C1320-FD72-4775-AADA-B630CA342B91}"/>
              </a:ext>
            </a:extLst>
          </p:cNvPr>
          <p:cNvGrpSpPr/>
          <p:nvPr/>
        </p:nvGrpSpPr>
        <p:grpSpPr>
          <a:xfrm>
            <a:off x="11089341" y="284761"/>
            <a:ext cx="885005" cy="746180"/>
            <a:chOff x="1243893" y="2839841"/>
            <a:chExt cx="715323" cy="712615"/>
          </a:xfrm>
        </p:grpSpPr>
        <p:sp>
          <p:nvSpPr>
            <p:cNvPr id="13" name="Freeform 101">
              <a:extLst>
                <a:ext uri="{FF2B5EF4-FFF2-40B4-BE49-F238E27FC236}">
                  <a16:creationId xmlns:a16="http://schemas.microsoft.com/office/drawing/2014/main" id="{A4343328-CD4D-4E7A-9F6D-0F533DF60F7A}"/>
                </a:ext>
              </a:extLst>
            </p:cNvPr>
            <p:cNvSpPr>
              <a:spLocks/>
            </p:cNvSpPr>
            <p:nvPr/>
          </p:nvSpPr>
          <p:spPr bwMode="auto">
            <a:xfrm>
              <a:off x="1468786" y="2839841"/>
              <a:ext cx="490430" cy="490431"/>
            </a:xfrm>
            <a:custGeom>
              <a:avLst/>
              <a:gdLst>
                <a:gd name="T0" fmla="*/ 293 w 293"/>
                <a:gd name="T1" fmla="*/ 145 h 292"/>
                <a:gd name="T2" fmla="*/ 292 w 293"/>
                <a:gd name="T3" fmla="*/ 129 h 292"/>
                <a:gd name="T4" fmla="*/ 288 w 293"/>
                <a:gd name="T5" fmla="*/ 107 h 292"/>
                <a:gd name="T6" fmla="*/ 283 w 293"/>
                <a:gd name="T7" fmla="*/ 91 h 292"/>
                <a:gd name="T8" fmla="*/ 273 w 293"/>
                <a:gd name="T9" fmla="*/ 72 h 292"/>
                <a:gd name="T10" fmla="*/ 264 w 293"/>
                <a:gd name="T11" fmla="*/ 58 h 292"/>
                <a:gd name="T12" fmla="*/ 250 w 293"/>
                <a:gd name="T13" fmla="*/ 42 h 292"/>
                <a:gd name="T14" fmla="*/ 236 w 293"/>
                <a:gd name="T15" fmla="*/ 30 h 292"/>
                <a:gd name="T16" fmla="*/ 220 w 293"/>
                <a:gd name="T17" fmla="*/ 19 h 292"/>
                <a:gd name="T18" fmla="*/ 205 w 293"/>
                <a:gd name="T19" fmla="*/ 11 h 292"/>
                <a:gd name="T20" fmla="*/ 185 w 293"/>
                <a:gd name="T21" fmla="*/ 4 h 292"/>
                <a:gd name="T22" fmla="*/ 169 w 293"/>
                <a:gd name="T23" fmla="*/ 2 h 292"/>
                <a:gd name="T24" fmla="*/ 146 w 293"/>
                <a:gd name="T25" fmla="*/ 0 h 292"/>
                <a:gd name="T26" fmla="*/ 146 w 293"/>
                <a:gd name="T27" fmla="*/ 0 h 292"/>
                <a:gd name="T28" fmla="*/ 130 w 293"/>
                <a:gd name="T29" fmla="*/ 1 h 292"/>
                <a:gd name="T30" fmla="*/ 108 w 293"/>
                <a:gd name="T31" fmla="*/ 4 h 292"/>
                <a:gd name="T32" fmla="*/ 92 w 293"/>
                <a:gd name="T33" fmla="*/ 9 h 292"/>
                <a:gd name="T34" fmla="*/ 73 w 293"/>
                <a:gd name="T35" fmla="*/ 19 h 292"/>
                <a:gd name="T36" fmla="*/ 61 w 293"/>
                <a:gd name="T37" fmla="*/ 27 h 292"/>
                <a:gd name="T38" fmla="*/ 59 w 293"/>
                <a:gd name="T39" fmla="*/ 28 h 292"/>
                <a:gd name="T40" fmla="*/ 43 w 293"/>
                <a:gd name="T41" fmla="*/ 42 h 292"/>
                <a:gd name="T42" fmla="*/ 31 w 293"/>
                <a:gd name="T43" fmla="*/ 56 h 292"/>
                <a:gd name="T44" fmla="*/ 20 w 293"/>
                <a:gd name="T45" fmla="*/ 72 h 292"/>
                <a:gd name="T46" fmla="*/ 12 w 293"/>
                <a:gd name="T47" fmla="*/ 87 h 292"/>
                <a:gd name="T48" fmla="*/ 5 w 293"/>
                <a:gd name="T49" fmla="*/ 107 h 292"/>
                <a:gd name="T50" fmla="*/ 2 w 293"/>
                <a:gd name="T51" fmla="*/ 123 h 292"/>
                <a:gd name="T52" fmla="*/ 0 w 293"/>
                <a:gd name="T53" fmla="*/ 145 h 292"/>
                <a:gd name="T54" fmla="*/ 1 w 293"/>
                <a:gd name="T55" fmla="*/ 160 h 292"/>
                <a:gd name="T56" fmla="*/ 9 w 293"/>
                <a:gd name="T57" fmla="*/ 195 h 292"/>
                <a:gd name="T58" fmla="*/ 10 w 293"/>
                <a:gd name="T59" fmla="*/ 200 h 292"/>
                <a:gd name="T60" fmla="*/ 26 w 293"/>
                <a:gd name="T61" fmla="*/ 229 h 292"/>
                <a:gd name="T62" fmla="*/ 34 w 293"/>
                <a:gd name="T63" fmla="*/ 239 h 292"/>
                <a:gd name="T64" fmla="*/ 80 w 293"/>
                <a:gd name="T65" fmla="*/ 276 h 292"/>
                <a:gd name="T66" fmla="*/ 136 w 293"/>
                <a:gd name="T67" fmla="*/ 292 h 292"/>
                <a:gd name="T68" fmla="*/ 148 w 293"/>
                <a:gd name="T69" fmla="*/ 292 h 292"/>
                <a:gd name="T70" fmla="*/ 182 w 293"/>
                <a:gd name="T71" fmla="*/ 288 h 292"/>
                <a:gd name="T72" fmla="*/ 187 w 293"/>
                <a:gd name="T73" fmla="*/ 287 h 292"/>
                <a:gd name="T74" fmla="*/ 219 w 293"/>
                <a:gd name="T75" fmla="*/ 273 h 292"/>
                <a:gd name="T76" fmla="*/ 232 w 293"/>
                <a:gd name="T77" fmla="*/ 265 h 292"/>
                <a:gd name="T78" fmla="*/ 250 w 293"/>
                <a:gd name="T79" fmla="*/ 250 h 292"/>
                <a:gd name="T80" fmla="*/ 261 w 293"/>
                <a:gd name="T81" fmla="*/ 238 h 292"/>
                <a:gd name="T82" fmla="*/ 273 w 293"/>
                <a:gd name="T83" fmla="*/ 220 h 292"/>
                <a:gd name="T84" fmla="*/ 281 w 293"/>
                <a:gd name="T85" fmla="*/ 205 h 292"/>
                <a:gd name="T86" fmla="*/ 287 w 293"/>
                <a:gd name="T87" fmla="*/ 187 h 292"/>
                <a:gd name="T88" fmla="*/ 291 w 293"/>
                <a:gd name="T89" fmla="*/ 169 h 292"/>
                <a:gd name="T90" fmla="*/ 293 w 293"/>
                <a:gd name="T91" fmla="*/ 148 h 2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293" h="292">
                  <a:moveTo>
                    <a:pt x="293" y="148"/>
                  </a:moveTo>
                  <a:lnTo>
                    <a:pt x="293" y="148"/>
                  </a:lnTo>
                  <a:cubicBezTo>
                    <a:pt x="293" y="147"/>
                    <a:pt x="293" y="146"/>
                    <a:pt x="293" y="145"/>
                  </a:cubicBezTo>
                  <a:cubicBezTo>
                    <a:pt x="293" y="143"/>
                    <a:pt x="293" y="141"/>
                    <a:pt x="293" y="138"/>
                  </a:cubicBezTo>
                  <a:cubicBezTo>
                    <a:pt x="293" y="136"/>
                    <a:pt x="293" y="134"/>
                    <a:pt x="293" y="132"/>
                  </a:cubicBezTo>
                  <a:cubicBezTo>
                    <a:pt x="292" y="131"/>
                    <a:pt x="292" y="130"/>
                    <a:pt x="292" y="129"/>
                  </a:cubicBezTo>
                  <a:cubicBezTo>
                    <a:pt x="292" y="126"/>
                    <a:pt x="291" y="122"/>
                    <a:pt x="291" y="119"/>
                  </a:cubicBezTo>
                  <a:cubicBezTo>
                    <a:pt x="290" y="116"/>
                    <a:pt x="289" y="113"/>
                    <a:pt x="289" y="110"/>
                  </a:cubicBezTo>
                  <a:cubicBezTo>
                    <a:pt x="288" y="109"/>
                    <a:pt x="288" y="108"/>
                    <a:pt x="288" y="107"/>
                  </a:cubicBezTo>
                  <a:cubicBezTo>
                    <a:pt x="287" y="104"/>
                    <a:pt x="287" y="103"/>
                    <a:pt x="286" y="101"/>
                  </a:cubicBezTo>
                  <a:cubicBezTo>
                    <a:pt x="285" y="99"/>
                    <a:pt x="285" y="97"/>
                    <a:pt x="284" y="94"/>
                  </a:cubicBezTo>
                  <a:cubicBezTo>
                    <a:pt x="284" y="93"/>
                    <a:pt x="283" y="93"/>
                    <a:pt x="283" y="91"/>
                  </a:cubicBezTo>
                  <a:cubicBezTo>
                    <a:pt x="282" y="88"/>
                    <a:pt x="280" y="86"/>
                    <a:pt x="279" y="83"/>
                  </a:cubicBezTo>
                  <a:cubicBezTo>
                    <a:pt x="277" y="80"/>
                    <a:pt x="276" y="77"/>
                    <a:pt x="274" y="74"/>
                  </a:cubicBezTo>
                  <a:cubicBezTo>
                    <a:pt x="274" y="73"/>
                    <a:pt x="274" y="72"/>
                    <a:pt x="273" y="72"/>
                  </a:cubicBezTo>
                  <a:cubicBezTo>
                    <a:pt x="272" y="70"/>
                    <a:pt x="271" y="68"/>
                    <a:pt x="269" y="66"/>
                  </a:cubicBezTo>
                  <a:cubicBezTo>
                    <a:pt x="268" y="64"/>
                    <a:pt x="267" y="62"/>
                    <a:pt x="266" y="60"/>
                  </a:cubicBezTo>
                  <a:cubicBezTo>
                    <a:pt x="265" y="59"/>
                    <a:pt x="264" y="58"/>
                    <a:pt x="264" y="58"/>
                  </a:cubicBezTo>
                  <a:cubicBezTo>
                    <a:pt x="262" y="56"/>
                    <a:pt x="261" y="54"/>
                    <a:pt x="259" y="52"/>
                  </a:cubicBezTo>
                  <a:cubicBezTo>
                    <a:pt x="256" y="49"/>
                    <a:pt x="254" y="45"/>
                    <a:pt x="251" y="42"/>
                  </a:cubicBezTo>
                  <a:cubicBezTo>
                    <a:pt x="250" y="42"/>
                    <a:pt x="250" y="42"/>
                    <a:pt x="250" y="42"/>
                  </a:cubicBezTo>
                  <a:cubicBezTo>
                    <a:pt x="249" y="41"/>
                    <a:pt x="249" y="41"/>
                    <a:pt x="248" y="40"/>
                  </a:cubicBezTo>
                  <a:cubicBezTo>
                    <a:pt x="245" y="37"/>
                    <a:pt x="242" y="34"/>
                    <a:pt x="239" y="31"/>
                  </a:cubicBezTo>
                  <a:cubicBezTo>
                    <a:pt x="238" y="31"/>
                    <a:pt x="237" y="30"/>
                    <a:pt x="236" y="30"/>
                  </a:cubicBezTo>
                  <a:cubicBezTo>
                    <a:pt x="235" y="29"/>
                    <a:pt x="234" y="28"/>
                    <a:pt x="233" y="27"/>
                  </a:cubicBezTo>
                  <a:cubicBezTo>
                    <a:pt x="229" y="25"/>
                    <a:pt x="225" y="22"/>
                    <a:pt x="221" y="19"/>
                  </a:cubicBezTo>
                  <a:cubicBezTo>
                    <a:pt x="221" y="19"/>
                    <a:pt x="221" y="19"/>
                    <a:pt x="220" y="19"/>
                  </a:cubicBezTo>
                  <a:cubicBezTo>
                    <a:pt x="218" y="17"/>
                    <a:pt x="216" y="16"/>
                    <a:pt x="213" y="15"/>
                  </a:cubicBezTo>
                  <a:cubicBezTo>
                    <a:pt x="211" y="14"/>
                    <a:pt x="209" y="13"/>
                    <a:pt x="206" y="11"/>
                  </a:cubicBezTo>
                  <a:cubicBezTo>
                    <a:pt x="206" y="11"/>
                    <a:pt x="205" y="11"/>
                    <a:pt x="205" y="11"/>
                  </a:cubicBezTo>
                  <a:cubicBezTo>
                    <a:pt x="201" y="9"/>
                    <a:pt x="196" y="8"/>
                    <a:pt x="192" y="6"/>
                  </a:cubicBezTo>
                  <a:cubicBezTo>
                    <a:pt x="191" y="6"/>
                    <a:pt x="189" y="5"/>
                    <a:pt x="188" y="5"/>
                  </a:cubicBezTo>
                  <a:cubicBezTo>
                    <a:pt x="187" y="5"/>
                    <a:pt x="186" y="4"/>
                    <a:pt x="185" y="4"/>
                  </a:cubicBezTo>
                  <a:cubicBezTo>
                    <a:pt x="181" y="4"/>
                    <a:pt x="177" y="3"/>
                    <a:pt x="173" y="2"/>
                  </a:cubicBezTo>
                  <a:cubicBezTo>
                    <a:pt x="172" y="2"/>
                    <a:pt x="171" y="2"/>
                    <a:pt x="170" y="2"/>
                  </a:cubicBezTo>
                  <a:cubicBezTo>
                    <a:pt x="170" y="2"/>
                    <a:pt x="170" y="2"/>
                    <a:pt x="169" y="2"/>
                  </a:cubicBezTo>
                  <a:cubicBezTo>
                    <a:pt x="165" y="1"/>
                    <a:pt x="161" y="1"/>
                    <a:pt x="157" y="0"/>
                  </a:cubicBezTo>
                  <a:cubicBezTo>
                    <a:pt x="154" y="0"/>
                    <a:pt x="152" y="0"/>
                    <a:pt x="149" y="0"/>
                  </a:cubicBezTo>
                  <a:cubicBezTo>
                    <a:pt x="148" y="0"/>
                    <a:pt x="147" y="0"/>
                    <a:pt x="146" y="0"/>
                  </a:cubicBezTo>
                  <a:lnTo>
                    <a:pt x="146" y="0"/>
                  </a:lnTo>
                  <a:lnTo>
                    <a:pt x="146" y="0"/>
                  </a:lnTo>
                  <a:lnTo>
                    <a:pt x="146" y="0"/>
                  </a:lnTo>
                  <a:cubicBezTo>
                    <a:pt x="144" y="0"/>
                    <a:pt x="142" y="0"/>
                    <a:pt x="139" y="0"/>
                  </a:cubicBezTo>
                  <a:cubicBezTo>
                    <a:pt x="137" y="0"/>
                    <a:pt x="135" y="0"/>
                    <a:pt x="133" y="0"/>
                  </a:cubicBezTo>
                  <a:cubicBezTo>
                    <a:pt x="132" y="1"/>
                    <a:pt x="131" y="1"/>
                    <a:pt x="130" y="1"/>
                  </a:cubicBezTo>
                  <a:cubicBezTo>
                    <a:pt x="127" y="1"/>
                    <a:pt x="123" y="2"/>
                    <a:pt x="120" y="2"/>
                  </a:cubicBezTo>
                  <a:cubicBezTo>
                    <a:pt x="117" y="3"/>
                    <a:pt x="114" y="4"/>
                    <a:pt x="111" y="4"/>
                  </a:cubicBezTo>
                  <a:cubicBezTo>
                    <a:pt x="110" y="4"/>
                    <a:pt x="109" y="4"/>
                    <a:pt x="108" y="4"/>
                  </a:cubicBezTo>
                  <a:cubicBezTo>
                    <a:pt x="105" y="5"/>
                    <a:pt x="104" y="5"/>
                    <a:pt x="102" y="6"/>
                  </a:cubicBezTo>
                  <a:cubicBezTo>
                    <a:pt x="100" y="7"/>
                    <a:pt x="98" y="7"/>
                    <a:pt x="96" y="8"/>
                  </a:cubicBezTo>
                  <a:cubicBezTo>
                    <a:pt x="94" y="8"/>
                    <a:pt x="94" y="9"/>
                    <a:pt x="92" y="9"/>
                  </a:cubicBezTo>
                  <a:cubicBezTo>
                    <a:pt x="89" y="10"/>
                    <a:pt x="87" y="12"/>
                    <a:pt x="84" y="13"/>
                  </a:cubicBezTo>
                  <a:cubicBezTo>
                    <a:pt x="81" y="15"/>
                    <a:pt x="78" y="16"/>
                    <a:pt x="75" y="18"/>
                  </a:cubicBezTo>
                  <a:cubicBezTo>
                    <a:pt x="74" y="18"/>
                    <a:pt x="73" y="18"/>
                    <a:pt x="73" y="19"/>
                  </a:cubicBezTo>
                  <a:cubicBezTo>
                    <a:pt x="71" y="20"/>
                    <a:pt x="69" y="21"/>
                    <a:pt x="67" y="23"/>
                  </a:cubicBezTo>
                  <a:cubicBezTo>
                    <a:pt x="65" y="24"/>
                    <a:pt x="63" y="25"/>
                    <a:pt x="61" y="26"/>
                  </a:cubicBezTo>
                  <a:lnTo>
                    <a:pt x="61" y="27"/>
                  </a:lnTo>
                  <a:lnTo>
                    <a:pt x="61" y="27"/>
                  </a:lnTo>
                  <a:lnTo>
                    <a:pt x="61" y="26"/>
                  </a:lnTo>
                  <a:cubicBezTo>
                    <a:pt x="60" y="27"/>
                    <a:pt x="59" y="28"/>
                    <a:pt x="59" y="28"/>
                  </a:cubicBezTo>
                  <a:cubicBezTo>
                    <a:pt x="57" y="30"/>
                    <a:pt x="55" y="31"/>
                    <a:pt x="53" y="33"/>
                  </a:cubicBezTo>
                  <a:cubicBezTo>
                    <a:pt x="50" y="36"/>
                    <a:pt x="46" y="38"/>
                    <a:pt x="43" y="41"/>
                  </a:cubicBezTo>
                  <a:cubicBezTo>
                    <a:pt x="43" y="42"/>
                    <a:pt x="43" y="42"/>
                    <a:pt x="43" y="42"/>
                  </a:cubicBezTo>
                  <a:cubicBezTo>
                    <a:pt x="42" y="43"/>
                    <a:pt x="42" y="43"/>
                    <a:pt x="41" y="44"/>
                  </a:cubicBezTo>
                  <a:cubicBezTo>
                    <a:pt x="38" y="47"/>
                    <a:pt x="35" y="50"/>
                    <a:pt x="32" y="53"/>
                  </a:cubicBezTo>
                  <a:cubicBezTo>
                    <a:pt x="32" y="54"/>
                    <a:pt x="31" y="55"/>
                    <a:pt x="31" y="56"/>
                  </a:cubicBezTo>
                  <a:cubicBezTo>
                    <a:pt x="30" y="57"/>
                    <a:pt x="29" y="58"/>
                    <a:pt x="28" y="59"/>
                  </a:cubicBezTo>
                  <a:cubicBezTo>
                    <a:pt x="26" y="63"/>
                    <a:pt x="23" y="67"/>
                    <a:pt x="20" y="71"/>
                  </a:cubicBezTo>
                  <a:cubicBezTo>
                    <a:pt x="20" y="71"/>
                    <a:pt x="20" y="71"/>
                    <a:pt x="20" y="72"/>
                  </a:cubicBezTo>
                  <a:cubicBezTo>
                    <a:pt x="18" y="74"/>
                    <a:pt x="17" y="76"/>
                    <a:pt x="16" y="79"/>
                  </a:cubicBezTo>
                  <a:cubicBezTo>
                    <a:pt x="15" y="81"/>
                    <a:pt x="14" y="83"/>
                    <a:pt x="12" y="86"/>
                  </a:cubicBezTo>
                  <a:cubicBezTo>
                    <a:pt x="12" y="86"/>
                    <a:pt x="12" y="87"/>
                    <a:pt x="12" y="87"/>
                  </a:cubicBezTo>
                  <a:cubicBezTo>
                    <a:pt x="10" y="91"/>
                    <a:pt x="9" y="96"/>
                    <a:pt x="7" y="100"/>
                  </a:cubicBezTo>
                  <a:cubicBezTo>
                    <a:pt x="7" y="101"/>
                    <a:pt x="6" y="103"/>
                    <a:pt x="6" y="104"/>
                  </a:cubicBezTo>
                  <a:cubicBezTo>
                    <a:pt x="6" y="105"/>
                    <a:pt x="5" y="106"/>
                    <a:pt x="5" y="107"/>
                  </a:cubicBezTo>
                  <a:cubicBezTo>
                    <a:pt x="4" y="111"/>
                    <a:pt x="3" y="115"/>
                    <a:pt x="2" y="119"/>
                  </a:cubicBezTo>
                  <a:cubicBezTo>
                    <a:pt x="2" y="120"/>
                    <a:pt x="2" y="121"/>
                    <a:pt x="2" y="122"/>
                  </a:cubicBezTo>
                  <a:cubicBezTo>
                    <a:pt x="2" y="122"/>
                    <a:pt x="2" y="122"/>
                    <a:pt x="2" y="123"/>
                  </a:cubicBezTo>
                  <a:cubicBezTo>
                    <a:pt x="1" y="127"/>
                    <a:pt x="1" y="131"/>
                    <a:pt x="0" y="135"/>
                  </a:cubicBezTo>
                  <a:cubicBezTo>
                    <a:pt x="0" y="138"/>
                    <a:pt x="0" y="140"/>
                    <a:pt x="0" y="143"/>
                  </a:cubicBezTo>
                  <a:cubicBezTo>
                    <a:pt x="0" y="144"/>
                    <a:pt x="0" y="145"/>
                    <a:pt x="0" y="145"/>
                  </a:cubicBezTo>
                  <a:cubicBezTo>
                    <a:pt x="0" y="150"/>
                    <a:pt x="0" y="155"/>
                    <a:pt x="0" y="159"/>
                  </a:cubicBezTo>
                  <a:cubicBezTo>
                    <a:pt x="0" y="159"/>
                    <a:pt x="0" y="159"/>
                    <a:pt x="0" y="159"/>
                  </a:cubicBezTo>
                  <a:cubicBezTo>
                    <a:pt x="1" y="160"/>
                    <a:pt x="1" y="160"/>
                    <a:pt x="1" y="160"/>
                  </a:cubicBezTo>
                  <a:cubicBezTo>
                    <a:pt x="1" y="166"/>
                    <a:pt x="2" y="171"/>
                    <a:pt x="3" y="176"/>
                  </a:cubicBezTo>
                  <a:cubicBezTo>
                    <a:pt x="3" y="177"/>
                    <a:pt x="4" y="179"/>
                    <a:pt x="4" y="180"/>
                  </a:cubicBezTo>
                  <a:cubicBezTo>
                    <a:pt x="5" y="185"/>
                    <a:pt x="7" y="190"/>
                    <a:pt x="9" y="195"/>
                  </a:cubicBezTo>
                  <a:cubicBezTo>
                    <a:pt x="9" y="195"/>
                    <a:pt x="9" y="195"/>
                    <a:pt x="9" y="196"/>
                  </a:cubicBezTo>
                  <a:cubicBezTo>
                    <a:pt x="9" y="196"/>
                    <a:pt x="9" y="196"/>
                    <a:pt x="9" y="196"/>
                  </a:cubicBezTo>
                  <a:cubicBezTo>
                    <a:pt x="9" y="198"/>
                    <a:pt x="10" y="199"/>
                    <a:pt x="10" y="200"/>
                  </a:cubicBezTo>
                  <a:cubicBezTo>
                    <a:pt x="12" y="203"/>
                    <a:pt x="13" y="207"/>
                    <a:pt x="15" y="211"/>
                  </a:cubicBezTo>
                  <a:cubicBezTo>
                    <a:pt x="16" y="213"/>
                    <a:pt x="17" y="215"/>
                    <a:pt x="18" y="217"/>
                  </a:cubicBezTo>
                  <a:cubicBezTo>
                    <a:pt x="21" y="221"/>
                    <a:pt x="24" y="225"/>
                    <a:pt x="26" y="229"/>
                  </a:cubicBezTo>
                  <a:cubicBezTo>
                    <a:pt x="27" y="230"/>
                    <a:pt x="27" y="231"/>
                    <a:pt x="27" y="231"/>
                  </a:cubicBezTo>
                  <a:cubicBezTo>
                    <a:pt x="29" y="234"/>
                    <a:pt x="31" y="236"/>
                    <a:pt x="34" y="239"/>
                  </a:cubicBezTo>
                  <a:cubicBezTo>
                    <a:pt x="34" y="239"/>
                    <a:pt x="34" y="239"/>
                    <a:pt x="34" y="239"/>
                  </a:cubicBezTo>
                  <a:lnTo>
                    <a:pt x="34" y="239"/>
                  </a:lnTo>
                  <a:cubicBezTo>
                    <a:pt x="43" y="250"/>
                    <a:pt x="52" y="259"/>
                    <a:pt x="64" y="267"/>
                  </a:cubicBezTo>
                  <a:cubicBezTo>
                    <a:pt x="69" y="270"/>
                    <a:pt x="74" y="273"/>
                    <a:pt x="80" y="276"/>
                  </a:cubicBezTo>
                  <a:cubicBezTo>
                    <a:pt x="85" y="279"/>
                    <a:pt x="91" y="281"/>
                    <a:pt x="97" y="283"/>
                  </a:cubicBezTo>
                  <a:cubicBezTo>
                    <a:pt x="109" y="288"/>
                    <a:pt x="123" y="291"/>
                    <a:pt x="136" y="292"/>
                  </a:cubicBezTo>
                  <a:lnTo>
                    <a:pt x="136" y="292"/>
                  </a:lnTo>
                  <a:cubicBezTo>
                    <a:pt x="136" y="292"/>
                    <a:pt x="137" y="292"/>
                    <a:pt x="137" y="292"/>
                  </a:cubicBezTo>
                  <a:cubicBezTo>
                    <a:pt x="140" y="292"/>
                    <a:pt x="143" y="292"/>
                    <a:pt x="146" y="292"/>
                  </a:cubicBezTo>
                  <a:cubicBezTo>
                    <a:pt x="147" y="292"/>
                    <a:pt x="148" y="292"/>
                    <a:pt x="148" y="292"/>
                  </a:cubicBezTo>
                  <a:cubicBezTo>
                    <a:pt x="153" y="292"/>
                    <a:pt x="158" y="292"/>
                    <a:pt x="163" y="291"/>
                  </a:cubicBezTo>
                  <a:cubicBezTo>
                    <a:pt x="166" y="291"/>
                    <a:pt x="168" y="290"/>
                    <a:pt x="170" y="290"/>
                  </a:cubicBezTo>
                  <a:cubicBezTo>
                    <a:pt x="174" y="289"/>
                    <a:pt x="178" y="289"/>
                    <a:pt x="182" y="288"/>
                  </a:cubicBezTo>
                  <a:cubicBezTo>
                    <a:pt x="183" y="287"/>
                    <a:pt x="184" y="287"/>
                    <a:pt x="185" y="287"/>
                  </a:cubicBezTo>
                  <a:cubicBezTo>
                    <a:pt x="186" y="287"/>
                    <a:pt x="186" y="287"/>
                    <a:pt x="186" y="287"/>
                  </a:cubicBezTo>
                  <a:cubicBezTo>
                    <a:pt x="186" y="287"/>
                    <a:pt x="186" y="287"/>
                    <a:pt x="187" y="287"/>
                  </a:cubicBezTo>
                  <a:cubicBezTo>
                    <a:pt x="192" y="285"/>
                    <a:pt x="197" y="283"/>
                    <a:pt x="202" y="281"/>
                  </a:cubicBezTo>
                  <a:cubicBezTo>
                    <a:pt x="203" y="281"/>
                    <a:pt x="204" y="280"/>
                    <a:pt x="206" y="280"/>
                  </a:cubicBezTo>
                  <a:cubicBezTo>
                    <a:pt x="210" y="278"/>
                    <a:pt x="215" y="275"/>
                    <a:pt x="219" y="273"/>
                  </a:cubicBezTo>
                  <a:cubicBezTo>
                    <a:pt x="220" y="273"/>
                    <a:pt x="220" y="272"/>
                    <a:pt x="220" y="272"/>
                  </a:cubicBezTo>
                  <a:cubicBezTo>
                    <a:pt x="221" y="272"/>
                    <a:pt x="221" y="272"/>
                    <a:pt x="221" y="272"/>
                  </a:cubicBezTo>
                  <a:cubicBezTo>
                    <a:pt x="225" y="270"/>
                    <a:pt x="228" y="267"/>
                    <a:pt x="232" y="265"/>
                  </a:cubicBezTo>
                  <a:cubicBezTo>
                    <a:pt x="233" y="264"/>
                    <a:pt x="234" y="263"/>
                    <a:pt x="234" y="263"/>
                  </a:cubicBezTo>
                  <a:cubicBezTo>
                    <a:pt x="236" y="261"/>
                    <a:pt x="238" y="260"/>
                    <a:pt x="240" y="258"/>
                  </a:cubicBezTo>
                  <a:cubicBezTo>
                    <a:pt x="243" y="255"/>
                    <a:pt x="247" y="253"/>
                    <a:pt x="250" y="250"/>
                  </a:cubicBezTo>
                  <a:cubicBezTo>
                    <a:pt x="250" y="249"/>
                    <a:pt x="250" y="249"/>
                    <a:pt x="250" y="249"/>
                  </a:cubicBezTo>
                  <a:cubicBezTo>
                    <a:pt x="251" y="248"/>
                    <a:pt x="251" y="248"/>
                    <a:pt x="252" y="247"/>
                  </a:cubicBezTo>
                  <a:cubicBezTo>
                    <a:pt x="255" y="244"/>
                    <a:pt x="258" y="241"/>
                    <a:pt x="261" y="238"/>
                  </a:cubicBezTo>
                  <a:cubicBezTo>
                    <a:pt x="261" y="237"/>
                    <a:pt x="262" y="236"/>
                    <a:pt x="262" y="235"/>
                  </a:cubicBezTo>
                  <a:cubicBezTo>
                    <a:pt x="263" y="234"/>
                    <a:pt x="264" y="233"/>
                    <a:pt x="265" y="232"/>
                  </a:cubicBezTo>
                  <a:cubicBezTo>
                    <a:pt x="267" y="228"/>
                    <a:pt x="270" y="224"/>
                    <a:pt x="273" y="220"/>
                  </a:cubicBezTo>
                  <a:cubicBezTo>
                    <a:pt x="273" y="220"/>
                    <a:pt x="273" y="220"/>
                    <a:pt x="273" y="219"/>
                  </a:cubicBezTo>
                  <a:cubicBezTo>
                    <a:pt x="274" y="217"/>
                    <a:pt x="275" y="215"/>
                    <a:pt x="277" y="213"/>
                  </a:cubicBezTo>
                  <a:cubicBezTo>
                    <a:pt x="278" y="210"/>
                    <a:pt x="279" y="208"/>
                    <a:pt x="281" y="205"/>
                  </a:cubicBezTo>
                  <a:cubicBezTo>
                    <a:pt x="281" y="205"/>
                    <a:pt x="281" y="204"/>
                    <a:pt x="281" y="204"/>
                  </a:cubicBezTo>
                  <a:cubicBezTo>
                    <a:pt x="283" y="200"/>
                    <a:pt x="284" y="196"/>
                    <a:pt x="286" y="191"/>
                  </a:cubicBezTo>
                  <a:cubicBezTo>
                    <a:pt x="286" y="190"/>
                    <a:pt x="287" y="188"/>
                    <a:pt x="287" y="187"/>
                  </a:cubicBezTo>
                  <a:cubicBezTo>
                    <a:pt x="287" y="186"/>
                    <a:pt x="288" y="185"/>
                    <a:pt x="288" y="184"/>
                  </a:cubicBezTo>
                  <a:cubicBezTo>
                    <a:pt x="289" y="180"/>
                    <a:pt x="290" y="176"/>
                    <a:pt x="291" y="172"/>
                  </a:cubicBezTo>
                  <a:cubicBezTo>
                    <a:pt x="291" y="171"/>
                    <a:pt x="291" y="170"/>
                    <a:pt x="291" y="169"/>
                  </a:cubicBezTo>
                  <a:cubicBezTo>
                    <a:pt x="291" y="169"/>
                    <a:pt x="291" y="169"/>
                    <a:pt x="291" y="168"/>
                  </a:cubicBezTo>
                  <a:cubicBezTo>
                    <a:pt x="292" y="164"/>
                    <a:pt x="292" y="160"/>
                    <a:pt x="292" y="156"/>
                  </a:cubicBezTo>
                  <a:cubicBezTo>
                    <a:pt x="293" y="153"/>
                    <a:pt x="293" y="151"/>
                    <a:pt x="293" y="148"/>
                  </a:cubicBezTo>
                  <a:close/>
                </a:path>
              </a:pathLst>
            </a:custGeom>
            <a:solidFill>
              <a:srgbClr val="0078D4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" name="Freeform 102">
              <a:extLst>
                <a:ext uri="{FF2B5EF4-FFF2-40B4-BE49-F238E27FC236}">
                  <a16:creationId xmlns:a16="http://schemas.microsoft.com/office/drawing/2014/main" id="{CA4F68AD-217E-4C2A-8E9D-9607AA5C8C09}"/>
                </a:ext>
              </a:extLst>
            </p:cNvPr>
            <p:cNvSpPr>
              <a:spLocks/>
            </p:cNvSpPr>
            <p:nvPr/>
          </p:nvSpPr>
          <p:spPr bwMode="auto">
            <a:xfrm>
              <a:off x="1243893" y="3240856"/>
              <a:ext cx="311599" cy="311600"/>
            </a:xfrm>
            <a:custGeom>
              <a:avLst/>
              <a:gdLst>
                <a:gd name="T0" fmla="*/ 186 w 186"/>
                <a:gd name="T1" fmla="*/ 19 h 186"/>
                <a:gd name="T2" fmla="*/ 186 w 186"/>
                <a:gd name="T3" fmla="*/ 19 h 186"/>
                <a:gd name="T4" fmla="*/ 22 w 186"/>
                <a:gd name="T5" fmla="*/ 183 h 186"/>
                <a:gd name="T6" fmla="*/ 13 w 186"/>
                <a:gd name="T7" fmla="*/ 186 h 186"/>
                <a:gd name="T8" fmla="*/ 3 w 186"/>
                <a:gd name="T9" fmla="*/ 183 h 186"/>
                <a:gd name="T10" fmla="*/ 0 w 186"/>
                <a:gd name="T11" fmla="*/ 173 h 186"/>
                <a:gd name="T12" fmla="*/ 3 w 186"/>
                <a:gd name="T13" fmla="*/ 164 h 186"/>
                <a:gd name="T14" fmla="*/ 167 w 186"/>
                <a:gd name="T15" fmla="*/ 0 h 186"/>
                <a:gd name="T16" fmla="*/ 186 w 186"/>
                <a:gd name="T17" fmla="*/ 19 h 1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86" h="186">
                  <a:moveTo>
                    <a:pt x="186" y="19"/>
                  </a:moveTo>
                  <a:lnTo>
                    <a:pt x="186" y="19"/>
                  </a:lnTo>
                  <a:lnTo>
                    <a:pt x="22" y="183"/>
                  </a:lnTo>
                  <a:cubicBezTo>
                    <a:pt x="20" y="185"/>
                    <a:pt x="16" y="186"/>
                    <a:pt x="13" y="186"/>
                  </a:cubicBezTo>
                  <a:cubicBezTo>
                    <a:pt x="9" y="186"/>
                    <a:pt x="6" y="185"/>
                    <a:pt x="3" y="183"/>
                  </a:cubicBezTo>
                  <a:cubicBezTo>
                    <a:pt x="1" y="180"/>
                    <a:pt x="0" y="177"/>
                    <a:pt x="0" y="173"/>
                  </a:cubicBezTo>
                  <a:cubicBezTo>
                    <a:pt x="0" y="170"/>
                    <a:pt x="1" y="166"/>
                    <a:pt x="3" y="164"/>
                  </a:cubicBezTo>
                  <a:lnTo>
                    <a:pt x="167" y="0"/>
                  </a:lnTo>
                  <a:lnTo>
                    <a:pt x="186" y="19"/>
                  </a:lnTo>
                  <a:close/>
                </a:path>
              </a:pathLst>
            </a:custGeom>
            <a:solidFill>
              <a:srgbClr val="0078D4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" name="Freeform 103">
              <a:extLst>
                <a:ext uri="{FF2B5EF4-FFF2-40B4-BE49-F238E27FC236}">
                  <a16:creationId xmlns:a16="http://schemas.microsoft.com/office/drawing/2014/main" id="{732397AE-D1A2-49DE-B001-48993603FEEF}"/>
                </a:ext>
              </a:extLst>
            </p:cNvPr>
            <p:cNvSpPr>
              <a:spLocks/>
            </p:cNvSpPr>
            <p:nvPr/>
          </p:nvSpPr>
          <p:spPr bwMode="auto">
            <a:xfrm>
              <a:off x="1512139" y="2883194"/>
              <a:ext cx="403724" cy="403725"/>
            </a:xfrm>
            <a:custGeom>
              <a:avLst/>
              <a:gdLst>
                <a:gd name="T0" fmla="*/ 120 w 240"/>
                <a:gd name="T1" fmla="*/ 240 h 240"/>
                <a:gd name="T2" fmla="*/ 120 w 240"/>
                <a:gd name="T3" fmla="*/ 240 h 240"/>
                <a:gd name="T4" fmla="*/ 167 w 240"/>
                <a:gd name="T5" fmla="*/ 230 h 240"/>
                <a:gd name="T6" fmla="*/ 205 w 240"/>
                <a:gd name="T7" fmla="*/ 204 h 240"/>
                <a:gd name="T8" fmla="*/ 231 w 240"/>
                <a:gd name="T9" fmla="*/ 166 h 240"/>
                <a:gd name="T10" fmla="*/ 240 w 240"/>
                <a:gd name="T11" fmla="*/ 120 h 240"/>
                <a:gd name="T12" fmla="*/ 231 w 240"/>
                <a:gd name="T13" fmla="*/ 73 h 240"/>
                <a:gd name="T14" fmla="*/ 205 w 240"/>
                <a:gd name="T15" fmla="*/ 35 h 240"/>
                <a:gd name="T16" fmla="*/ 167 w 240"/>
                <a:gd name="T17" fmla="*/ 9 h 240"/>
                <a:gd name="T18" fmla="*/ 120 w 240"/>
                <a:gd name="T19" fmla="*/ 0 h 240"/>
                <a:gd name="T20" fmla="*/ 74 w 240"/>
                <a:gd name="T21" fmla="*/ 9 h 240"/>
                <a:gd name="T22" fmla="*/ 36 w 240"/>
                <a:gd name="T23" fmla="*/ 35 h 240"/>
                <a:gd name="T24" fmla="*/ 10 w 240"/>
                <a:gd name="T25" fmla="*/ 73 h 240"/>
                <a:gd name="T26" fmla="*/ 0 w 240"/>
                <a:gd name="T27" fmla="*/ 120 h 240"/>
                <a:gd name="T28" fmla="*/ 10 w 240"/>
                <a:gd name="T29" fmla="*/ 166 h 240"/>
                <a:gd name="T30" fmla="*/ 36 w 240"/>
                <a:gd name="T31" fmla="*/ 204 h 240"/>
                <a:gd name="T32" fmla="*/ 74 w 240"/>
                <a:gd name="T33" fmla="*/ 230 h 240"/>
                <a:gd name="T34" fmla="*/ 120 w 240"/>
                <a:gd name="T35" fmla="*/ 240 h 2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40" h="240">
                  <a:moveTo>
                    <a:pt x="120" y="240"/>
                  </a:moveTo>
                  <a:lnTo>
                    <a:pt x="120" y="240"/>
                  </a:lnTo>
                  <a:cubicBezTo>
                    <a:pt x="137" y="240"/>
                    <a:pt x="153" y="236"/>
                    <a:pt x="167" y="230"/>
                  </a:cubicBezTo>
                  <a:cubicBezTo>
                    <a:pt x="182" y="224"/>
                    <a:pt x="194" y="215"/>
                    <a:pt x="205" y="204"/>
                  </a:cubicBezTo>
                  <a:cubicBezTo>
                    <a:pt x="216" y="193"/>
                    <a:pt x="225" y="181"/>
                    <a:pt x="231" y="166"/>
                  </a:cubicBezTo>
                  <a:cubicBezTo>
                    <a:pt x="237" y="152"/>
                    <a:pt x="240" y="136"/>
                    <a:pt x="240" y="120"/>
                  </a:cubicBezTo>
                  <a:cubicBezTo>
                    <a:pt x="240" y="103"/>
                    <a:pt x="237" y="87"/>
                    <a:pt x="231" y="73"/>
                  </a:cubicBezTo>
                  <a:cubicBezTo>
                    <a:pt x="225" y="58"/>
                    <a:pt x="216" y="46"/>
                    <a:pt x="205" y="35"/>
                  </a:cubicBezTo>
                  <a:cubicBezTo>
                    <a:pt x="194" y="24"/>
                    <a:pt x="182" y="15"/>
                    <a:pt x="167" y="9"/>
                  </a:cubicBezTo>
                  <a:cubicBezTo>
                    <a:pt x="153" y="3"/>
                    <a:pt x="137" y="0"/>
                    <a:pt x="120" y="0"/>
                  </a:cubicBezTo>
                  <a:cubicBezTo>
                    <a:pt x="104" y="0"/>
                    <a:pt x="88" y="3"/>
                    <a:pt x="74" y="9"/>
                  </a:cubicBezTo>
                  <a:cubicBezTo>
                    <a:pt x="59" y="15"/>
                    <a:pt x="47" y="24"/>
                    <a:pt x="36" y="35"/>
                  </a:cubicBezTo>
                  <a:cubicBezTo>
                    <a:pt x="25" y="46"/>
                    <a:pt x="16" y="58"/>
                    <a:pt x="10" y="73"/>
                  </a:cubicBezTo>
                  <a:cubicBezTo>
                    <a:pt x="4" y="87"/>
                    <a:pt x="0" y="103"/>
                    <a:pt x="0" y="120"/>
                  </a:cubicBezTo>
                  <a:cubicBezTo>
                    <a:pt x="0" y="136"/>
                    <a:pt x="4" y="152"/>
                    <a:pt x="10" y="166"/>
                  </a:cubicBezTo>
                  <a:cubicBezTo>
                    <a:pt x="16" y="181"/>
                    <a:pt x="25" y="193"/>
                    <a:pt x="36" y="204"/>
                  </a:cubicBezTo>
                  <a:cubicBezTo>
                    <a:pt x="47" y="215"/>
                    <a:pt x="59" y="224"/>
                    <a:pt x="74" y="230"/>
                  </a:cubicBezTo>
                  <a:cubicBezTo>
                    <a:pt x="88" y="236"/>
                    <a:pt x="104" y="240"/>
                    <a:pt x="120" y="240"/>
                  </a:cubicBezTo>
                  <a:close/>
                </a:path>
              </a:pathLst>
            </a:custGeom>
            <a:solidFill>
              <a:schemeClr val="bg1"/>
            </a:solidFill>
            <a:ln w="12700">
              <a:solidFill>
                <a:srgbClr val="0078D4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18" name="Group 17">
            <a:extLst>
              <a:ext uri="{FF2B5EF4-FFF2-40B4-BE49-F238E27FC236}">
                <a16:creationId xmlns:a16="http://schemas.microsoft.com/office/drawing/2014/main" id="{6A27CFD2-2106-45BD-BDFA-DA220ECDC5C1}"/>
              </a:ext>
            </a:extLst>
          </p:cNvPr>
          <p:cNvGrpSpPr/>
          <p:nvPr/>
        </p:nvGrpSpPr>
        <p:grpSpPr>
          <a:xfrm>
            <a:off x="486232" y="2186213"/>
            <a:ext cx="2868706" cy="2733225"/>
            <a:chOff x="640976" y="2186214"/>
            <a:chExt cx="2868706" cy="2733225"/>
          </a:xfrm>
        </p:grpSpPr>
        <p:pic>
          <p:nvPicPr>
            <p:cNvPr id="14" name="Graphic 13" descr="Box outline">
              <a:extLst>
                <a:ext uri="{FF2B5EF4-FFF2-40B4-BE49-F238E27FC236}">
                  <a16:creationId xmlns:a16="http://schemas.microsoft.com/office/drawing/2014/main" id="{E64BC95A-A6EC-43DE-BE5D-0FA696E8616A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1070965" y="2186214"/>
              <a:ext cx="1819835" cy="1819835"/>
            </a:xfrm>
            <a:prstGeom prst="rect">
              <a:avLst/>
            </a:prstGeom>
          </p:spPr>
        </p:pic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D5EC7CA8-1D91-46FE-9759-DCCE3E22D229}"/>
                </a:ext>
              </a:extLst>
            </p:cNvPr>
            <p:cNvSpPr txBox="1"/>
            <p:nvPr/>
          </p:nvSpPr>
          <p:spPr>
            <a:xfrm>
              <a:off x="640976" y="4069976"/>
              <a:ext cx="2868706" cy="849463"/>
            </a:xfrm>
            <a:prstGeom prst="rect">
              <a:avLst/>
            </a:prstGeom>
            <a:noFill/>
          </p:spPr>
          <p:txBody>
            <a:bodyPr wrap="square" lIns="182880" tIns="146304" rIns="182880" bIns="146304" rtlCol="0">
              <a:spAutoFit/>
            </a:bodyPr>
            <a:lstStyle/>
            <a:p>
              <a:pPr algn="ctr">
                <a:lnSpc>
                  <a:spcPct val="90000"/>
                </a:lnSpc>
                <a:spcAft>
                  <a:spcPts val="600"/>
                </a:spcAft>
              </a:pPr>
              <a:r>
                <a:rPr lang="en-GB" sz="20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rPr>
                <a:t>Where does the tool store information?</a:t>
              </a:r>
            </a:p>
          </p:txBody>
        </p:sp>
      </p:grpSp>
      <p:grpSp>
        <p:nvGrpSpPr>
          <p:cNvPr id="20" name="Group 19">
            <a:extLst>
              <a:ext uri="{FF2B5EF4-FFF2-40B4-BE49-F238E27FC236}">
                <a16:creationId xmlns:a16="http://schemas.microsoft.com/office/drawing/2014/main" id="{A4B8E0A0-5BF9-40DC-9D23-FE7FC67E372E}"/>
              </a:ext>
            </a:extLst>
          </p:cNvPr>
          <p:cNvGrpSpPr/>
          <p:nvPr/>
        </p:nvGrpSpPr>
        <p:grpSpPr>
          <a:xfrm>
            <a:off x="4438265" y="2111128"/>
            <a:ext cx="3169024" cy="2808310"/>
            <a:chOff x="4698242" y="2111128"/>
            <a:chExt cx="3169024" cy="2808310"/>
          </a:xfrm>
        </p:grpSpPr>
        <p:pic>
          <p:nvPicPr>
            <p:cNvPr id="6" name="Graphic 5" descr="Connected outline">
              <a:extLst>
                <a:ext uri="{FF2B5EF4-FFF2-40B4-BE49-F238E27FC236}">
                  <a16:creationId xmlns:a16="http://schemas.microsoft.com/office/drawing/2014/main" id="{F26C765D-3C49-45C2-AE40-DEC7A7713711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5198035" y="2111128"/>
              <a:ext cx="1819835" cy="1819835"/>
            </a:xfrm>
            <a:prstGeom prst="rect">
              <a:avLst/>
            </a:prstGeom>
          </p:spPr>
        </p:pic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CF30A828-6A96-4B0C-86BF-AA1DF2789C3C}"/>
                </a:ext>
              </a:extLst>
            </p:cNvPr>
            <p:cNvSpPr txBox="1"/>
            <p:nvPr/>
          </p:nvSpPr>
          <p:spPr>
            <a:xfrm>
              <a:off x="4698242" y="4069975"/>
              <a:ext cx="3169024" cy="849463"/>
            </a:xfrm>
            <a:prstGeom prst="rect">
              <a:avLst/>
            </a:prstGeom>
            <a:noFill/>
          </p:spPr>
          <p:txBody>
            <a:bodyPr wrap="square" lIns="182880" tIns="146304" rIns="182880" bIns="146304" rtlCol="0">
              <a:spAutoFit/>
            </a:bodyPr>
            <a:lstStyle/>
            <a:p>
              <a:pPr algn="ctr">
                <a:lnSpc>
                  <a:spcPct val="90000"/>
                </a:lnSpc>
                <a:spcAft>
                  <a:spcPts val="600"/>
                </a:spcAft>
              </a:pPr>
              <a:r>
                <a:rPr lang="en-GB" sz="20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rPr>
                <a:t>How does it discover information?</a:t>
              </a:r>
            </a:p>
          </p:txBody>
        </p:sp>
      </p:grpSp>
      <p:grpSp>
        <p:nvGrpSpPr>
          <p:cNvPr id="22" name="Group 21">
            <a:extLst>
              <a:ext uri="{FF2B5EF4-FFF2-40B4-BE49-F238E27FC236}">
                <a16:creationId xmlns:a16="http://schemas.microsoft.com/office/drawing/2014/main" id="{DB4E684A-81B7-46DA-9274-1888FE9452D5}"/>
              </a:ext>
            </a:extLst>
          </p:cNvPr>
          <p:cNvGrpSpPr/>
          <p:nvPr/>
        </p:nvGrpSpPr>
        <p:grpSpPr>
          <a:xfrm>
            <a:off x="8295751" y="2182781"/>
            <a:ext cx="3375212" cy="2492437"/>
            <a:chOff x="8484385" y="2190345"/>
            <a:chExt cx="3375212" cy="2492437"/>
          </a:xfrm>
        </p:grpSpPr>
        <p:pic>
          <p:nvPicPr>
            <p:cNvPr id="8" name="Graphic 7" descr="Coins outline">
              <a:extLst>
                <a:ext uri="{FF2B5EF4-FFF2-40B4-BE49-F238E27FC236}">
                  <a16:creationId xmlns:a16="http://schemas.microsoft.com/office/drawing/2014/main" id="{015AB3C0-0F85-4952-874F-8CA522AAC909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9231247" y="2190345"/>
              <a:ext cx="1819835" cy="1819835"/>
            </a:xfrm>
            <a:prstGeom prst="rect">
              <a:avLst/>
            </a:prstGeom>
          </p:spPr>
        </p:pic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2DA08308-5431-44C2-A014-B14C080A4E64}"/>
                </a:ext>
              </a:extLst>
            </p:cNvPr>
            <p:cNvSpPr txBox="1"/>
            <p:nvPr/>
          </p:nvSpPr>
          <p:spPr>
            <a:xfrm>
              <a:off x="8484385" y="4110318"/>
              <a:ext cx="3375212" cy="572464"/>
            </a:xfrm>
            <a:prstGeom prst="rect">
              <a:avLst/>
            </a:prstGeom>
            <a:noFill/>
          </p:spPr>
          <p:txBody>
            <a:bodyPr wrap="square" lIns="182880" tIns="146304" rIns="182880" bIns="146304" rtlCol="0">
              <a:spAutoFit/>
            </a:bodyPr>
            <a:lstStyle/>
            <a:p>
              <a:pPr algn="ctr">
                <a:lnSpc>
                  <a:spcPct val="90000"/>
                </a:lnSpc>
                <a:spcAft>
                  <a:spcPts val="600"/>
                </a:spcAft>
              </a:pPr>
              <a:r>
                <a:rPr lang="en-GB" sz="20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rPr>
                <a:t>How much does it cost?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75786239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" name="TextBox 48">
            <a:extLst>
              <a:ext uri="{FF2B5EF4-FFF2-40B4-BE49-F238E27FC236}">
                <a16:creationId xmlns:a16="http://schemas.microsoft.com/office/drawing/2014/main" id="{15A9FCE9-BC28-4698-8E8B-2FB3E9765637}"/>
              </a:ext>
            </a:extLst>
          </p:cNvPr>
          <p:cNvSpPr txBox="1"/>
          <p:nvPr/>
        </p:nvSpPr>
        <p:spPr>
          <a:xfrm>
            <a:off x="349453" y="1861593"/>
            <a:ext cx="2543011" cy="2292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192">
              <a:defRPr/>
            </a:pPr>
            <a:r>
              <a:rPr lang="en-US" sz="1961" dirty="0">
                <a:solidFill>
                  <a:prstClr val="black"/>
                </a:solidFill>
                <a:latin typeface="Segoe UI Semibold"/>
                <a:cs typeface="Segoe UI" panose="020B0502040204020203" pitchFamily="34" charset="0"/>
              </a:rPr>
              <a:t>Multiple scenarios</a:t>
            </a:r>
          </a:p>
          <a:p>
            <a:pPr defTabSz="914192">
              <a:defRPr/>
            </a:pPr>
            <a:endParaRPr lang="en-US" sz="1371" dirty="0">
              <a:solidFill>
                <a:prstClr val="black"/>
              </a:solidFill>
              <a:latin typeface="Segoe UI"/>
            </a:endParaRPr>
          </a:p>
          <a:p>
            <a:pPr defTabSz="914192">
              <a:defRPr/>
            </a:pPr>
            <a:r>
              <a:rPr lang="en-US" sz="1372" dirty="0">
                <a:solidFill>
                  <a:srgbClr val="4C4C5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overage for servers (Windows/Linux), databases, VDI, web apps, and large volumes of data</a:t>
            </a:r>
          </a:p>
          <a:p>
            <a:pPr defTabSz="914192">
              <a:defRPr/>
            </a:pPr>
            <a:endParaRPr lang="en-US" sz="1372" dirty="0">
              <a:solidFill>
                <a:srgbClr val="4C4C5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defTabSz="914192">
              <a:defRPr/>
            </a:pPr>
            <a:r>
              <a:rPr lang="en-US" sz="1372" dirty="0">
                <a:solidFill>
                  <a:srgbClr val="4C4C5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Migration targets include Azure VMs, AVS, App Service and Azure SQL</a:t>
            </a:r>
          </a:p>
        </p:txBody>
      </p:sp>
      <p:sp>
        <p:nvSpPr>
          <p:cNvPr id="28" name="Title 1">
            <a:extLst>
              <a:ext uri="{FF2B5EF4-FFF2-40B4-BE49-F238E27FC236}">
                <a16:creationId xmlns:a16="http://schemas.microsoft.com/office/drawing/2014/main" id="{BECD9960-6DF9-4966-B2D6-F0D932774082}"/>
              </a:ext>
            </a:extLst>
          </p:cNvPr>
          <p:cNvSpPr txBox="1">
            <a:spLocks/>
          </p:cNvSpPr>
          <p:nvPr/>
        </p:nvSpPr>
        <p:spPr>
          <a:xfrm>
            <a:off x="486232" y="5795732"/>
            <a:ext cx="11373365" cy="553841"/>
          </a:xfrm>
          <a:prstGeom prst="rect">
            <a:avLst/>
          </a:prstGeom>
        </p:spPr>
        <p:txBody>
          <a:bodyPr vert="horz" wrap="square" lIns="0" tIns="89630" rIns="143407" bIns="89630" rtlCol="0" anchor="t">
            <a:noAutofit/>
          </a:bodyPr>
          <a:lstStyle>
            <a:lvl1pPr algn="l" defTabSz="93256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800" b="0" kern="1200" cap="none" spc="-50" baseline="0" dirty="0" smtClean="0">
                <a:ln w="3175">
                  <a:noFill/>
                </a:ln>
                <a:solidFill>
                  <a:srgbClr val="000000"/>
                </a:soli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defTabSz="932384"/>
            <a:endParaRPr lang="en-US" sz="2745" dirty="0">
              <a:latin typeface="Segoe UI Semibold (Headings)"/>
              <a:cs typeface="Segoe UI Semibold" panose="020B0702040204020203" pitchFamily="34" charset="0"/>
            </a:endParaRPr>
          </a:p>
        </p:txBody>
      </p:sp>
      <p:sp>
        <p:nvSpPr>
          <p:cNvPr id="14" name="Rectangle: Rounded Corners 13">
            <a:extLst>
              <a:ext uri="{FF2B5EF4-FFF2-40B4-BE49-F238E27FC236}">
                <a16:creationId xmlns:a16="http://schemas.microsoft.com/office/drawing/2014/main" id="{0F6311FD-E7A6-4C56-83BD-88CA0BD89C14}"/>
              </a:ext>
            </a:extLst>
          </p:cNvPr>
          <p:cNvSpPr/>
          <p:nvPr/>
        </p:nvSpPr>
        <p:spPr>
          <a:xfrm>
            <a:off x="3356048" y="1493471"/>
            <a:ext cx="9347105" cy="5089689"/>
          </a:xfrm>
          <a:prstGeom prst="roundRect">
            <a:avLst>
              <a:gd name="adj" fmla="val 2995"/>
            </a:avLst>
          </a:prstGeom>
          <a:solidFill>
            <a:schemeClr val="tx1"/>
          </a:solidFill>
          <a:ln w="19050">
            <a:solidFill>
              <a:schemeClr val="bg1">
                <a:lumMod val="65000"/>
              </a:schemeClr>
            </a:solidFill>
          </a:ln>
          <a:effectLst>
            <a:outerShdw blurRad="355600" dist="533400" dir="10980000" sx="96000" sy="96000" algn="r" rotWithShape="0">
              <a:prstClr val="black">
                <a:alpha val="46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96214">
              <a:defRPr/>
            </a:pPr>
            <a:endParaRPr lang="en-US" sz="1765">
              <a:solidFill>
                <a:prstClr val="white"/>
              </a:solidFill>
              <a:latin typeface="Segoe UI"/>
            </a:endParaRP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D90A74E4-D033-244F-8BBF-AB016E603C6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5995" y="881209"/>
            <a:ext cx="11653518" cy="482763"/>
          </a:xfrm>
        </p:spPr>
        <p:txBody>
          <a:bodyPr/>
          <a:lstStyle/>
          <a:p>
            <a:r>
              <a:rPr lang="en-US" dirty="0"/>
              <a:t>A central hub of tools for your datacenter cloud migration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A78D8B18-2C28-6B43-B3A0-D2E53B6355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5995" y="433143"/>
            <a:ext cx="11303917" cy="813704"/>
          </a:xfrm>
        </p:spPr>
        <p:txBody>
          <a:bodyPr/>
          <a:lstStyle/>
          <a:p>
            <a:r>
              <a:rPr lang="en-US" dirty="0"/>
              <a:t>Azure Migrate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B4E1395B-3A9E-45EB-BC38-6240284DD30B}"/>
              </a:ext>
            </a:extLst>
          </p:cNvPr>
          <p:cNvGrpSpPr/>
          <p:nvPr/>
        </p:nvGrpSpPr>
        <p:grpSpPr>
          <a:xfrm>
            <a:off x="3714399" y="1861593"/>
            <a:ext cx="8630403" cy="4353446"/>
            <a:chOff x="3714399" y="1861593"/>
            <a:chExt cx="8630403" cy="4353446"/>
          </a:xfrm>
        </p:grpSpPr>
        <p:pic>
          <p:nvPicPr>
            <p:cNvPr id="15" name="Picture 14">
              <a:extLst>
                <a:ext uri="{FF2B5EF4-FFF2-40B4-BE49-F238E27FC236}">
                  <a16:creationId xmlns:a16="http://schemas.microsoft.com/office/drawing/2014/main" id="{97602D7B-2F64-447F-BECE-EA8BB8895542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714399" y="1861593"/>
              <a:ext cx="8630403" cy="4353446"/>
            </a:xfrm>
            <a:prstGeom prst="rect">
              <a:avLst/>
            </a:prstGeom>
          </p:spPr>
        </p:pic>
        <p:sp>
          <p:nvSpPr>
            <p:cNvPr id="2" name="Rectangle 1">
              <a:extLst>
                <a:ext uri="{FF2B5EF4-FFF2-40B4-BE49-F238E27FC236}">
                  <a16:creationId xmlns:a16="http://schemas.microsoft.com/office/drawing/2014/main" id="{75EE6B7A-6BDF-4C79-90F7-E12BDC0DB728}"/>
                </a:ext>
              </a:extLst>
            </p:cNvPr>
            <p:cNvSpPr/>
            <p:nvPr/>
          </p:nvSpPr>
          <p:spPr bwMode="auto">
            <a:xfrm>
              <a:off x="11013948" y="1861593"/>
              <a:ext cx="1330854" cy="255243"/>
            </a:xfrm>
            <a:prstGeom prst="rect">
              <a:avLst/>
            </a:prstGeom>
            <a:solidFill>
              <a:srgbClr val="0078D4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GB" sz="2400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</p:grpSp>
      <p:sp>
        <p:nvSpPr>
          <p:cNvPr id="3" name="bk object 17">
            <a:extLst>
              <a:ext uri="{FF2B5EF4-FFF2-40B4-BE49-F238E27FC236}">
                <a16:creationId xmlns:a16="http://schemas.microsoft.com/office/drawing/2014/main" id="{407B5CDC-D413-4E99-A645-F0412DF2C438}"/>
              </a:ext>
            </a:extLst>
          </p:cNvPr>
          <p:cNvSpPr/>
          <p:nvPr/>
        </p:nvSpPr>
        <p:spPr>
          <a:xfrm>
            <a:off x="0" y="6497955"/>
            <a:ext cx="12192000" cy="360045"/>
          </a:xfrm>
          <a:custGeom>
            <a:avLst/>
            <a:gdLst/>
            <a:ahLst/>
            <a:cxnLst/>
            <a:rect l="l" t="t" r="r" b="b"/>
            <a:pathLst>
              <a:path w="12434570" h="360045">
                <a:moveTo>
                  <a:pt x="0" y="359994"/>
                </a:moveTo>
                <a:lnTo>
                  <a:pt x="12434404" y="359994"/>
                </a:lnTo>
                <a:lnTo>
                  <a:pt x="12434404" y="0"/>
                </a:lnTo>
                <a:lnTo>
                  <a:pt x="0" y="0"/>
                </a:lnTo>
                <a:lnTo>
                  <a:pt x="0" y="359994"/>
                </a:lnTo>
                <a:close/>
              </a:path>
            </a:pathLst>
          </a:custGeom>
          <a:solidFill>
            <a:srgbClr val="007FBA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5CE847B4-938E-47E7-9154-2FC09972926D}"/>
              </a:ext>
            </a:extLst>
          </p:cNvPr>
          <p:cNvSpPr txBox="1"/>
          <p:nvPr/>
        </p:nvSpPr>
        <p:spPr>
          <a:xfrm>
            <a:off x="7278010" y="6591175"/>
            <a:ext cx="425867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100" b="0" i="0" kern="0" spc="-20" baseline="0" dirty="0">
                <a:solidFill>
                  <a:schemeClr val="bg1"/>
                </a:solidFill>
                <a:latin typeface="Segoe UI Semibold" charset="0"/>
              </a:rPr>
              <a:t>Microsoft Azure    </a:t>
            </a:r>
            <a:r>
              <a:rPr lang="en-US" sz="1100" b="0" i="0" kern="0" spc="-20" baseline="0" dirty="0">
                <a:solidFill>
                  <a:schemeClr val="bg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|  @</a:t>
            </a:r>
            <a:r>
              <a:rPr lang="en-US" sz="1100" b="0" i="0" kern="0" spc="-20" baseline="0" dirty="0" err="1">
                <a:solidFill>
                  <a:schemeClr val="bg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Techielass</a:t>
            </a:r>
            <a:endParaRPr lang="en-US" sz="1100" b="0" i="0" kern="0" spc="-20" baseline="0" dirty="0">
              <a:solidFill>
                <a:schemeClr val="bg1"/>
              </a:solidFill>
              <a:latin typeface="Segoe UI Semilight" panose="020B0402040204020203" pitchFamily="34" charset="0"/>
              <a:ea typeface="Segoe UI Semilight" charset="0"/>
              <a:cs typeface="Segoe UI Semilight" panose="020B04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1307158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5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9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7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16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17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18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19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20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21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22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23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24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25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8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26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27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28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29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30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31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32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33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34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35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9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36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37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38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39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40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41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42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43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44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45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10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46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47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48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49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50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11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12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13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14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15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4_Office Theme">
  <a:themeElements>
    <a:clrScheme name="Azure Dev">
      <a:dk1>
        <a:srgbClr val="007EBA"/>
      </a:dk1>
      <a:lt1>
        <a:srgbClr val="FFFFFF"/>
      </a:lt1>
      <a:dk2>
        <a:srgbClr val="44546A"/>
      </a:dk2>
      <a:lt2>
        <a:srgbClr val="E3E4E3"/>
      </a:lt2>
      <a:accent1>
        <a:srgbClr val="4C4D4C"/>
      </a:accent1>
      <a:accent2>
        <a:srgbClr val="00A3DA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5_Office Theme">
  <a:themeElements>
    <a:clrScheme name="Azure Dev">
      <a:dk1>
        <a:srgbClr val="007EBA"/>
      </a:dk1>
      <a:lt1>
        <a:srgbClr val="FFFFFF"/>
      </a:lt1>
      <a:dk2>
        <a:srgbClr val="44546A"/>
      </a:dk2>
      <a:lt2>
        <a:srgbClr val="E3E4E3"/>
      </a:lt2>
      <a:accent1>
        <a:srgbClr val="4C4D4C"/>
      </a:accent1>
      <a:accent2>
        <a:srgbClr val="00A3DA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Azure 1">
  <a:themeElements>
    <a:clrScheme name="Custom 3">
      <a:dk1>
        <a:srgbClr val="000000"/>
      </a:dk1>
      <a:lt1>
        <a:srgbClr val="FFFFFF"/>
      </a:lt1>
      <a:dk2>
        <a:srgbClr val="0078D3"/>
      </a:dk2>
      <a:lt2>
        <a:srgbClr val="FFFFFF"/>
      </a:lt2>
      <a:accent1>
        <a:srgbClr val="EBEBEB"/>
      </a:accent1>
      <a:accent2>
        <a:srgbClr val="75757A"/>
      </a:accent2>
      <a:accent3>
        <a:srgbClr val="000041"/>
      </a:accent3>
      <a:accent4>
        <a:srgbClr val="0078D3"/>
      </a:accent4>
      <a:accent5>
        <a:srgbClr val="50E6FF"/>
      </a:accent5>
      <a:accent6>
        <a:srgbClr val="EBEBEB"/>
      </a:accent6>
      <a:hlink>
        <a:srgbClr val="0078D4"/>
      </a:hlink>
      <a:folHlink>
        <a:srgbClr val="0078D4"/>
      </a:folHlink>
    </a:clrScheme>
    <a:fontScheme name="Dynamics 365">
      <a:majorFont>
        <a:latin typeface="Segoe UI Semibold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1" id="{65B3B778-14F5-8246-A9D9-04A8D8071A60}" vid="{C9E98E11-734C-F14F-ADE3-6075149E5497}"/>
    </a:ext>
  </a:ext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Microsoft Ignite">
    <a:dk1>
      <a:srgbClr val="1A1A1A"/>
    </a:dk1>
    <a:lt1>
      <a:srgbClr val="FFFFFF"/>
    </a:lt1>
    <a:dk2>
      <a:srgbClr val="0D0D0D"/>
    </a:dk2>
    <a:lt2>
      <a:srgbClr val="E6E6E6"/>
    </a:lt2>
    <a:accent1>
      <a:srgbClr val="0078D4"/>
    </a:accent1>
    <a:accent2>
      <a:srgbClr val="002050"/>
    </a:accent2>
    <a:accent3>
      <a:srgbClr val="D83B01"/>
    </a:accent3>
    <a:accent4>
      <a:srgbClr val="F37521"/>
    </a:accent4>
    <a:accent5>
      <a:srgbClr val="737373"/>
    </a:accent5>
    <a:accent6>
      <a:srgbClr val="D2D2D2"/>
    </a:accent6>
    <a:hlink>
      <a:srgbClr val="0078D4"/>
    </a:hlink>
    <a:folHlink>
      <a:srgbClr val="0078D4"/>
    </a:folHlink>
  </a:clrScheme>
</a:themeOverride>
</file>

<file path=docMetadata/LabelInfo.xml><?xml version="1.0" encoding="utf-8"?>
<clbl:labelList xmlns:clbl="http://schemas.microsoft.com/office/2020/mipLabelMetadata">
  <clbl:label id="{72f988bf-86f1-41af-91ab-2d7cd011db47}" enabled="0" method="" siteId="{72f988bf-86f1-41af-91ab-2d7cd011db47}" removed="1"/>
</clbl:labelList>
</file>

<file path=docProps/app.xml><?xml version="1.0" encoding="utf-8"?>
<Properties xmlns="http://schemas.openxmlformats.org/officeDocument/2006/extended-properties" xmlns:vt="http://schemas.openxmlformats.org/officeDocument/2006/docPropsVTypes">
  <TotalTime>659</TotalTime>
  <Words>2825</Words>
  <Application>Microsoft Office PowerPoint</Application>
  <PresentationFormat>Widescreen</PresentationFormat>
  <Paragraphs>615</Paragraphs>
  <Slides>43</Slides>
  <Notes>35</Notes>
  <HiddenSlides>0</HiddenSlides>
  <MMClips>0</MMClips>
  <ScaleCrop>false</ScaleCrop>
  <HeadingPairs>
    <vt:vector size="6" baseType="variant">
      <vt:variant>
        <vt:lpstr>Fonts Used</vt:lpstr>
      </vt:variant>
      <vt:variant>
        <vt:i4>13</vt:i4>
      </vt:variant>
      <vt:variant>
        <vt:lpstr>Theme</vt:lpstr>
      </vt:variant>
      <vt:variant>
        <vt:i4>4</vt:i4>
      </vt:variant>
      <vt:variant>
        <vt:lpstr>Slide Titles</vt:lpstr>
      </vt:variant>
      <vt:variant>
        <vt:i4>43</vt:i4>
      </vt:variant>
    </vt:vector>
  </HeadingPairs>
  <TitlesOfParts>
    <vt:vector size="60" baseType="lpstr">
      <vt:lpstr>Arial</vt:lpstr>
      <vt:lpstr>Calibri</vt:lpstr>
      <vt:lpstr>Calibri Light</vt:lpstr>
      <vt:lpstr>Segoe UI</vt:lpstr>
      <vt:lpstr>Segoe UI (Body)</vt:lpstr>
      <vt:lpstr>Segoe UI Body</vt:lpstr>
      <vt:lpstr>Segoe UI Light</vt:lpstr>
      <vt:lpstr>Segoe UI Light (Headings)</vt:lpstr>
      <vt:lpstr>Segoe UI Semibold</vt:lpstr>
      <vt:lpstr>Segoe UI Semibold (Headings)</vt:lpstr>
      <vt:lpstr>Segoe UI Semilight</vt:lpstr>
      <vt:lpstr>Segoe UI Semilight (Body)</vt:lpstr>
      <vt:lpstr>Wingdings</vt:lpstr>
      <vt:lpstr>Office Theme</vt:lpstr>
      <vt:lpstr>4_Office Theme</vt:lpstr>
      <vt:lpstr>5_Office Theme</vt:lpstr>
      <vt:lpstr>Azure 1</vt:lpstr>
      <vt:lpstr>Migrating to Azure with Azure Migrate</vt:lpstr>
      <vt:lpstr>Who am I?</vt:lpstr>
      <vt:lpstr>PowerPoint Presentation</vt:lpstr>
      <vt:lpstr>PowerPoint Presentation</vt:lpstr>
      <vt:lpstr>PowerPoint Presentation</vt:lpstr>
      <vt:lpstr>Migration stages</vt:lpstr>
      <vt:lpstr>Discovery</vt:lpstr>
      <vt:lpstr>Tooling</vt:lpstr>
      <vt:lpstr>Azure Migrate</vt:lpstr>
      <vt:lpstr>Azure Migrate</vt:lpstr>
      <vt:lpstr>Choice of tools for every stage and every requirement</vt:lpstr>
      <vt:lpstr>Azure Migrate appliance</vt:lpstr>
      <vt:lpstr>Discover: Capabilities</vt:lpstr>
      <vt:lpstr>Discovery: Supported versions &amp; pre-requisites</vt:lpstr>
      <vt:lpstr>How is everything connected?</vt:lpstr>
      <vt:lpstr>Dependency analysis: Supported versions &amp; pre-requisites </vt:lpstr>
      <vt:lpstr>Dependency analysis: Process</vt:lpstr>
      <vt:lpstr>Dependency analysis: </vt:lpstr>
      <vt:lpstr>Pull the data together</vt:lpstr>
      <vt:lpstr>Reporting</vt:lpstr>
      <vt:lpstr>Assessment: Confidence rating computation or performance-based</vt:lpstr>
      <vt:lpstr>Assessment</vt:lpstr>
      <vt:lpstr>Operations Management</vt:lpstr>
      <vt:lpstr>Landing Zone</vt:lpstr>
      <vt:lpstr>What are Azure Reservations?</vt:lpstr>
      <vt:lpstr>Azure Hybrid Benefit</vt:lpstr>
      <vt:lpstr>Migrate</vt:lpstr>
      <vt:lpstr>PowerPoint Presentation</vt:lpstr>
      <vt:lpstr>Agentless Hyper-V: Process </vt:lpstr>
      <vt:lpstr>Agent-based: Process</vt:lpstr>
      <vt:lpstr>Migration: Test Migration</vt:lpstr>
      <vt:lpstr>Migration: Bandwidth Consumption</vt:lpstr>
      <vt:lpstr>Migration: Replication Bandwidth Throttling</vt:lpstr>
      <vt:lpstr>Migration: Using ExpressRoute</vt:lpstr>
      <vt:lpstr>Optimise and Manage</vt:lpstr>
      <vt:lpstr>Azure Advisor</vt:lpstr>
      <vt:lpstr>Cost Optimisation</vt:lpstr>
      <vt:lpstr>No migration is ever linear or simple…. Azure  </vt:lpstr>
      <vt:lpstr>Key Learnings</vt:lpstr>
      <vt:lpstr>PowerPoint Presentation</vt:lpstr>
      <vt:lpstr>Azure migration center   </vt:lpstr>
      <vt:lpstr>Microsoft Learn</vt:lpstr>
      <vt:lpstr>Thank you!  Resources: https://aka.ms/migrate-to-azure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igrating to Azure with Azure Migrate</dc:title>
  <dc:creator>Sarah Lean</dc:creator>
  <cp:lastModifiedBy>Sarah Lean</cp:lastModifiedBy>
  <cp:revision>2</cp:revision>
  <dcterms:created xsi:type="dcterms:W3CDTF">2021-04-09T07:32:31Z</dcterms:created>
  <dcterms:modified xsi:type="dcterms:W3CDTF">2021-04-13T07:37:10Z</dcterms:modified>
</cp:coreProperties>
</file>